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</p:sldMasterIdLst>
  <p:notesMasterIdLst>
    <p:notesMasterId r:id="rId16"/>
  </p:notesMasterIdLst>
  <p:handoutMasterIdLst>
    <p:handoutMasterId r:id="rId17"/>
  </p:handoutMasterIdLst>
  <p:sldIdLst>
    <p:sldId id="256" r:id="rId2"/>
    <p:sldId id="292" r:id="rId3"/>
    <p:sldId id="331" r:id="rId4"/>
    <p:sldId id="274" r:id="rId5"/>
    <p:sldId id="275" r:id="rId6"/>
    <p:sldId id="333" r:id="rId7"/>
    <p:sldId id="334" r:id="rId8"/>
    <p:sldId id="335" r:id="rId9"/>
    <p:sldId id="336" r:id="rId10"/>
    <p:sldId id="337" r:id="rId11"/>
    <p:sldId id="311" r:id="rId12"/>
    <p:sldId id="312" r:id="rId13"/>
    <p:sldId id="313" r:id="rId14"/>
    <p:sldId id="268" r:id="rId15"/>
  </p:sldIdLst>
  <p:sldSz cx="9144000" cy="5143500" type="screen16x9"/>
  <p:notesSz cx="6858000" cy="9144000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4" pos="5579">
          <p15:clr>
            <a:srgbClr val="A4A3A4"/>
          </p15:clr>
        </p15:guide>
        <p15:guide id="7" pos="181" userDrawn="1">
          <p15:clr>
            <a:srgbClr val="A4A3A4"/>
          </p15:clr>
        </p15:guide>
        <p15:guide id="8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." initials="." lastIdx="20" clrIdx="0"/>
  <p:cmAuthor id="1" name="Orange L. Blossom" initials="OLB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25252"/>
    <a:srgbClr val="474747"/>
    <a:srgbClr val="3C3C3C"/>
    <a:srgbClr val="2FB4E9"/>
    <a:srgbClr val="004077"/>
    <a:srgbClr val="0045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30" autoAdjust="0"/>
    <p:restoredTop sz="96583" autoAdjust="0"/>
  </p:normalViewPr>
  <p:slideViewPr>
    <p:cSldViewPr>
      <p:cViewPr varScale="1">
        <p:scale>
          <a:sx n="150" d="100"/>
          <a:sy n="150" d="100"/>
        </p:scale>
        <p:origin x="138" y="330"/>
      </p:cViewPr>
      <p:guideLst>
        <p:guide orient="horz" pos="3072"/>
        <p:guide orient="horz" pos="1620"/>
        <p:guide pos="5579"/>
        <p:guide pos="181"/>
        <p:guide pos="2880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evchuk.TN\Documents\&#1055;&#1086;&#1083;&#1080;&#1075;&#1086;&#1085;\&#1055;&#1088;&#1077;&#1079;&#1077;&#1085;&#1090;&#1072;&#1094;&#1080;&#1103;\&#1069;&#1092;&#1092;&#1077;&#1082;&#1090;%20&#1086;&#1090;%20&#1058;&#1055;\&#1060;&#1069;&#1052;_&#1055;&#1072;&#1083;&#1100;&#1103;&#1085;_&#1058;&#1055;_14.04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E:\0%20&#1050;&#1083;&#1072;&#1089;&#1090;&#1077;&#1088;%20&#1047;&#1072;&#1087;&#1072;&#1076;\0%20Data\1%20&#1057;&#1082;&#1074;&#1072;&#1078;&#1080;&#1085;&#1099;\&#1054;&#1073;&#1079;&#1086;&#1088;%20&#1043;&#1056;&#1055;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E:\0%20&#1050;&#1083;&#1072;&#1089;&#1090;&#1077;&#1088;%20&#1047;&#1072;&#1087;&#1072;&#1076;\0%20Data\1%20&#1057;&#1082;&#1074;&#1072;&#1078;&#1080;&#1085;&#1099;\&#1054;&#1073;&#1079;&#1086;&#1088;%20&#1043;&#1056;&#1055;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2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zprom-neft\dfs\&#1043;&#1072;&#1079;&#1087;&#1088;&#1086;&#1084;%20&#1085;&#1077;&#1092;&#1090;&#1100;%20-%20&#1040;&#1085;&#1075;&#1072;&#1088;&#1072;\&#1058;&#1056;&#1048;&#1047;\&#1055;&#1088;&#1086;&#1077;&#1082;&#1090;&#1099;\&#1041;&#1072;&#1078;&#1077;&#1085;\&#1055;&#1072;&#1083;&#1100;&#1103;&#1085;\14%20&#1043;&#1056;&#1055;\&#1053;&#1072;&#1094;.&#1087;&#1088;&#1086;&#1077;&#1082;&#1090;\&#1048;&#1050;&#1050;\&#1055;&#1088;&#1077;&#1079;&#1077;&#1085;&#1090;&#1072;&#1094;&#1080;&#1103;%2030.06.16\&#1057;&#1090;&#1086;&#1080;&#1084;&#1086;&#1089;&#1090;&#1080;_2_&#1073;&#1077;&#1079;%20&#1076;&#1086;&#1087;.&#1088;&#1072;&#1073;&#1086;&#1090;_30.06.16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24775515090828"/>
          <c:y val="0"/>
          <c:w val="0.56129281539449483"/>
          <c:h val="0.942003730027819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ИНВ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bg2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65FC-40D3-BC38-22D3246D538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chemeClr val="bg2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65FC-40D3-BC38-22D3246D5389}"/>
              </c:ext>
            </c:extLst>
          </c:dPt>
          <c:cat>
            <c:strRef>
              <c:f>Лист1!$A$2:$A$3</c:f>
              <c:strCache>
                <c:ptCount val="2"/>
                <c:pt idx="0">
                  <c:v>ГПН</c:v>
                </c:pt>
                <c:pt idx="1">
                  <c:v>ПАРТНЕРЫ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72</c:v>
                </c:pt>
                <c:pt idx="1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FC-40D3-BC38-22D3246D5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79"/>
        <c:holeSize val="61"/>
      </c:doughnutChart>
    </c:plotArea>
    <c:plotVisOnly val="1"/>
    <c:dispBlanksAs val="gap"/>
    <c:showDLblsOverMax val="0"/>
  </c:chart>
  <c:txPr>
    <a:bodyPr/>
    <a:lstStyle/>
    <a:p>
      <a:pPr>
        <a:defRPr sz="3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73109421264075"/>
          <c:y val="9.6292617039868772E-2"/>
          <c:w val="0.82975276338116932"/>
          <c:h val="0.57756855376288951"/>
        </c:manualLayout>
      </c:layout>
      <c:barChart>
        <c:barDir val="col"/>
        <c:grouping val="clustered"/>
        <c:varyColors val="0"/>
        <c:ser>
          <c:idx val="5"/>
          <c:order val="4"/>
          <c:tx>
            <c:strRef>
              <c:f>Добыча!$B$10:$C$10</c:f>
              <c:strCache>
                <c:ptCount val="2"/>
                <c:pt idx="0">
                  <c:v>Ввод новых добывающих скважин, всего</c:v>
                </c:pt>
                <c:pt idx="1">
                  <c:v>шт.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5877693935610325E-17"/>
                  <c:y val="9.8333400916426748E-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 b="0">
                      <a:solidFill>
                        <a:srgbClr val="0070BA"/>
                      </a:solidFill>
                      <a:latin typeface="HeliosCond" panose="020B0500000000000000" pitchFamily="34" charset="-52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24-4B86-955D-E5601B3904C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824-4B86-955D-E5601B3904C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824-4B86-955D-E5601B3904C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824-4B86-955D-E5601B3904C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824-4B86-955D-E5601B3904C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824-4B86-955D-E5601B3904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0">
                    <a:solidFill>
                      <a:schemeClr val="bg1"/>
                    </a:solidFill>
                    <a:latin typeface="HeliosCond" panose="020B0500000000000000" pitchFamily="34" charset="-52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Добыча!$G$5:$Q$5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  <c:extLst/>
            </c:numRef>
          </c:cat>
          <c:val>
            <c:numRef>
              <c:f>Добыча!$G$10:$Q$10</c:f>
              <c:numCache>
                <c:formatCode>General</c:formatCode>
                <c:ptCount val="9"/>
                <c:pt idx="0">
                  <c:v>1</c:v>
                </c:pt>
                <c:pt idx="1">
                  <c:v>10</c:v>
                </c:pt>
                <c:pt idx="2">
                  <c:v>12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E824-4B86-955D-E5601B3904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9"/>
        <c:overlap val="6"/>
        <c:axId val="279857600"/>
        <c:axId val="279857040"/>
      </c:barChart>
      <c:lineChart>
        <c:grouping val="standard"/>
        <c:varyColors val="0"/>
        <c:ser>
          <c:idx val="1"/>
          <c:order val="0"/>
          <c:tx>
            <c:strRef>
              <c:f>Добыча!$B$6:$C$6</c:f>
              <c:strCache>
                <c:ptCount val="2"/>
                <c:pt idx="0">
                  <c:v>Добыча нефти, всего</c:v>
                </c:pt>
                <c:pt idx="1">
                  <c:v>тыс.т</c:v>
                </c:pt>
              </c:strCache>
            </c:strRef>
          </c:tx>
          <c:spPr>
            <a:ln w="19050" cap="rnd">
              <a:solidFill>
                <a:srgbClr val="FF8524"/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tx>
                <c:rich>
                  <a:bodyPr rot="0" vert="horz"/>
                  <a:lstStyle/>
                  <a:p>
                    <a:pPr>
                      <a:defRPr b="0">
                        <a:solidFill>
                          <a:srgbClr val="FF8524"/>
                        </a:solidFill>
                      </a:defRPr>
                    </a:pPr>
                    <a:r>
                      <a:rPr lang="en-US" b="0">
                        <a:solidFill>
                          <a:srgbClr val="FF8524"/>
                        </a:solidFill>
                      </a:rPr>
                      <a:t>805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824-4B86-955D-E5601B3904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Добыча!$G$5:$Q$5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  <c:extLst/>
            </c:numRef>
          </c:cat>
          <c:val>
            <c:numRef>
              <c:f>Добыча!$G$6:$Q$6</c:f>
              <c:numCache>
                <c:formatCode>0.0</c:formatCode>
                <c:ptCount val="9"/>
                <c:pt idx="0">
                  <c:v>21.973248457401425</c:v>
                </c:pt>
                <c:pt idx="1">
                  <c:v>88.9383635203761</c:v>
                </c:pt>
                <c:pt idx="2">
                  <c:v>223.01342090996326</c:v>
                </c:pt>
                <c:pt idx="3">
                  <c:v>385.1724635489266</c:v>
                </c:pt>
                <c:pt idx="4">
                  <c:v>511.9963951480143</c:v>
                </c:pt>
                <c:pt idx="5">
                  <c:v>609.23134308500801</c:v>
                </c:pt>
                <c:pt idx="6">
                  <c:v>687.70881593728586</c:v>
                </c:pt>
                <c:pt idx="7">
                  <c:v>754.70584835690659</c:v>
                </c:pt>
                <c:pt idx="8">
                  <c:v>805.29212880310706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8-E824-4B86-955D-E5601B3904CF}"/>
            </c:ext>
          </c:extLst>
        </c:ser>
        <c:ser>
          <c:idx val="2"/>
          <c:order val="1"/>
          <c:tx>
            <c:strRef>
              <c:f>Добыча!$B$7:$C$7</c:f>
              <c:strCache>
                <c:ptCount val="2"/>
                <c:pt idx="0">
                  <c:v>в т.ч. из: переходящих скважин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39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7:$Q$7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9-E824-4B86-955D-E5601B3904CF}"/>
            </c:ext>
          </c:extLst>
        </c:ser>
        <c:ser>
          <c:idx val="3"/>
          <c:order val="2"/>
          <c:tx>
            <c:strRef>
              <c:f>Добыча!$B$8:$C$8</c:f>
              <c:strCache>
                <c:ptCount val="2"/>
                <c:pt idx="0">
                  <c:v>                новых скважин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42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8:$Q$8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A-E824-4B86-955D-E5601B3904CF}"/>
            </c:ext>
          </c:extLst>
        </c:ser>
        <c:ser>
          <c:idx val="4"/>
          <c:order val="3"/>
          <c:tx>
            <c:strRef>
              <c:f>Добыча!$B$9:$C$9</c:f>
              <c:strCache>
                <c:ptCount val="2"/>
                <c:pt idx="0">
                  <c:v>               механизированных скважин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45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9:$Q$9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B-E824-4B86-955D-E5601B3904CF}"/>
            </c:ext>
          </c:extLst>
        </c:ser>
        <c:ser>
          <c:idx val="6"/>
          <c:order val="5"/>
          <c:tx>
            <c:strRef>
              <c:f>Добыча!$B$11:$C$11</c:f>
              <c:strCache>
                <c:ptCount val="2"/>
                <c:pt idx="0">
                  <c:v>в т.ч.    из    эксплуатационного бурения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shade val="51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1:$Q$11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C-E824-4B86-955D-E5601B3904CF}"/>
            </c:ext>
          </c:extLst>
        </c:ser>
        <c:ser>
          <c:idx val="7"/>
          <c:order val="6"/>
          <c:tx>
            <c:strRef>
              <c:f>Добыча!$B$12:$C$12</c:f>
              <c:strCache>
                <c:ptCount val="2"/>
                <c:pt idx="0">
                  <c:v>           из    разведочного бурения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shade val="54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2:$Q$12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D-E824-4B86-955D-E5601B3904CF}"/>
            </c:ext>
          </c:extLst>
        </c:ser>
        <c:ser>
          <c:idx val="8"/>
          <c:order val="7"/>
          <c:tx>
            <c:strRef>
              <c:f>Добыча!$B$13:$C$13</c:f>
              <c:strCache>
                <c:ptCount val="2"/>
                <c:pt idx="0">
                  <c:v>            переводом с других объектов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shade val="58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3:$Q$13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E-E824-4B86-955D-E5601B3904CF}"/>
            </c:ext>
          </c:extLst>
        </c:ser>
        <c:ser>
          <c:idx val="9"/>
          <c:order val="8"/>
          <c:tx>
            <c:strRef>
              <c:f>Добыча!$B$14:$C$14</c:f>
              <c:strCache>
                <c:ptCount val="2"/>
                <c:pt idx="0">
                  <c:v>Среднесуточный дебит нефти новой скважины</c:v>
                </c:pt>
                <c:pt idx="1">
                  <c:v>т/сут</c:v>
                </c:pt>
              </c:strCache>
            </c:strRef>
          </c:tx>
          <c:spPr>
            <a:ln w="31750" cap="rnd">
              <a:solidFill>
                <a:schemeClr val="accent1">
                  <a:shade val="61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4:$Q$14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F-E824-4B86-955D-E5601B3904CF}"/>
            </c:ext>
          </c:extLst>
        </c:ser>
        <c:ser>
          <c:idx val="10"/>
          <c:order val="9"/>
          <c:tx>
            <c:strRef>
              <c:f>Добыча!$B$15:$C$15</c:f>
              <c:strCache>
                <c:ptCount val="2"/>
                <c:pt idx="0">
                  <c:v>Среднее число дней работы новой скважины</c:v>
                </c:pt>
                <c:pt idx="1">
                  <c:v>дни</c:v>
                </c:pt>
              </c:strCache>
            </c:strRef>
          </c:tx>
          <c:spPr>
            <a:ln w="31750" cap="rnd">
              <a:solidFill>
                <a:schemeClr val="accent1">
                  <a:shade val="64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5:$Q$15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0-E824-4B86-955D-E5601B3904CF}"/>
            </c:ext>
          </c:extLst>
        </c:ser>
        <c:ser>
          <c:idx val="11"/>
          <c:order val="10"/>
          <c:tx>
            <c:strRef>
              <c:f>Добыча!$B$16:$C$16</c:f>
              <c:strCache>
                <c:ptCount val="2"/>
                <c:pt idx="0">
                  <c:v>Средняя глубина новой скважины</c:v>
                </c:pt>
                <c:pt idx="1">
                  <c:v>м</c:v>
                </c:pt>
              </c:strCache>
            </c:strRef>
          </c:tx>
          <c:spPr>
            <a:ln w="31750" cap="rnd">
              <a:solidFill>
                <a:schemeClr val="accent1">
                  <a:shade val="67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6:$Q$16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1-E824-4B86-955D-E5601B3904CF}"/>
            </c:ext>
          </c:extLst>
        </c:ser>
        <c:ser>
          <c:idx val="12"/>
          <c:order val="11"/>
          <c:tx>
            <c:strRef>
              <c:f>Добыча!$B$17:$C$17</c:f>
              <c:strCache>
                <c:ptCount val="2"/>
                <c:pt idx="0">
                  <c:v>Эксплуатационное бурение, всего</c:v>
                </c:pt>
                <c:pt idx="1">
                  <c:v>тыс.м</c:v>
                </c:pt>
              </c:strCache>
            </c:strRef>
          </c:tx>
          <c:spPr>
            <a:ln w="31750" cap="rnd">
              <a:solidFill>
                <a:schemeClr val="accent1">
                  <a:shade val="70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7:$Q$17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2-E824-4B86-955D-E5601B3904CF}"/>
            </c:ext>
          </c:extLst>
        </c:ser>
        <c:ser>
          <c:idx val="13"/>
          <c:order val="12"/>
          <c:tx>
            <c:strRef>
              <c:f>Добыча!$B$18:$C$18</c:f>
              <c:strCache>
                <c:ptCount val="2"/>
                <c:pt idx="0">
                  <c:v>в т.ч.:    добывающие скважины</c:v>
                </c:pt>
                <c:pt idx="1">
                  <c:v>тыс.м</c:v>
                </c:pt>
              </c:strCache>
            </c:strRef>
          </c:tx>
          <c:spPr>
            <a:ln w="31750" cap="rnd">
              <a:solidFill>
                <a:schemeClr val="accent1">
                  <a:shade val="73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8:$Q$18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3-E824-4B86-955D-E5601B3904CF}"/>
            </c:ext>
          </c:extLst>
        </c:ser>
        <c:ser>
          <c:idx val="14"/>
          <c:order val="13"/>
          <c:tx>
            <c:strRef>
              <c:f>Добыча!$B$19:$C$19</c:f>
              <c:strCache>
                <c:ptCount val="2"/>
                <c:pt idx="0">
                  <c:v>             вспомогательные и специальные скважины</c:v>
                </c:pt>
                <c:pt idx="1">
                  <c:v>тыс.м</c:v>
                </c:pt>
              </c:strCache>
            </c:strRef>
          </c:tx>
          <c:spPr>
            <a:ln w="31750" cap="rnd">
              <a:solidFill>
                <a:schemeClr val="accent1">
                  <a:shade val="76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19:$Q$19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4-E824-4B86-955D-E5601B3904CF}"/>
            </c:ext>
          </c:extLst>
        </c:ser>
        <c:ser>
          <c:idx val="15"/>
          <c:order val="14"/>
          <c:tx>
            <c:strRef>
              <c:f>Добыча!$B$20:$C$20</c:f>
              <c:strCache>
                <c:ptCount val="2"/>
                <c:pt idx="0">
                  <c:v>Расчёт.время работы нов.скв.предыдущего года в данном году</c:v>
                </c:pt>
                <c:pt idx="1">
                  <c:v>скв.дни</c:v>
                </c:pt>
              </c:strCache>
            </c:strRef>
          </c:tx>
          <c:spPr>
            <a:ln w="31750" cap="rnd">
              <a:solidFill>
                <a:schemeClr val="accent1">
                  <a:shade val="79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0:$Q$20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5-E824-4B86-955D-E5601B3904CF}"/>
            </c:ext>
          </c:extLst>
        </c:ser>
        <c:ser>
          <c:idx val="16"/>
          <c:order val="15"/>
          <c:tx>
            <c:strRef>
              <c:f>Добыча!$B$21:$C$21</c:f>
              <c:strCache>
                <c:ptCount val="2"/>
                <c:pt idx="0">
                  <c:v>Расчёт.добыча нефти из нов.скв.предыдущего года в данном году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82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1:$Q$21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6-E824-4B86-955D-E5601B3904CF}"/>
            </c:ext>
          </c:extLst>
        </c:ser>
        <c:ser>
          <c:idx val="17"/>
          <c:order val="16"/>
          <c:tx>
            <c:strRef>
              <c:f>Добыча!$B$22:$C$22</c:f>
              <c:strCache>
                <c:ptCount val="2"/>
                <c:pt idx="0">
                  <c:v>Добыча нефти из переходящих скважин предыдущего года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86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2:$Q$22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7-E824-4B86-955D-E5601B3904CF}"/>
            </c:ext>
          </c:extLst>
        </c:ser>
        <c:ser>
          <c:idx val="18"/>
          <c:order val="17"/>
          <c:tx>
            <c:strRef>
              <c:f>Добыча!$B$23:$C$23</c:f>
              <c:strCache>
                <c:ptCount val="2"/>
                <c:pt idx="0">
                  <c:v>Расчетная добыча нефти из перех. скважин данного года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89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3:$Q$23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8-E824-4B86-955D-E5601B3904CF}"/>
            </c:ext>
          </c:extLst>
        </c:ser>
        <c:ser>
          <c:idx val="19"/>
          <c:order val="18"/>
          <c:tx>
            <c:strRef>
              <c:f>Добыча!$B$24:$C$24</c:f>
              <c:strCache>
                <c:ptCount val="2"/>
                <c:pt idx="0">
                  <c:v>Ожидаем. добыча нефти из перех. скважин данного года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92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4:$Q$24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9-E824-4B86-955D-E5601B3904CF}"/>
            </c:ext>
          </c:extLst>
        </c:ser>
        <c:ser>
          <c:idx val="20"/>
          <c:order val="19"/>
          <c:tx>
            <c:strRef>
              <c:f>Добыча!$B$25:$C$25</c:f>
              <c:strCache>
                <c:ptCount val="2"/>
                <c:pt idx="0">
                  <c:v>Изменение добычи нефти из переходящих скважин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5:$Q$25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A-E824-4B86-955D-E5601B3904CF}"/>
            </c:ext>
          </c:extLst>
        </c:ser>
        <c:ser>
          <c:idx val="21"/>
          <c:order val="20"/>
          <c:tx>
            <c:strRef>
              <c:f>Добыча!$B$26:$C$26</c:f>
              <c:strCache>
                <c:ptCount val="2"/>
                <c:pt idx="0">
                  <c:v>Процент изменения добычи нефти из переходящих скважин</c:v>
                </c:pt>
                <c:pt idx="1">
                  <c:v>%</c:v>
                </c:pt>
              </c:strCache>
            </c:strRef>
          </c:tx>
          <c:spPr>
            <a:ln w="31750" cap="rnd">
              <a:solidFill>
                <a:schemeClr val="accent1">
                  <a:shade val="98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6:$Q$26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B-E824-4B86-955D-E5601B3904CF}"/>
            </c:ext>
          </c:extLst>
        </c:ser>
        <c:ser>
          <c:idx val="22"/>
          <c:order val="21"/>
          <c:tx>
            <c:strRef>
              <c:f>Добыча!$B$27:$C$27</c:f>
              <c:strCache>
                <c:ptCount val="2"/>
                <c:pt idx="0">
                  <c:v>Мощность новых скважин</c:v>
                </c:pt>
                <c:pt idx="1">
                  <c:v>тыс.т</c:v>
                </c:pt>
              </c:strCache>
            </c:strRef>
          </c:tx>
          <c:spPr>
            <a:ln w="31750" cap="rnd">
              <a:solidFill>
                <a:schemeClr val="accent1">
                  <a:tint val="99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7:$Q$27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C-E824-4B86-955D-E5601B3904CF}"/>
            </c:ext>
          </c:extLst>
        </c:ser>
        <c:ser>
          <c:idx val="23"/>
          <c:order val="22"/>
          <c:tx>
            <c:strRef>
              <c:f>Добыча!$B$28:$C$28</c:f>
              <c:strCache>
                <c:ptCount val="2"/>
                <c:pt idx="0">
                  <c:v>Выбытие добывающих скважин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96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8:$Q$28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D-E824-4B86-955D-E5601B3904CF}"/>
            </c:ext>
          </c:extLst>
        </c:ser>
        <c:ser>
          <c:idx val="24"/>
          <c:order val="23"/>
          <c:tx>
            <c:strRef>
              <c:f>Добыча!$B$29:$C$29</c:f>
              <c:strCache>
                <c:ptCount val="2"/>
                <c:pt idx="0">
                  <c:v>в т.ч. под закачку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93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29:$Q$29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E-E824-4B86-955D-E5601B3904CF}"/>
            </c:ext>
          </c:extLst>
        </c:ser>
        <c:ser>
          <c:idx val="26"/>
          <c:order val="24"/>
          <c:tx>
            <c:strRef>
              <c:f>Добыча!$B$31:$C$31</c:f>
              <c:strCache>
                <c:ptCount val="2"/>
                <c:pt idx="0">
                  <c:v>в том числе нагнетательных в отработке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86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1:$Q$31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1F-E824-4B86-955D-E5601B3904CF}"/>
            </c:ext>
          </c:extLst>
        </c:ser>
        <c:ser>
          <c:idx val="27"/>
          <c:order val="25"/>
          <c:tx>
            <c:strRef>
              <c:f>Добыча!$B$32:$C$32</c:f>
              <c:strCache>
                <c:ptCount val="2"/>
                <c:pt idx="0">
                  <c:v>Действующий фонд добывающих скважин на конец года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83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2:$Q$32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0-E824-4B86-955D-E5601B3904CF}"/>
            </c:ext>
          </c:extLst>
        </c:ser>
        <c:ser>
          <c:idx val="28"/>
          <c:order val="26"/>
          <c:tx>
            <c:strRef>
              <c:f>Добыча!$B$33:$C$33</c:f>
              <c:strCache>
                <c:ptCount val="2"/>
                <c:pt idx="0">
                  <c:v>Перевод скважин на механизированную добычу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80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3:$Q$33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1-E824-4B86-955D-E5601B3904CF}"/>
            </c:ext>
          </c:extLst>
        </c:ser>
        <c:ser>
          <c:idx val="29"/>
          <c:order val="27"/>
          <c:tx>
            <c:strRef>
              <c:f>Добыча!$B$34:$C$34</c:f>
              <c:strCache>
                <c:ptCount val="2"/>
                <c:pt idx="0">
                  <c:v>Фонд механизированных скважин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77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4:$Q$34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2-E824-4B86-955D-E5601B3904CF}"/>
            </c:ext>
          </c:extLst>
        </c:ser>
        <c:ser>
          <c:idx val="30"/>
          <c:order val="28"/>
          <c:tx>
            <c:strRef>
              <c:f>Добыча!$B$35:$C$35</c:f>
              <c:strCache>
                <c:ptCount val="2"/>
                <c:pt idx="0">
                  <c:v>Ввод нагнетательных скважин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74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5:$Q$35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3-E824-4B86-955D-E5601B3904CF}"/>
            </c:ext>
          </c:extLst>
        </c:ser>
        <c:ser>
          <c:idx val="31"/>
          <c:order val="29"/>
          <c:tx>
            <c:strRef>
              <c:f>Добыча!$B$36:$C$36</c:f>
              <c:strCache>
                <c:ptCount val="2"/>
                <c:pt idx="0">
                  <c:v>Выбытие нагнетательных скважин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71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6:$Q$36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4-E824-4B86-955D-E5601B3904CF}"/>
            </c:ext>
          </c:extLst>
        </c:ser>
        <c:ser>
          <c:idx val="32"/>
          <c:order val="30"/>
          <c:tx>
            <c:strRef>
              <c:f>Добыча!$B$37:$C$37</c:f>
              <c:strCache>
                <c:ptCount val="2"/>
                <c:pt idx="0">
                  <c:v>Фонд нагнетательных скважин на конец года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68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7:$Q$37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5-E824-4B86-955D-E5601B3904CF}"/>
            </c:ext>
          </c:extLst>
        </c:ser>
        <c:ser>
          <c:idx val="33"/>
          <c:order val="31"/>
          <c:tx>
            <c:strRef>
              <c:f>Добыча!$B$38:$C$38</c:f>
              <c:strCache>
                <c:ptCount val="2"/>
                <c:pt idx="0">
                  <c:v>Действующий фонд нагнет.скважин на конец года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65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8:$Q$38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6-E824-4B86-955D-E5601B3904CF}"/>
            </c:ext>
          </c:extLst>
        </c:ser>
        <c:ser>
          <c:idx val="34"/>
          <c:order val="32"/>
          <c:tx>
            <c:strRef>
              <c:f>Добыча!$B$39:$C$39</c:f>
              <c:strCache>
                <c:ptCount val="2"/>
                <c:pt idx="0">
                  <c:v>Фонд введенных резервных скважин на конец года</c:v>
                </c:pt>
                <c:pt idx="1">
                  <c:v>шт.</c:v>
                </c:pt>
              </c:strCache>
            </c:strRef>
          </c:tx>
          <c:spPr>
            <a:ln w="31750" cap="rnd">
              <a:solidFill>
                <a:schemeClr val="accent1">
                  <a:tint val="62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39:$Q$39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7-E824-4B86-955D-E5601B3904CF}"/>
            </c:ext>
          </c:extLst>
        </c:ser>
        <c:ser>
          <c:idx val="35"/>
          <c:order val="33"/>
          <c:tx>
            <c:strRef>
              <c:f>Добыча!$B$40:$C$40</c:f>
              <c:strCache>
                <c:ptCount val="2"/>
                <c:pt idx="0">
                  <c:v>Средний дебит действующих скважин по жидкости</c:v>
                </c:pt>
                <c:pt idx="1">
                  <c:v>т/сут</c:v>
                </c:pt>
              </c:strCache>
            </c:strRef>
          </c:tx>
          <c:spPr>
            <a:ln w="31750" cap="rnd">
              <a:solidFill>
                <a:schemeClr val="accent1">
                  <a:tint val="58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0:$Q$40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8-E824-4B86-955D-E5601B3904CF}"/>
            </c:ext>
          </c:extLst>
        </c:ser>
        <c:ser>
          <c:idx val="36"/>
          <c:order val="34"/>
          <c:tx>
            <c:strRef>
              <c:f>Добыча!$B$41:$C$41</c:f>
              <c:strCache>
                <c:ptCount val="2"/>
                <c:pt idx="0">
                  <c:v>Средний дебит переходящих скважин  по жидкости</c:v>
                </c:pt>
                <c:pt idx="1">
                  <c:v>т/сут</c:v>
                </c:pt>
              </c:strCache>
            </c:strRef>
          </c:tx>
          <c:spPr>
            <a:ln w="31750" cap="rnd">
              <a:solidFill>
                <a:schemeClr val="accent1">
                  <a:tint val="55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1:$Q$41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9-E824-4B86-955D-E5601B3904CF}"/>
            </c:ext>
          </c:extLst>
        </c:ser>
        <c:ser>
          <c:idx val="37"/>
          <c:order val="35"/>
          <c:tx>
            <c:strRef>
              <c:f>Добыча!$B$42:$C$42</c:f>
              <c:strCache>
                <c:ptCount val="2"/>
                <c:pt idx="0">
                  <c:v>Средний дебит новых скважин по жидкости</c:v>
                </c:pt>
                <c:pt idx="1">
                  <c:v>т/сут</c:v>
                </c:pt>
              </c:strCache>
            </c:strRef>
          </c:tx>
          <c:spPr>
            <a:ln w="31750" cap="rnd">
              <a:solidFill>
                <a:schemeClr val="accent1">
                  <a:tint val="52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2:$Q$42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A-E824-4B86-955D-E5601B3904CF}"/>
            </c:ext>
          </c:extLst>
        </c:ser>
        <c:ser>
          <c:idx val="38"/>
          <c:order val="36"/>
          <c:tx>
            <c:strRef>
              <c:f>Добыча!$B$43:$C$43</c:f>
              <c:strCache>
                <c:ptCount val="2"/>
                <c:pt idx="0">
                  <c:v>Средняя обводненность продукции действ. фонда скважин</c:v>
                </c:pt>
                <c:pt idx="1">
                  <c:v>%</c:v>
                </c:pt>
              </c:strCache>
            </c:strRef>
          </c:tx>
          <c:spPr>
            <a:ln w="31750" cap="rnd">
              <a:solidFill>
                <a:schemeClr val="accent1">
                  <a:tint val="49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3:$Q$43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B-E824-4B86-955D-E5601B3904CF}"/>
            </c:ext>
          </c:extLst>
        </c:ser>
        <c:ser>
          <c:idx val="39"/>
          <c:order val="37"/>
          <c:tx>
            <c:strRef>
              <c:f>Добыча!$B$44:$C$44</c:f>
              <c:strCache>
                <c:ptCount val="2"/>
                <c:pt idx="0">
                  <c:v>Cредняя обводненность продукции переходящих скважин</c:v>
                </c:pt>
                <c:pt idx="1">
                  <c:v>%</c:v>
                </c:pt>
              </c:strCache>
            </c:strRef>
          </c:tx>
          <c:spPr>
            <a:ln w="31750" cap="rnd">
              <a:solidFill>
                <a:schemeClr val="accent1">
                  <a:tint val="46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4:$Q$44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C-E824-4B86-955D-E5601B3904CF}"/>
            </c:ext>
          </c:extLst>
        </c:ser>
        <c:ser>
          <c:idx val="40"/>
          <c:order val="38"/>
          <c:tx>
            <c:strRef>
              <c:f>Добыча!$B$45:$C$45</c:f>
              <c:strCache>
                <c:ptCount val="2"/>
                <c:pt idx="0">
                  <c:v>Cредняя обводненность продукции нового фонда скважин</c:v>
                </c:pt>
                <c:pt idx="1">
                  <c:v>%</c:v>
                </c:pt>
              </c:strCache>
            </c:strRef>
          </c:tx>
          <c:spPr>
            <a:ln w="31750" cap="rnd">
              <a:solidFill>
                <a:schemeClr val="accent1">
                  <a:tint val="43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5:$Q$45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D-E824-4B86-955D-E5601B3904CF}"/>
            </c:ext>
          </c:extLst>
        </c:ser>
        <c:ser>
          <c:idx val="41"/>
          <c:order val="39"/>
          <c:tx>
            <c:strRef>
              <c:f>Добыча!$B$46:$C$46</c:f>
              <c:strCache>
                <c:ptCount val="2"/>
                <c:pt idx="0">
                  <c:v>Cредний дебит действующих скважин по нефти</c:v>
                </c:pt>
                <c:pt idx="1">
                  <c:v>т/сут</c:v>
                </c:pt>
              </c:strCache>
            </c:strRef>
          </c:tx>
          <c:spPr>
            <a:ln w="31750" cap="rnd">
              <a:solidFill>
                <a:schemeClr val="accent1">
                  <a:tint val="40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6:$Q$46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E-E824-4B86-955D-E5601B3904CF}"/>
            </c:ext>
          </c:extLst>
        </c:ser>
        <c:ser>
          <c:idx val="42"/>
          <c:order val="40"/>
          <c:tx>
            <c:strRef>
              <c:f>Добыча!$B$47:$C$47</c:f>
              <c:strCache>
                <c:ptCount val="2"/>
                <c:pt idx="0">
                  <c:v>Средний дебит переходящих скважин по нефти</c:v>
                </c:pt>
                <c:pt idx="1">
                  <c:v>т/сут</c:v>
                </c:pt>
              </c:strCache>
            </c:strRef>
          </c:tx>
          <c:spPr>
            <a:ln w="31750" cap="rnd">
              <a:solidFill>
                <a:schemeClr val="accent1">
                  <a:tint val="37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7:$Q$47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2F-E824-4B86-955D-E5601B3904CF}"/>
            </c:ext>
          </c:extLst>
        </c:ser>
        <c:ser>
          <c:idx val="43"/>
          <c:order val="41"/>
          <c:tx>
            <c:strRef>
              <c:f>Добыча!$B$48:$C$48</c:f>
              <c:strCache>
                <c:ptCount val="2"/>
                <c:pt idx="0">
                  <c:v>Средняя приемистость нагнетательных скважин</c:v>
                </c:pt>
                <c:pt idx="1">
                  <c:v>м3/сут</c:v>
                </c:pt>
              </c:strCache>
            </c:strRef>
          </c:tx>
          <c:spPr>
            <a:ln w="31750" cap="rnd">
              <a:solidFill>
                <a:schemeClr val="accent1">
                  <a:tint val="34000"/>
                </a:schemeClr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Добыча!$G$5:$Q$5</c:f>
              <c:numCache>
                <c:formatCode>General</c:formatCode>
                <c:ptCount val="11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</c:numCache>
              <c:extLst/>
            </c:numRef>
          </c:cat>
          <c:val>
            <c:numRef>
              <c:f>Добыча!$D$48:$Q$48</c:f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30-E824-4B86-955D-E5601B3904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9855920"/>
        <c:axId val="279856480"/>
      </c:lineChart>
      <c:dateAx>
        <c:axId val="27985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vert="horz"/>
          <a:lstStyle/>
          <a:p>
            <a:pPr>
              <a:defRPr sz="900" b="0">
                <a:solidFill>
                  <a:srgbClr val="706F6F"/>
                </a:solidFill>
              </a:defRPr>
            </a:pPr>
            <a:endParaRPr lang="ru-RU"/>
          </a:p>
        </c:txPr>
        <c:crossAx val="279856480"/>
        <c:crosses val="autoZero"/>
        <c:auto val="0"/>
        <c:lblOffset val="100"/>
        <c:baseTimeUnit val="days"/>
        <c:minorUnit val="1"/>
      </c:dateAx>
      <c:valAx>
        <c:axId val="279856480"/>
        <c:scaling>
          <c:orientation val="minMax"/>
          <c:max val="900"/>
          <c:min val="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79855920"/>
        <c:crosses val="autoZero"/>
        <c:crossBetween val="between"/>
      </c:valAx>
      <c:valAx>
        <c:axId val="279857040"/>
        <c:scaling>
          <c:orientation val="minMax"/>
          <c:max val="30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79857600"/>
        <c:crosses val="max"/>
        <c:crossBetween val="between"/>
        <c:majorUnit val="10"/>
      </c:valAx>
      <c:catAx>
        <c:axId val="2798576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98570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91838973951947E-2"/>
          <c:y val="1.3999405273530763E-2"/>
          <c:w val="0.85132563885272816"/>
          <c:h val="0.82435220396079145"/>
        </c:manualLayout>
      </c:layout>
      <c:barChart>
        <c:barDir val="bar"/>
        <c:grouping val="clustered"/>
        <c:varyColors val="0"/>
        <c:ser>
          <c:idx val="1"/>
          <c:order val="0"/>
          <c:tx>
            <c:v>План</c:v>
          </c:tx>
          <c:spPr>
            <a:pattFill prst="wdUpDiag">
              <a:fgClr>
                <a:schemeClr val="bg1">
                  <a:lumMod val="50000"/>
                </a:schemeClr>
              </a:fgClr>
              <a:bgClr>
                <a:schemeClr val="bg1"/>
              </a:bgClr>
            </a:pattFill>
            <a:ln w="12700">
              <a:solidFill>
                <a:schemeClr val="bg1">
                  <a:lumMod val="5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ГРП 134ГС'!$F$3:$O$3</c:f>
              <c:strCache>
                <c:ptCount val="10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  <c:pt idx="5">
                  <c:v>VI</c:v>
                </c:pt>
                <c:pt idx="6">
                  <c:v>VII</c:v>
                </c:pt>
                <c:pt idx="7">
                  <c:v>VIII</c:v>
                </c:pt>
                <c:pt idx="8">
                  <c:v>IX</c:v>
                </c:pt>
                <c:pt idx="9">
                  <c:v>X</c:v>
                </c:pt>
              </c:strCache>
            </c:strRef>
          </c:cat>
          <c:val>
            <c:numRef>
              <c:f>'ГРП 134ГС'!$F$10:$O$10</c:f>
              <c:numCache>
                <c:formatCode>General</c:formatCode>
                <c:ptCount val="10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BB-4BE0-AC7F-A550D5462D46}"/>
            </c:ext>
          </c:extLst>
        </c:ser>
        <c:ser>
          <c:idx val="0"/>
          <c:order val="1"/>
          <c:tx>
            <c:v>Факт</c:v>
          </c:tx>
          <c:spPr>
            <a:solidFill>
              <a:schemeClr val="accent1"/>
            </a:solidFill>
          </c:spPr>
          <c:invertIfNegative val="0"/>
          <c:dLbls>
            <c:dLbl>
              <c:idx val="6"/>
              <c:layout>
                <c:manualLayout>
                  <c:x val="-1.0968829623876016E-2"/>
                  <c:y val="3.158543490646483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3BB-4BE0-AC7F-A550D5462D46}"/>
                </c:ext>
              </c:extLst>
            </c:dLbl>
            <c:dLbl>
              <c:idx val="7"/>
              <c:layout>
                <c:manualLayout>
                  <c:x val="-4.714813531396889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E3BB-4BE0-AC7F-A550D5462D4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ГРП 134ГС'!$F$3:$O$3</c:f>
              <c:strCache>
                <c:ptCount val="10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  <c:pt idx="5">
                  <c:v>VI</c:v>
                </c:pt>
                <c:pt idx="6">
                  <c:v>VII</c:v>
                </c:pt>
                <c:pt idx="7">
                  <c:v>VIII</c:v>
                </c:pt>
                <c:pt idx="8">
                  <c:v>IX</c:v>
                </c:pt>
                <c:pt idx="9">
                  <c:v>X</c:v>
                </c:pt>
              </c:strCache>
            </c:strRef>
          </c:cat>
          <c:val>
            <c:numRef>
              <c:f>'ГРП 134ГС'!$F$11:$O$11</c:f>
              <c:numCache>
                <c:formatCode>0.0</c:formatCode>
                <c:ptCount val="10"/>
                <c:pt idx="0">
                  <c:v>82</c:v>
                </c:pt>
                <c:pt idx="1">
                  <c:v>75</c:v>
                </c:pt>
                <c:pt idx="2">
                  <c:v>65</c:v>
                </c:pt>
                <c:pt idx="3">
                  <c:v>45.3</c:v>
                </c:pt>
                <c:pt idx="4">
                  <c:v>15.3</c:v>
                </c:pt>
                <c:pt idx="5">
                  <c:v>54.1</c:v>
                </c:pt>
                <c:pt idx="6">
                  <c:v>1.64</c:v>
                </c:pt>
                <c:pt idx="7">
                  <c:v>4.8</c:v>
                </c:pt>
                <c:pt idx="8">
                  <c:v>1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3BB-4BE0-AC7F-A550D5462D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2"/>
        <c:overlap val="100"/>
        <c:axId val="1091619840"/>
        <c:axId val="1444621696"/>
      </c:barChart>
      <c:catAx>
        <c:axId val="109161984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444621696"/>
        <c:crosses val="autoZero"/>
        <c:auto val="1"/>
        <c:lblAlgn val="ctr"/>
        <c:lblOffset val="100"/>
        <c:noMultiLvlLbl val="0"/>
      </c:catAx>
      <c:valAx>
        <c:axId val="1444621696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50000"/>
                </a:schemeClr>
              </a:solidFill>
              <a:prstDash val="dash"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ru-RU" b="0" dirty="0" smtClean="0"/>
                  <a:t>тонн,</a:t>
                </a:r>
                <a:r>
                  <a:rPr lang="ru-RU" b="0" baseline="0" dirty="0" smtClean="0"/>
                  <a:t> проппанта</a:t>
                </a:r>
                <a:endParaRPr lang="ru-RU" b="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091619840"/>
        <c:crosses val="autoZero"/>
        <c:crossBetween val="between"/>
        <c:majorUnit val="25"/>
      </c:valAx>
    </c:plotArea>
    <c:plotVisOnly val="1"/>
    <c:dispBlanksAs val="gap"/>
    <c:showDLblsOverMax val="0"/>
  </c:chart>
  <c:txPr>
    <a:bodyPr/>
    <a:lstStyle/>
    <a:p>
      <a:pPr>
        <a:defRPr sz="800">
          <a:latin typeface="Arial (Основной текст)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043188764175876"/>
          <c:y val="0.13781200461866647"/>
          <c:w val="0.76206702982853802"/>
          <c:h val="0.69540267185256077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N$3</c:f>
              <c:strCache>
                <c:ptCount val="1"/>
                <c:pt idx="0">
                  <c:v>Qн</c:v>
                </c:pt>
              </c:strCache>
            </c:strRef>
          </c:tx>
          <c:spPr>
            <a:ln w="3175">
              <a:noFill/>
            </a:ln>
          </c:spPr>
          <c:marker>
            <c:symbol val="circle"/>
            <c:size val="4"/>
            <c:spPr>
              <a:solidFill>
                <a:schemeClr val="accent6">
                  <a:lumMod val="50000"/>
                </a:schemeClr>
              </a:solidFill>
              <a:ln w="3175">
                <a:solidFill>
                  <a:srgbClr val="ED7D31">
                    <a:lumMod val="50000"/>
                  </a:srgbClr>
                </a:solidFill>
              </a:ln>
            </c:spPr>
          </c:marker>
          <c:xVal>
            <c:numRef>
              <c:f>Sheet1!$A$65:$A$700</c:f>
              <c:numCache>
                <c:formatCode>General</c:formatCode>
                <c:ptCount val="63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</c:numCache>
            </c:numRef>
          </c:xVal>
          <c:yVal>
            <c:numRef>
              <c:f>Sheet1!$N$65:$N$700</c:f>
              <c:numCache>
                <c:formatCode>General</c:formatCode>
                <c:ptCount val="636"/>
                <c:pt idx="0">
                  <c:v>0</c:v>
                </c:pt>
                <c:pt idx="1">
                  <c:v>1.6</c:v>
                </c:pt>
                <c:pt idx="2">
                  <c:v>1.1000000000000001</c:v>
                </c:pt>
                <c:pt idx="3">
                  <c:v>1</c:v>
                </c:pt>
                <c:pt idx="4">
                  <c:v>0.3</c:v>
                </c:pt>
                <c:pt idx="5">
                  <c:v>0.3</c:v>
                </c:pt>
                <c:pt idx="6">
                  <c:v>0.3</c:v>
                </c:pt>
                <c:pt idx="7">
                  <c:v>0.3</c:v>
                </c:pt>
                <c:pt idx="8">
                  <c:v>0.3</c:v>
                </c:pt>
                <c:pt idx="9">
                  <c:v>0.3</c:v>
                </c:pt>
                <c:pt idx="10">
                  <c:v>0.3</c:v>
                </c:pt>
                <c:pt idx="11">
                  <c:v>0.3</c:v>
                </c:pt>
                <c:pt idx="12">
                  <c:v>0.3</c:v>
                </c:pt>
                <c:pt idx="13">
                  <c:v>0.3</c:v>
                </c:pt>
                <c:pt idx="14">
                  <c:v>1.3</c:v>
                </c:pt>
                <c:pt idx="15">
                  <c:v>1.3</c:v>
                </c:pt>
                <c:pt idx="16">
                  <c:v>1.6</c:v>
                </c:pt>
                <c:pt idx="17">
                  <c:v>7.1</c:v>
                </c:pt>
                <c:pt idx="18">
                  <c:v>1.6</c:v>
                </c:pt>
                <c:pt idx="19">
                  <c:v>1.6</c:v>
                </c:pt>
                <c:pt idx="20">
                  <c:v>1.4</c:v>
                </c:pt>
                <c:pt idx="21">
                  <c:v>1.4</c:v>
                </c:pt>
                <c:pt idx="22">
                  <c:v>1.4</c:v>
                </c:pt>
                <c:pt idx="23">
                  <c:v>1.8</c:v>
                </c:pt>
                <c:pt idx="24">
                  <c:v>1.4</c:v>
                </c:pt>
                <c:pt idx="25">
                  <c:v>1.6</c:v>
                </c:pt>
                <c:pt idx="26">
                  <c:v>3.7</c:v>
                </c:pt>
                <c:pt idx="27">
                  <c:v>2.1</c:v>
                </c:pt>
                <c:pt idx="28">
                  <c:v>0.3</c:v>
                </c:pt>
                <c:pt idx="29">
                  <c:v>0.3</c:v>
                </c:pt>
                <c:pt idx="30">
                  <c:v>0.3</c:v>
                </c:pt>
                <c:pt idx="31">
                  <c:v>0.3</c:v>
                </c:pt>
                <c:pt idx="32">
                  <c:v>0.3</c:v>
                </c:pt>
                <c:pt idx="33">
                  <c:v>0.3</c:v>
                </c:pt>
                <c:pt idx="34">
                  <c:v>0.3</c:v>
                </c:pt>
                <c:pt idx="35">
                  <c:v>0.5</c:v>
                </c:pt>
                <c:pt idx="36">
                  <c:v>0.6</c:v>
                </c:pt>
                <c:pt idx="37">
                  <c:v>1.4</c:v>
                </c:pt>
                <c:pt idx="38">
                  <c:v>1.4</c:v>
                </c:pt>
                <c:pt idx="39">
                  <c:v>1.5</c:v>
                </c:pt>
                <c:pt idx="40">
                  <c:v>1.5</c:v>
                </c:pt>
                <c:pt idx="41">
                  <c:v>1.6</c:v>
                </c:pt>
                <c:pt idx="42">
                  <c:v>1.4</c:v>
                </c:pt>
                <c:pt idx="43">
                  <c:v>1.5</c:v>
                </c:pt>
                <c:pt idx="44">
                  <c:v>0.8</c:v>
                </c:pt>
                <c:pt idx="45">
                  <c:v>0.9</c:v>
                </c:pt>
                <c:pt idx="46">
                  <c:v>0.9</c:v>
                </c:pt>
                <c:pt idx="47">
                  <c:v>0.9</c:v>
                </c:pt>
                <c:pt idx="48">
                  <c:v>0.9</c:v>
                </c:pt>
                <c:pt idx="49">
                  <c:v>2.4</c:v>
                </c:pt>
                <c:pt idx="50">
                  <c:v>2.4</c:v>
                </c:pt>
                <c:pt idx="51">
                  <c:v>2.4</c:v>
                </c:pt>
                <c:pt idx="52">
                  <c:v>2.1</c:v>
                </c:pt>
                <c:pt idx="53">
                  <c:v>2.1</c:v>
                </c:pt>
                <c:pt idx="54">
                  <c:v>3.9</c:v>
                </c:pt>
                <c:pt idx="55">
                  <c:v>3.9</c:v>
                </c:pt>
                <c:pt idx="56">
                  <c:v>4.0999999999999996</c:v>
                </c:pt>
                <c:pt idx="57">
                  <c:v>4.0999999999999996</c:v>
                </c:pt>
                <c:pt idx="58">
                  <c:v>3.7</c:v>
                </c:pt>
                <c:pt idx="59">
                  <c:v>3.7</c:v>
                </c:pt>
                <c:pt idx="60">
                  <c:v>3.7</c:v>
                </c:pt>
                <c:pt idx="61">
                  <c:v>4.0999999999999996</c:v>
                </c:pt>
                <c:pt idx="62">
                  <c:v>4.0999999999999996</c:v>
                </c:pt>
                <c:pt idx="63">
                  <c:v>3.8</c:v>
                </c:pt>
                <c:pt idx="64">
                  <c:v>3.1</c:v>
                </c:pt>
                <c:pt idx="65">
                  <c:v>3.5</c:v>
                </c:pt>
                <c:pt idx="66">
                  <c:v>3.5</c:v>
                </c:pt>
                <c:pt idx="67">
                  <c:v>3.2</c:v>
                </c:pt>
                <c:pt idx="68">
                  <c:v>2.8</c:v>
                </c:pt>
                <c:pt idx="69">
                  <c:v>2.8</c:v>
                </c:pt>
                <c:pt idx="70">
                  <c:v>2.1</c:v>
                </c:pt>
                <c:pt idx="71">
                  <c:v>2.4</c:v>
                </c:pt>
                <c:pt idx="72">
                  <c:v>2.4</c:v>
                </c:pt>
                <c:pt idx="73">
                  <c:v>2.2999999999999998</c:v>
                </c:pt>
                <c:pt idx="74">
                  <c:v>2.2999999999999998</c:v>
                </c:pt>
                <c:pt idx="75">
                  <c:v>2.2000000000000002</c:v>
                </c:pt>
                <c:pt idx="76">
                  <c:v>2.4</c:v>
                </c:pt>
                <c:pt idx="77">
                  <c:v>2.4</c:v>
                </c:pt>
                <c:pt idx="78">
                  <c:v>2.4</c:v>
                </c:pt>
                <c:pt idx="79">
                  <c:v>2.4</c:v>
                </c:pt>
                <c:pt idx="80">
                  <c:v>2.4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2.5</c:v>
                </c:pt>
                <c:pt idx="86">
                  <c:v>0</c:v>
                </c:pt>
                <c:pt idx="87">
                  <c:v>1.4</c:v>
                </c:pt>
                <c:pt idx="88">
                  <c:v>3.9</c:v>
                </c:pt>
                <c:pt idx="89">
                  <c:v>3.1</c:v>
                </c:pt>
                <c:pt idx="90">
                  <c:v>4.5</c:v>
                </c:pt>
                <c:pt idx="91">
                  <c:v>5.0999999999999996</c:v>
                </c:pt>
                <c:pt idx="92">
                  <c:v>6.6</c:v>
                </c:pt>
                <c:pt idx="93">
                  <c:v>6.4</c:v>
                </c:pt>
                <c:pt idx="94">
                  <c:v>6.4</c:v>
                </c:pt>
                <c:pt idx="95">
                  <c:v>8.1</c:v>
                </c:pt>
                <c:pt idx="96">
                  <c:v>7.7</c:v>
                </c:pt>
                <c:pt idx="97">
                  <c:v>6.8</c:v>
                </c:pt>
                <c:pt idx="98">
                  <c:v>2.7</c:v>
                </c:pt>
                <c:pt idx="99">
                  <c:v>0.8</c:v>
                </c:pt>
                <c:pt idx="100">
                  <c:v>0.5</c:v>
                </c:pt>
                <c:pt idx="101">
                  <c:v>0.6</c:v>
                </c:pt>
                <c:pt idx="102">
                  <c:v>5.2</c:v>
                </c:pt>
                <c:pt idx="103">
                  <c:v>4.9000000000000004</c:v>
                </c:pt>
                <c:pt idx="104">
                  <c:v>6.6</c:v>
                </c:pt>
                <c:pt idx="105">
                  <c:v>4.5999999999999996</c:v>
                </c:pt>
                <c:pt idx="106">
                  <c:v>5.5</c:v>
                </c:pt>
                <c:pt idx="107">
                  <c:v>5.5</c:v>
                </c:pt>
                <c:pt idx="108">
                  <c:v>6.8</c:v>
                </c:pt>
                <c:pt idx="109">
                  <c:v>7</c:v>
                </c:pt>
                <c:pt idx="110">
                  <c:v>4.5</c:v>
                </c:pt>
                <c:pt idx="111">
                  <c:v>5.0999999999999996</c:v>
                </c:pt>
                <c:pt idx="112">
                  <c:v>5.2</c:v>
                </c:pt>
                <c:pt idx="113">
                  <c:v>5.0999999999999996</c:v>
                </c:pt>
                <c:pt idx="114">
                  <c:v>5.0999999999999996</c:v>
                </c:pt>
                <c:pt idx="115">
                  <c:v>7.1</c:v>
                </c:pt>
                <c:pt idx="116">
                  <c:v>7.1</c:v>
                </c:pt>
                <c:pt idx="117">
                  <c:v>7.5</c:v>
                </c:pt>
                <c:pt idx="118">
                  <c:v>7.5</c:v>
                </c:pt>
                <c:pt idx="119">
                  <c:v>6.6</c:v>
                </c:pt>
                <c:pt idx="120">
                  <c:v>6.9</c:v>
                </c:pt>
                <c:pt idx="121">
                  <c:v>11.2</c:v>
                </c:pt>
                <c:pt idx="122">
                  <c:v>7.5</c:v>
                </c:pt>
                <c:pt idx="123">
                  <c:v>7.1</c:v>
                </c:pt>
                <c:pt idx="124">
                  <c:v>8.4</c:v>
                </c:pt>
                <c:pt idx="125">
                  <c:v>8.4</c:v>
                </c:pt>
                <c:pt idx="126">
                  <c:v>8.6</c:v>
                </c:pt>
                <c:pt idx="127">
                  <c:v>8.9</c:v>
                </c:pt>
                <c:pt idx="128">
                  <c:v>9.6999999999999993</c:v>
                </c:pt>
                <c:pt idx="129">
                  <c:v>10.3</c:v>
                </c:pt>
                <c:pt idx="130">
                  <c:v>10.3</c:v>
                </c:pt>
                <c:pt idx="131">
                  <c:v>10.3</c:v>
                </c:pt>
                <c:pt idx="132">
                  <c:v>10.9</c:v>
                </c:pt>
                <c:pt idx="133">
                  <c:v>8.1</c:v>
                </c:pt>
                <c:pt idx="134">
                  <c:v>10.9</c:v>
                </c:pt>
                <c:pt idx="135">
                  <c:v>10.9</c:v>
                </c:pt>
                <c:pt idx="136">
                  <c:v>10.6</c:v>
                </c:pt>
                <c:pt idx="137">
                  <c:v>10.6</c:v>
                </c:pt>
                <c:pt idx="138">
                  <c:v>10.6</c:v>
                </c:pt>
                <c:pt idx="139">
                  <c:v>15.6</c:v>
                </c:pt>
                <c:pt idx="140">
                  <c:v>15.2</c:v>
                </c:pt>
                <c:pt idx="141">
                  <c:v>14.8</c:v>
                </c:pt>
                <c:pt idx="142">
                  <c:v>15.2</c:v>
                </c:pt>
                <c:pt idx="143">
                  <c:v>14.8</c:v>
                </c:pt>
                <c:pt idx="144">
                  <c:v>15.2</c:v>
                </c:pt>
                <c:pt idx="145">
                  <c:v>14.8</c:v>
                </c:pt>
                <c:pt idx="146">
                  <c:v>14.8</c:v>
                </c:pt>
                <c:pt idx="147">
                  <c:v>14.9</c:v>
                </c:pt>
                <c:pt idx="148">
                  <c:v>15.4</c:v>
                </c:pt>
                <c:pt idx="149">
                  <c:v>15.4</c:v>
                </c:pt>
                <c:pt idx="150">
                  <c:v>14.9</c:v>
                </c:pt>
                <c:pt idx="151">
                  <c:v>14.2</c:v>
                </c:pt>
                <c:pt idx="152">
                  <c:v>16.399999999999999</c:v>
                </c:pt>
                <c:pt idx="153">
                  <c:v>16.399999999999999</c:v>
                </c:pt>
                <c:pt idx="154">
                  <c:v>16.399999999999999</c:v>
                </c:pt>
                <c:pt idx="155">
                  <c:v>16.8</c:v>
                </c:pt>
                <c:pt idx="156">
                  <c:v>15.9</c:v>
                </c:pt>
                <c:pt idx="157">
                  <c:v>15.5</c:v>
                </c:pt>
                <c:pt idx="158">
                  <c:v>15.9</c:v>
                </c:pt>
                <c:pt idx="159">
                  <c:v>17.7</c:v>
                </c:pt>
                <c:pt idx="160">
                  <c:v>19.7</c:v>
                </c:pt>
                <c:pt idx="161">
                  <c:v>16.8</c:v>
                </c:pt>
                <c:pt idx="162">
                  <c:v>17.5</c:v>
                </c:pt>
                <c:pt idx="163">
                  <c:v>17.3</c:v>
                </c:pt>
                <c:pt idx="164">
                  <c:v>19</c:v>
                </c:pt>
                <c:pt idx="165">
                  <c:v>18.100000000000001</c:v>
                </c:pt>
                <c:pt idx="166">
                  <c:v>16.399999999999999</c:v>
                </c:pt>
                <c:pt idx="167">
                  <c:v>17.600000000000001</c:v>
                </c:pt>
                <c:pt idx="168">
                  <c:v>17.600000000000001</c:v>
                </c:pt>
                <c:pt idx="169">
                  <c:v>17.600000000000001</c:v>
                </c:pt>
                <c:pt idx="170">
                  <c:v>16.600000000000001</c:v>
                </c:pt>
                <c:pt idx="171">
                  <c:v>17.600000000000001</c:v>
                </c:pt>
                <c:pt idx="172">
                  <c:v>16.2</c:v>
                </c:pt>
                <c:pt idx="173">
                  <c:v>16.2</c:v>
                </c:pt>
                <c:pt idx="174">
                  <c:v>16.2</c:v>
                </c:pt>
                <c:pt idx="175">
                  <c:v>17.100000000000001</c:v>
                </c:pt>
                <c:pt idx="176">
                  <c:v>22.3</c:v>
                </c:pt>
                <c:pt idx="177">
                  <c:v>22.3</c:v>
                </c:pt>
                <c:pt idx="178">
                  <c:v>17.8</c:v>
                </c:pt>
                <c:pt idx="179">
                  <c:v>18.399999999999999</c:v>
                </c:pt>
                <c:pt idx="180">
                  <c:v>18.399999999999999</c:v>
                </c:pt>
                <c:pt idx="181">
                  <c:v>19.100000000000001</c:v>
                </c:pt>
                <c:pt idx="182">
                  <c:v>19.100000000000001</c:v>
                </c:pt>
                <c:pt idx="183">
                  <c:v>19.2</c:v>
                </c:pt>
                <c:pt idx="184">
                  <c:v>19.2</c:v>
                </c:pt>
                <c:pt idx="185">
                  <c:v>17.8</c:v>
                </c:pt>
                <c:pt idx="186">
                  <c:v>20.100000000000001</c:v>
                </c:pt>
                <c:pt idx="187">
                  <c:v>18.399999999999999</c:v>
                </c:pt>
                <c:pt idx="188">
                  <c:v>18.399999999999999</c:v>
                </c:pt>
                <c:pt idx="189">
                  <c:v>17.600000000000001</c:v>
                </c:pt>
                <c:pt idx="190">
                  <c:v>17.600000000000001</c:v>
                </c:pt>
                <c:pt idx="191">
                  <c:v>17.100000000000001</c:v>
                </c:pt>
                <c:pt idx="192">
                  <c:v>17.100000000000001</c:v>
                </c:pt>
                <c:pt idx="193">
                  <c:v>18.7</c:v>
                </c:pt>
                <c:pt idx="194">
                  <c:v>18.7</c:v>
                </c:pt>
                <c:pt idx="195">
                  <c:v>18.7</c:v>
                </c:pt>
                <c:pt idx="196">
                  <c:v>18.7</c:v>
                </c:pt>
                <c:pt idx="197">
                  <c:v>18.100000000000001</c:v>
                </c:pt>
                <c:pt idx="198">
                  <c:v>20.6</c:v>
                </c:pt>
                <c:pt idx="199">
                  <c:v>15.4</c:v>
                </c:pt>
                <c:pt idx="200">
                  <c:v>18.100000000000001</c:v>
                </c:pt>
                <c:pt idx="201">
                  <c:v>19.5</c:v>
                </c:pt>
                <c:pt idx="202">
                  <c:v>18.100000000000001</c:v>
                </c:pt>
                <c:pt idx="203">
                  <c:v>18.100000000000001</c:v>
                </c:pt>
                <c:pt idx="204">
                  <c:v>17.600000000000001</c:v>
                </c:pt>
                <c:pt idx="205">
                  <c:v>18.100000000000001</c:v>
                </c:pt>
                <c:pt idx="206">
                  <c:v>18.100000000000001</c:v>
                </c:pt>
                <c:pt idx="207">
                  <c:v>18.7</c:v>
                </c:pt>
                <c:pt idx="208">
                  <c:v>18.7</c:v>
                </c:pt>
                <c:pt idx="209">
                  <c:v>18.7</c:v>
                </c:pt>
                <c:pt idx="210">
                  <c:v>18.100000000000001</c:v>
                </c:pt>
                <c:pt idx="211">
                  <c:v>18.100000000000001</c:v>
                </c:pt>
                <c:pt idx="212">
                  <c:v>17.600000000000001</c:v>
                </c:pt>
                <c:pt idx="213">
                  <c:v>17.600000000000001</c:v>
                </c:pt>
                <c:pt idx="214">
                  <c:v>18.899999999999999</c:v>
                </c:pt>
                <c:pt idx="215">
                  <c:v>19.2</c:v>
                </c:pt>
                <c:pt idx="216">
                  <c:v>19.7</c:v>
                </c:pt>
                <c:pt idx="217">
                  <c:v>23.7</c:v>
                </c:pt>
                <c:pt idx="218">
                  <c:v>24.3</c:v>
                </c:pt>
                <c:pt idx="219">
                  <c:v>23.6</c:v>
                </c:pt>
                <c:pt idx="220">
                  <c:v>20.3</c:v>
                </c:pt>
                <c:pt idx="221">
                  <c:v>19.7</c:v>
                </c:pt>
                <c:pt idx="222">
                  <c:v>19.7</c:v>
                </c:pt>
                <c:pt idx="223">
                  <c:v>19.7</c:v>
                </c:pt>
                <c:pt idx="224">
                  <c:v>20.3</c:v>
                </c:pt>
                <c:pt idx="225">
                  <c:v>20.3</c:v>
                </c:pt>
                <c:pt idx="226">
                  <c:v>20.3</c:v>
                </c:pt>
                <c:pt idx="227">
                  <c:v>20.3</c:v>
                </c:pt>
                <c:pt idx="228">
                  <c:v>20.3</c:v>
                </c:pt>
                <c:pt idx="229">
                  <c:v>20.3</c:v>
                </c:pt>
                <c:pt idx="230">
                  <c:v>20.3</c:v>
                </c:pt>
                <c:pt idx="231">
                  <c:v>21</c:v>
                </c:pt>
                <c:pt idx="232">
                  <c:v>20.3</c:v>
                </c:pt>
                <c:pt idx="233">
                  <c:v>20.3</c:v>
                </c:pt>
                <c:pt idx="234">
                  <c:v>20.3</c:v>
                </c:pt>
                <c:pt idx="235">
                  <c:v>20.3</c:v>
                </c:pt>
                <c:pt idx="236">
                  <c:v>19.7</c:v>
                </c:pt>
                <c:pt idx="237">
                  <c:v>19.7</c:v>
                </c:pt>
                <c:pt idx="238">
                  <c:v>21.5</c:v>
                </c:pt>
                <c:pt idx="239">
                  <c:v>21.5</c:v>
                </c:pt>
                <c:pt idx="240">
                  <c:v>22.1</c:v>
                </c:pt>
                <c:pt idx="241">
                  <c:v>22.9</c:v>
                </c:pt>
                <c:pt idx="242">
                  <c:v>22.9</c:v>
                </c:pt>
                <c:pt idx="243">
                  <c:v>22.9</c:v>
                </c:pt>
                <c:pt idx="244">
                  <c:v>22.6</c:v>
                </c:pt>
                <c:pt idx="245">
                  <c:v>22.6</c:v>
                </c:pt>
                <c:pt idx="246">
                  <c:v>22.6</c:v>
                </c:pt>
                <c:pt idx="247">
                  <c:v>21.6</c:v>
                </c:pt>
                <c:pt idx="248">
                  <c:v>20.9</c:v>
                </c:pt>
                <c:pt idx="249">
                  <c:v>20.9</c:v>
                </c:pt>
                <c:pt idx="250">
                  <c:v>20.2</c:v>
                </c:pt>
                <c:pt idx="251">
                  <c:v>20</c:v>
                </c:pt>
                <c:pt idx="252">
                  <c:v>20.399999999999999</c:v>
                </c:pt>
                <c:pt idx="253">
                  <c:v>20.7</c:v>
                </c:pt>
                <c:pt idx="254">
                  <c:v>20.8</c:v>
                </c:pt>
                <c:pt idx="255">
                  <c:v>20.8</c:v>
                </c:pt>
                <c:pt idx="256">
                  <c:v>20.2</c:v>
                </c:pt>
                <c:pt idx="257">
                  <c:v>20.2</c:v>
                </c:pt>
                <c:pt idx="258">
                  <c:v>20.2</c:v>
                </c:pt>
                <c:pt idx="259">
                  <c:v>19.5</c:v>
                </c:pt>
                <c:pt idx="260">
                  <c:v>18.8</c:v>
                </c:pt>
                <c:pt idx="261">
                  <c:v>18.8</c:v>
                </c:pt>
                <c:pt idx="262">
                  <c:v>18.8</c:v>
                </c:pt>
                <c:pt idx="263">
                  <c:v>18.8</c:v>
                </c:pt>
                <c:pt idx="264">
                  <c:v>18.8</c:v>
                </c:pt>
                <c:pt idx="265">
                  <c:v>18.8</c:v>
                </c:pt>
                <c:pt idx="266">
                  <c:v>18.8</c:v>
                </c:pt>
                <c:pt idx="267">
                  <c:v>19.5</c:v>
                </c:pt>
                <c:pt idx="268">
                  <c:v>19.5</c:v>
                </c:pt>
                <c:pt idx="269">
                  <c:v>19.5</c:v>
                </c:pt>
                <c:pt idx="270">
                  <c:v>19.5</c:v>
                </c:pt>
                <c:pt idx="271">
                  <c:v>19.5</c:v>
                </c:pt>
                <c:pt idx="272">
                  <c:v>19.5</c:v>
                </c:pt>
                <c:pt idx="273">
                  <c:v>19.5</c:v>
                </c:pt>
                <c:pt idx="275">
                  <c:v>13.2</c:v>
                </c:pt>
                <c:pt idx="276">
                  <c:v>6.3</c:v>
                </c:pt>
                <c:pt idx="277">
                  <c:v>21.5</c:v>
                </c:pt>
                <c:pt idx="280">
                  <c:v>14.8</c:v>
                </c:pt>
                <c:pt idx="282">
                  <c:v>0</c:v>
                </c:pt>
                <c:pt idx="283">
                  <c:v>2.1</c:v>
                </c:pt>
                <c:pt idx="284">
                  <c:v>0.8</c:v>
                </c:pt>
                <c:pt idx="285">
                  <c:v>21.6</c:v>
                </c:pt>
                <c:pt idx="286">
                  <c:v>22.3</c:v>
                </c:pt>
                <c:pt idx="287">
                  <c:v>23</c:v>
                </c:pt>
                <c:pt idx="288">
                  <c:v>23</c:v>
                </c:pt>
                <c:pt idx="289">
                  <c:v>22.3</c:v>
                </c:pt>
                <c:pt idx="290">
                  <c:v>21.7</c:v>
                </c:pt>
                <c:pt idx="291">
                  <c:v>22.3</c:v>
                </c:pt>
                <c:pt idx="292">
                  <c:v>23.7</c:v>
                </c:pt>
                <c:pt idx="293">
                  <c:v>21.8</c:v>
                </c:pt>
                <c:pt idx="294">
                  <c:v>24.3</c:v>
                </c:pt>
                <c:pt idx="295">
                  <c:v>23.6</c:v>
                </c:pt>
                <c:pt idx="296">
                  <c:v>23</c:v>
                </c:pt>
                <c:pt idx="298">
                  <c:v>24.8</c:v>
                </c:pt>
                <c:pt idx="299">
                  <c:v>23.4</c:v>
                </c:pt>
                <c:pt idx="300">
                  <c:v>25.5</c:v>
                </c:pt>
                <c:pt idx="301">
                  <c:v>23.6</c:v>
                </c:pt>
                <c:pt idx="302">
                  <c:v>24.4</c:v>
                </c:pt>
                <c:pt idx="303">
                  <c:v>26.9</c:v>
                </c:pt>
                <c:pt idx="304">
                  <c:v>23.7</c:v>
                </c:pt>
                <c:pt idx="305">
                  <c:v>22.7</c:v>
                </c:pt>
                <c:pt idx="310">
                  <c:v>24.1</c:v>
                </c:pt>
                <c:pt idx="312">
                  <c:v>25.3</c:v>
                </c:pt>
                <c:pt idx="314">
                  <c:v>24.3</c:v>
                </c:pt>
                <c:pt idx="316">
                  <c:v>23.5</c:v>
                </c:pt>
                <c:pt idx="317">
                  <c:v>23.5</c:v>
                </c:pt>
                <c:pt idx="319">
                  <c:v>21</c:v>
                </c:pt>
                <c:pt idx="321">
                  <c:v>21.6</c:v>
                </c:pt>
                <c:pt idx="323">
                  <c:v>21</c:v>
                </c:pt>
                <c:pt idx="324">
                  <c:v>21</c:v>
                </c:pt>
                <c:pt idx="326">
                  <c:v>21.6</c:v>
                </c:pt>
                <c:pt idx="327">
                  <c:v>21.6</c:v>
                </c:pt>
                <c:pt idx="328">
                  <c:v>21.6</c:v>
                </c:pt>
                <c:pt idx="333">
                  <c:v>23</c:v>
                </c:pt>
                <c:pt idx="334">
                  <c:v>21</c:v>
                </c:pt>
                <c:pt idx="335">
                  <c:v>21</c:v>
                </c:pt>
                <c:pt idx="336">
                  <c:v>21</c:v>
                </c:pt>
                <c:pt idx="339">
                  <c:v>21</c:v>
                </c:pt>
                <c:pt idx="340">
                  <c:v>21</c:v>
                </c:pt>
                <c:pt idx="342">
                  <c:v>21</c:v>
                </c:pt>
                <c:pt idx="344">
                  <c:v>21</c:v>
                </c:pt>
                <c:pt idx="346">
                  <c:v>21</c:v>
                </c:pt>
                <c:pt idx="348">
                  <c:v>21</c:v>
                </c:pt>
                <c:pt idx="349">
                  <c:v>21</c:v>
                </c:pt>
                <c:pt idx="350">
                  <c:v>21</c:v>
                </c:pt>
                <c:pt idx="351">
                  <c:v>21</c:v>
                </c:pt>
                <c:pt idx="352">
                  <c:v>21.6</c:v>
                </c:pt>
                <c:pt idx="353">
                  <c:v>21.6</c:v>
                </c:pt>
                <c:pt idx="354">
                  <c:v>21.6</c:v>
                </c:pt>
                <c:pt idx="355">
                  <c:v>19.7</c:v>
                </c:pt>
                <c:pt idx="357">
                  <c:v>20.3</c:v>
                </c:pt>
                <c:pt idx="359">
                  <c:v>19</c:v>
                </c:pt>
                <c:pt idx="361">
                  <c:v>20.3</c:v>
                </c:pt>
                <c:pt idx="364">
                  <c:v>20.69</c:v>
                </c:pt>
                <c:pt idx="367">
                  <c:v>15.7</c:v>
                </c:pt>
                <c:pt idx="368">
                  <c:v>18.04</c:v>
                </c:pt>
                <c:pt idx="369">
                  <c:v>20.93</c:v>
                </c:pt>
                <c:pt idx="371">
                  <c:v>20.2</c:v>
                </c:pt>
                <c:pt idx="372">
                  <c:v>22.37</c:v>
                </c:pt>
                <c:pt idx="373">
                  <c:v>20.66</c:v>
                </c:pt>
                <c:pt idx="375">
                  <c:v>12.55</c:v>
                </c:pt>
                <c:pt idx="376">
                  <c:v>21.4</c:v>
                </c:pt>
                <c:pt idx="378">
                  <c:v>15.25</c:v>
                </c:pt>
                <c:pt idx="379">
                  <c:v>22.62</c:v>
                </c:pt>
                <c:pt idx="381">
                  <c:v>22.62</c:v>
                </c:pt>
                <c:pt idx="386">
                  <c:v>21.16</c:v>
                </c:pt>
                <c:pt idx="387">
                  <c:v>21.16</c:v>
                </c:pt>
                <c:pt idx="388">
                  <c:v>21.16</c:v>
                </c:pt>
                <c:pt idx="390">
                  <c:v>20.43</c:v>
                </c:pt>
                <c:pt idx="396">
                  <c:v>21.89</c:v>
                </c:pt>
                <c:pt idx="399">
                  <c:v>21.89</c:v>
                </c:pt>
                <c:pt idx="402">
                  <c:v>21.89</c:v>
                </c:pt>
                <c:pt idx="407">
                  <c:v>21.16</c:v>
                </c:pt>
                <c:pt idx="409">
                  <c:v>21.65</c:v>
                </c:pt>
                <c:pt idx="410">
                  <c:v>20.69</c:v>
                </c:pt>
                <c:pt idx="411">
                  <c:v>20.69</c:v>
                </c:pt>
                <c:pt idx="412">
                  <c:v>19.98</c:v>
                </c:pt>
                <c:pt idx="413">
                  <c:v>20.69</c:v>
                </c:pt>
                <c:pt idx="414">
                  <c:v>20.2</c:v>
                </c:pt>
                <c:pt idx="416">
                  <c:v>23.98</c:v>
                </c:pt>
                <c:pt idx="417">
                  <c:v>23.27</c:v>
                </c:pt>
                <c:pt idx="418">
                  <c:v>24.08</c:v>
                </c:pt>
                <c:pt idx="419">
                  <c:v>24.08</c:v>
                </c:pt>
                <c:pt idx="420">
                  <c:v>23.98</c:v>
                </c:pt>
                <c:pt idx="421">
                  <c:v>23.98</c:v>
                </c:pt>
                <c:pt idx="422">
                  <c:v>24.81</c:v>
                </c:pt>
                <c:pt idx="423">
                  <c:v>23.98</c:v>
                </c:pt>
                <c:pt idx="425">
                  <c:v>23.27</c:v>
                </c:pt>
                <c:pt idx="426">
                  <c:v>23.54</c:v>
                </c:pt>
                <c:pt idx="427">
                  <c:v>24.26</c:v>
                </c:pt>
                <c:pt idx="428">
                  <c:v>23.81</c:v>
                </c:pt>
                <c:pt idx="429">
                  <c:v>24.26</c:v>
                </c:pt>
                <c:pt idx="430">
                  <c:v>23.09</c:v>
                </c:pt>
                <c:pt idx="431">
                  <c:v>22.83</c:v>
                </c:pt>
                <c:pt idx="432">
                  <c:v>25.71</c:v>
                </c:pt>
                <c:pt idx="433">
                  <c:v>24.35</c:v>
                </c:pt>
                <c:pt idx="435">
                  <c:v>24.35</c:v>
                </c:pt>
                <c:pt idx="436">
                  <c:v>23.81</c:v>
                </c:pt>
                <c:pt idx="437">
                  <c:v>24.08</c:v>
                </c:pt>
                <c:pt idx="438">
                  <c:v>23.35</c:v>
                </c:pt>
                <c:pt idx="439">
                  <c:v>24.35</c:v>
                </c:pt>
                <c:pt idx="440">
                  <c:v>24.08</c:v>
                </c:pt>
                <c:pt idx="441">
                  <c:v>24.08</c:v>
                </c:pt>
                <c:pt idx="442">
                  <c:v>24.08</c:v>
                </c:pt>
                <c:pt idx="443">
                  <c:v>24.08</c:v>
                </c:pt>
                <c:pt idx="447">
                  <c:v>24.08</c:v>
                </c:pt>
                <c:pt idx="448">
                  <c:v>24.08</c:v>
                </c:pt>
                <c:pt idx="449">
                  <c:v>23.35</c:v>
                </c:pt>
                <c:pt idx="450">
                  <c:v>23.35</c:v>
                </c:pt>
                <c:pt idx="451">
                  <c:v>23.35</c:v>
                </c:pt>
                <c:pt idx="452">
                  <c:v>23.35</c:v>
                </c:pt>
                <c:pt idx="456">
                  <c:v>23.35</c:v>
                </c:pt>
                <c:pt idx="457">
                  <c:v>23.35</c:v>
                </c:pt>
                <c:pt idx="458">
                  <c:v>23.35</c:v>
                </c:pt>
                <c:pt idx="459">
                  <c:v>22.62</c:v>
                </c:pt>
                <c:pt idx="460">
                  <c:v>23.35</c:v>
                </c:pt>
                <c:pt idx="461">
                  <c:v>23.35</c:v>
                </c:pt>
                <c:pt idx="462">
                  <c:v>23.35</c:v>
                </c:pt>
                <c:pt idx="463">
                  <c:v>23.35</c:v>
                </c:pt>
                <c:pt idx="464">
                  <c:v>23.35</c:v>
                </c:pt>
                <c:pt idx="465">
                  <c:v>22.62</c:v>
                </c:pt>
                <c:pt idx="466">
                  <c:v>22.62</c:v>
                </c:pt>
                <c:pt idx="467">
                  <c:v>22.62</c:v>
                </c:pt>
                <c:pt idx="468">
                  <c:v>22.62</c:v>
                </c:pt>
                <c:pt idx="469">
                  <c:v>22.62</c:v>
                </c:pt>
                <c:pt idx="470">
                  <c:v>23.35</c:v>
                </c:pt>
                <c:pt idx="471">
                  <c:v>23.09</c:v>
                </c:pt>
                <c:pt idx="472">
                  <c:v>21.65</c:v>
                </c:pt>
                <c:pt idx="473">
                  <c:v>22.37</c:v>
                </c:pt>
                <c:pt idx="474">
                  <c:v>22.62</c:v>
                </c:pt>
                <c:pt idx="475">
                  <c:v>22.62</c:v>
                </c:pt>
                <c:pt idx="476">
                  <c:v>22.62</c:v>
                </c:pt>
                <c:pt idx="477">
                  <c:v>22.37</c:v>
                </c:pt>
                <c:pt idx="478">
                  <c:v>24.53</c:v>
                </c:pt>
                <c:pt idx="480">
                  <c:v>21.65</c:v>
                </c:pt>
                <c:pt idx="481">
                  <c:v>25.65</c:v>
                </c:pt>
                <c:pt idx="482">
                  <c:v>23.64</c:v>
                </c:pt>
                <c:pt idx="483">
                  <c:v>25.17</c:v>
                </c:pt>
                <c:pt idx="484">
                  <c:v>27.73</c:v>
                </c:pt>
                <c:pt idx="486">
                  <c:v>28.36</c:v>
                </c:pt>
                <c:pt idx="487">
                  <c:v>26.7</c:v>
                </c:pt>
                <c:pt idx="488">
                  <c:v>29.19</c:v>
                </c:pt>
                <c:pt idx="489">
                  <c:v>28.54</c:v>
                </c:pt>
                <c:pt idx="490">
                  <c:v>31</c:v>
                </c:pt>
                <c:pt idx="491">
                  <c:v>33.85</c:v>
                </c:pt>
                <c:pt idx="494">
                  <c:v>29.59</c:v>
                </c:pt>
                <c:pt idx="495">
                  <c:v>28.46</c:v>
                </c:pt>
                <c:pt idx="496">
                  <c:v>27.61</c:v>
                </c:pt>
                <c:pt idx="498">
                  <c:v>28.67</c:v>
                </c:pt>
                <c:pt idx="499">
                  <c:v>27.91</c:v>
                </c:pt>
                <c:pt idx="500">
                  <c:v>27.61</c:v>
                </c:pt>
                <c:pt idx="501">
                  <c:v>28.36</c:v>
                </c:pt>
                <c:pt idx="502">
                  <c:v>28.36</c:v>
                </c:pt>
                <c:pt idx="503">
                  <c:v>28.36</c:v>
                </c:pt>
                <c:pt idx="504">
                  <c:v>27.61</c:v>
                </c:pt>
                <c:pt idx="505">
                  <c:v>27.61</c:v>
                </c:pt>
                <c:pt idx="506">
                  <c:v>27.61</c:v>
                </c:pt>
                <c:pt idx="507">
                  <c:v>28.36</c:v>
                </c:pt>
                <c:pt idx="508">
                  <c:v>27.61</c:v>
                </c:pt>
                <c:pt idx="509">
                  <c:v>26.12</c:v>
                </c:pt>
                <c:pt idx="510">
                  <c:v>26.86</c:v>
                </c:pt>
                <c:pt idx="511">
                  <c:v>27.61</c:v>
                </c:pt>
                <c:pt idx="512">
                  <c:v>27.61</c:v>
                </c:pt>
                <c:pt idx="513">
                  <c:v>28.36</c:v>
                </c:pt>
                <c:pt idx="514">
                  <c:v>29.1</c:v>
                </c:pt>
                <c:pt idx="517">
                  <c:v>26.12</c:v>
                </c:pt>
                <c:pt idx="518">
                  <c:v>26.12</c:v>
                </c:pt>
                <c:pt idx="519">
                  <c:v>26.86</c:v>
                </c:pt>
                <c:pt idx="520">
                  <c:v>26.12</c:v>
                </c:pt>
                <c:pt idx="521">
                  <c:v>25.37</c:v>
                </c:pt>
                <c:pt idx="522">
                  <c:v>26.12</c:v>
                </c:pt>
                <c:pt idx="523">
                  <c:v>27.61</c:v>
                </c:pt>
                <c:pt idx="524">
                  <c:v>25.37</c:v>
                </c:pt>
                <c:pt idx="525">
                  <c:v>24.62</c:v>
                </c:pt>
                <c:pt idx="526">
                  <c:v>23.88</c:v>
                </c:pt>
                <c:pt idx="527">
                  <c:v>25.37</c:v>
                </c:pt>
                <c:pt idx="528">
                  <c:v>26.12</c:v>
                </c:pt>
                <c:pt idx="529">
                  <c:v>24.62</c:v>
                </c:pt>
                <c:pt idx="532">
                  <c:v>32.1</c:v>
                </c:pt>
                <c:pt idx="533">
                  <c:v>29.92</c:v>
                </c:pt>
                <c:pt idx="534">
                  <c:v>29.19</c:v>
                </c:pt>
                <c:pt idx="535">
                  <c:v>30.68</c:v>
                </c:pt>
                <c:pt idx="536">
                  <c:v>30.26</c:v>
                </c:pt>
                <c:pt idx="537">
                  <c:v>30.59</c:v>
                </c:pt>
                <c:pt idx="539">
                  <c:v>29.85</c:v>
                </c:pt>
                <c:pt idx="540">
                  <c:v>28.78</c:v>
                </c:pt>
                <c:pt idx="541">
                  <c:v>29.52</c:v>
                </c:pt>
                <c:pt idx="542">
                  <c:v>29.52</c:v>
                </c:pt>
                <c:pt idx="543">
                  <c:v>29.68</c:v>
                </c:pt>
                <c:pt idx="544">
                  <c:v>28.78</c:v>
                </c:pt>
                <c:pt idx="545">
                  <c:v>28.78</c:v>
                </c:pt>
                <c:pt idx="546">
                  <c:v>28.36</c:v>
                </c:pt>
                <c:pt idx="547">
                  <c:v>30.59</c:v>
                </c:pt>
                <c:pt idx="548">
                  <c:v>31</c:v>
                </c:pt>
                <c:pt idx="549">
                  <c:v>29.52</c:v>
                </c:pt>
                <c:pt idx="550">
                  <c:v>29.52</c:v>
                </c:pt>
                <c:pt idx="551">
                  <c:v>32.1</c:v>
                </c:pt>
                <c:pt idx="552">
                  <c:v>31</c:v>
                </c:pt>
                <c:pt idx="553">
                  <c:v>28.04</c:v>
                </c:pt>
                <c:pt idx="554">
                  <c:v>28.04</c:v>
                </c:pt>
                <c:pt idx="555">
                  <c:v>35.840000000000003</c:v>
                </c:pt>
                <c:pt idx="556">
                  <c:v>34.32</c:v>
                </c:pt>
                <c:pt idx="557">
                  <c:v>34.32</c:v>
                </c:pt>
                <c:pt idx="559">
                  <c:v>30.59</c:v>
                </c:pt>
                <c:pt idx="560">
                  <c:v>30.59</c:v>
                </c:pt>
                <c:pt idx="561">
                  <c:v>32.1</c:v>
                </c:pt>
                <c:pt idx="562">
                  <c:v>31</c:v>
                </c:pt>
                <c:pt idx="563">
                  <c:v>27.31</c:v>
                </c:pt>
                <c:pt idx="564">
                  <c:v>30.26</c:v>
                </c:pt>
                <c:pt idx="565">
                  <c:v>29.52</c:v>
                </c:pt>
                <c:pt idx="566">
                  <c:v>31</c:v>
                </c:pt>
                <c:pt idx="567">
                  <c:v>31.73</c:v>
                </c:pt>
                <c:pt idx="568">
                  <c:v>31.73</c:v>
                </c:pt>
                <c:pt idx="569">
                  <c:v>31</c:v>
                </c:pt>
                <c:pt idx="570">
                  <c:v>29.52</c:v>
                </c:pt>
                <c:pt idx="571">
                  <c:v>34.69</c:v>
                </c:pt>
                <c:pt idx="572">
                  <c:v>31.73</c:v>
                </c:pt>
                <c:pt idx="578">
                  <c:v>40.409999999999997</c:v>
                </c:pt>
                <c:pt idx="579">
                  <c:v>37.64</c:v>
                </c:pt>
                <c:pt idx="580">
                  <c:v>37.31</c:v>
                </c:pt>
                <c:pt idx="582">
                  <c:v>36.56</c:v>
                </c:pt>
                <c:pt idx="583">
                  <c:v>37.64</c:v>
                </c:pt>
                <c:pt idx="584">
                  <c:v>36.97</c:v>
                </c:pt>
                <c:pt idx="585">
                  <c:v>38.89</c:v>
                </c:pt>
                <c:pt idx="586">
                  <c:v>37.31</c:v>
                </c:pt>
                <c:pt idx="587">
                  <c:v>34.64</c:v>
                </c:pt>
                <c:pt idx="588">
                  <c:v>36.56</c:v>
                </c:pt>
                <c:pt idx="589">
                  <c:v>35.46</c:v>
                </c:pt>
                <c:pt idx="590">
                  <c:v>0</c:v>
                </c:pt>
                <c:pt idx="591">
                  <c:v>33.85</c:v>
                </c:pt>
                <c:pt idx="592">
                  <c:v>35.42</c:v>
                </c:pt>
                <c:pt idx="593">
                  <c:v>36.229999999999997</c:v>
                </c:pt>
                <c:pt idx="594">
                  <c:v>36.229999999999997</c:v>
                </c:pt>
                <c:pt idx="595">
                  <c:v>32.83</c:v>
                </c:pt>
                <c:pt idx="596">
                  <c:v>32.44</c:v>
                </c:pt>
                <c:pt idx="597">
                  <c:v>35.46</c:v>
                </c:pt>
                <c:pt idx="598">
                  <c:v>34.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3B4-4B82-BB32-4ABA506B12EF}"/>
            </c:ext>
          </c:extLst>
        </c:ser>
        <c:ser>
          <c:idx val="2"/>
          <c:order val="2"/>
          <c:tx>
            <c:strRef>
              <c:f>Sheet1!$J$3</c:f>
              <c:strCache>
                <c:ptCount val="1"/>
                <c:pt idx="0">
                  <c:v>Qж ТМ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4"/>
            <c:spPr>
              <a:solidFill>
                <a:srgbClr val="00B0F0"/>
              </a:solidFill>
              <a:ln w="3175">
                <a:solidFill>
                  <a:srgbClr val="000000"/>
                </a:solidFill>
              </a:ln>
            </c:spPr>
          </c:marker>
          <c:xVal>
            <c:numRef>
              <c:f>Sheet1!$A$65:$A$700</c:f>
              <c:numCache>
                <c:formatCode>General</c:formatCode>
                <c:ptCount val="63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</c:numCache>
            </c:numRef>
          </c:xVal>
          <c:yVal>
            <c:numRef>
              <c:f>Sheet1!$J$65:$J$700</c:f>
              <c:numCache>
                <c:formatCode>General</c:formatCode>
                <c:ptCount val="636"/>
                <c:pt idx="1">
                  <c:v>35.880000000000003</c:v>
                </c:pt>
                <c:pt idx="2">
                  <c:v>65.45</c:v>
                </c:pt>
                <c:pt idx="3">
                  <c:v>59.26</c:v>
                </c:pt>
                <c:pt idx="4">
                  <c:v>24.24</c:v>
                </c:pt>
                <c:pt idx="5">
                  <c:v>19.260000000000002</c:v>
                </c:pt>
                <c:pt idx="6">
                  <c:v>21.94</c:v>
                </c:pt>
                <c:pt idx="7">
                  <c:v>21.34</c:v>
                </c:pt>
                <c:pt idx="8">
                  <c:v>19.32</c:v>
                </c:pt>
                <c:pt idx="9">
                  <c:v>16.47</c:v>
                </c:pt>
                <c:pt idx="10">
                  <c:v>22</c:v>
                </c:pt>
                <c:pt idx="11">
                  <c:v>14.4</c:v>
                </c:pt>
                <c:pt idx="12">
                  <c:v>34.03</c:v>
                </c:pt>
                <c:pt idx="13">
                  <c:v>28.27</c:v>
                </c:pt>
                <c:pt idx="14">
                  <c:v>24.77</c:v>
                </c:pt>
                <c:pt idx="15">
                  <c:v>23.08</c:v>
                </c:pt>
                <c:pt idx="16">
                  <c:v>21.43</c:v>
                </c:pt>
                <c:pt idx="17">
                  <c:v>21.9</c:v>
                </c:pt>
                <c:pt idx="18">
                  <c:v>18.73</c:v>
                </c:pt>
                <c:pt idx="19">
                  <c:v>20.67</c:v>
                </c:pt>
                <c:pt idx="20">
                  <c:v>19.02</c:v>
                </c:pt>
                <c:pt idx="21">
                  <c:v>17.95</c:v>
                </c:pt>
                <c:pt idx="22">
                  <c:v>15.44</c:v>
                </c:pt>
                <c:pt idx="23">
                  <c:v>24.11</c:v>
                </c:pt>
                <c:pt idx="24">
                  <c:v>17.329999999999998</c:v>
                </c:pt>
                <c:pt idx="25">
                  <c:v>20.97</c:v>
                </c:pt>
                <c:pt idx="26">
                  <c:v>35.5</c:v>
                </c:pt>
                <c:pt idx="27">
                  <c:v>21.28</c:v>
                </c:pt>
                <c:pt idx="28">
                  <c:v>18.14</c:v>
                </c:pt>
                <c:pt idx="29">
                  <c:v>19.88</c:v>
                </c:pt>
                <c:pt idx="30">
                  <c:v>26.97</c:v>
                </c:pt>
                <c:pt idx="31">
                  <c:v>20.9</c:v>
                </c:pt>
                <c:pt idx="32">
                  <c:v>16.2</c:v>
                </c:pt>
                <c:pt idx="33">
                  <c:v>19.23</c:v>
                </c:pt>
                <c:pt idx="34">
                  <c:v>22.82</c:v>
                </c:pt>
                <c:pt idx="35">
                  <c:v>30.78</c:v>
                </c:pt>
                <c:pt idx="36">
                  <c:v>34.94</c:v>
                </c:pt>
                <c:pt idx="37">
                  <c:v>33.26</c:v>
                </c:pt>
                <c:pt idx="38">
                  <c:v>34.049999999999997</c:v>
                </c:pt>
                <c:pt idx="39">
                  <c:v>35.35</c:v>
                </c:pt>
                <c:pt idx="40">
                  <c:v>36.35</c:v>
                </c:pt>
                <c:pt idx="41">
                  <c:v>35.700000000000003</c:v>
                </c:pt>
                <c:pt idx="42">
                  <c:v>35.68</c:v>
                </c:pt>
                <c:pt idx="43">
                  <c:v>34.409999999999997</c:v>
                </c:pt>
                <c:pt idx="44">
                  <c:v>34.17</c:v>
                </c:pt>
                <c:pt idx="45">
                  <c:v>35.369999999999997</c:v>
                </c:pt>
                <c:pt idx="46">
                  <c:v>36.08</c:v>
                </c:pt>
                <c:pt idx="47">
                  <c:v>34.6</c:v>
                </c:pt>
                <c:pt idx="48">
                  <c:v>38.6</c:v>
                </c:pt>
                <c:pt idx="49">
                  <c:v>29.55</c:v>
                </c:pt>
                <c:pt idx="50">
                  <c:v>33.35</c:v>
                </c:pt>
                <c:pt idx="51">
                  <c:v>31.2</c:v>
                </c:pt>
                <c:pt idx="52">
                  <c:v>26.25</c:v>
                </c:pt>
                <c:pt idx="53">
                  <c:v>32.6</c:v>
                </c:pt>
                <c:pt idx="54">
                  <c:v>33.200000000000003</c:v>
                </c:pt>
                <c:pt idx="55">
                  <c:v>24.45</c:v>
                </c:pt>
                <c:pt idx="56">
                  <c:v>34.4</c:v>
                </c:pt>
                <c:pt idx="57">
                  <c:v>24.6</c:v>
                </c:pt>
                <c:pt idx="58">
                  <c:v>28.55</c:v>
                </c:pt>
                <c:pt idx="59">
                  <c:v>22.2</c:v>
                </c:pt>
                <c:pt idx="60">
                  <c:v>29.5</c:v>
                </c:pt>
                <c:pt idx="61">
                  <c:v>33.200000000000003</c:v>
                </c:pt>
                <c:pt idx="62">
                  <c:v>35.049999999999997</c:v>
                </c:pt>
                <c:pt idx="63">
                  <c:v>34</c:v>
                </c:pt>
                <c:pt idx="64">
                  <c:v>34</c:v>
                </c:pt>
                <c:pt idx="65">
                  <c:v>34</c:v>
                </c:pt>
                <c:pt idx="66">
                  <c:v>34</c:v>
                </c:pt>
                <c:pt idx="67">
                  <c:v>33.299999999999997</c:v>
                </c:pt>
                <c:pt idx="68">
                  <c:v>33.299999999999997</c:v>
                </c:pt>
                <c:pt idx="69">
                  <c:v>34.450000000000003</c:v>
                </c:pt>
                <c:pt idx="70">
                  <c:v>32.200000000000003</c:v>
                </c:pt>
                <c:pt idx="71">
                  <c:v>31.85</c:v>
                </c:pt>
                <c:pt idx="72">
                  <c:v>31.6</c:v>
                </c:pt>
                <c:pt idx="73">
                  <c:v>30.45</c:v>
                </c:pt>
                <c:pt idx="74">
                  <c:v>30</c:v>
                </c:pt>
                <c:pt idx="75">
                  <c:v>30.6</c:v>
                </c:pt>
                <c:pt idx="76">
                  <c:v>32.9</c:v>
                </c:pt>
                <c:pt idx="82">
                  <c:v>63.47</c:v>
                </c:pt>
                <c:pt idx="83">
                  <c:v>63.91</c:v>
                </c:pt>
                <c:pt idx="84">
                  <c:v>39.380000000000003</c:v>
                </c:pt>
                <c:pt idx="85">
                  <c:v>36.79</c:v>
                </c:pt>
                <c:pt idx="86">
                  <c:v>7.8</c:v>
                </c:pt>
                <c:pt idx="87">
                  <c:v>26.92</c:v>
                </c:pt>
                <c:pt idx="88">
                  <c:v>32.32</c:v>
                </c:pt>
                <c:pt idx="89">
                  <c:v>31.28</c:v>
                </c:pt>
                <c:pt idx="90">
                  <c:v>17.2</c:v>
                </c:pt>
                <c:pt idx="91">
                  <c:v>27.25</c:v>
                </c:pt>
                <c:pt idx="92">
                  <c:v>9.75</c:v>
                </c:pt>
                <c:pt idx="93">
                  <c:v>41.75</c:v>
                </c:pt>
                <c:pt idx="94">
                  <c:v>29.75</c:v>
                </c:pt>
                <c:pt idx="95">
                  <c:v>38.4</c:v>
                </c:pt>
                <c:pt idx="96">
                  <c:v>36.4</c:v>
                </c:pt>
                <c:pt idx="97">
                  <c:v>22</c:v>
                </c:pt>
                <c:pt idx="98">
                  <c:v>6.09</c:v>
                </c:pt>
                <c:pt idx="99">
                  <c:v>2.13</c:v>
                </c:pt>
                <c:pt idx="100">
                  <c:v>21.26</c:v>
                </c:pt>
                <c:pt idx="101">
                  <c:v>35.1</c:v>
                </c:pt>
                <c:pt idx="102">
                  <c:v>34.04</c:v>
                </c:pt>
                <c:pt idx="103">
                  <c:v>36.6</c:v>
                </c:pt>
                <c:pt idx="104">
                  <c:v>22</c:v>
                </c:pt>
                <c:pt idx="105">
                  <c:v>15.65</c:v>
                </c:pt>
                <c:pt idx="106">
                  <c:v>16.05</c:v>
                </c:pt>
                <c:pt idx="107">
                  <c:v>31.9</c:v>
                </c:pt>
                <c:pt idx="108">
                  <c:v>29.4</c:v>
                </c:pt>
                <c:pt idx="109">
                  <c:v>32.9</c:v>
                </c:pt>
                <c:pt idx="110">
                  <c:v>31.1</c:v>
                </c:pt>
                <c:pt idx="111">
                  <c:v>26.4</c:v>
                </c:pt>
                <c:pt idx="112">
                  <c:v>25.35</c:v>
                </c:pt>
                <c:pt idx="113">
                  <c:v>24.05</c:v>
                </c:pt>
                <c:pt idx="114">
                  <c:v>26.15</c:v>
                </c:pt>
                <c:pt idx="115">
                  <c:v>32.700000000000003</c:v>
                </c:pt>
                <c:pt idx="116">
                  <c:v>30.2</c:v>
                </c:pt>
                <c:pt idx="117">
                  <c:v>34.1</c:v>
                </c:pt>
                <c:pt idx="118">
                  <c:v>34.049999999999997</c:v>
                </c:pt>
                <c:pt idx="119">
                  <c:v>18.7</c:v>
                </c:pt>
                <c:pt idx="120">
                  <c:v>26.78</c:v>
                </c:pt>
                <c:pt idx="121">
                  <c:v>26.35</c:v>
                </c:pt>
                <c:pt idx="122">
                  <c:v>26.37</c:v>
                </c:pt>
                <c:pt idx="123">
                  <c:v>29.9</c:v>
                </c:pt>
                <c:pt idx="124">
                  <c:v>29.9</c:v>
                </c:pt>
                <c:pt idx="125">
                  <c:v>29.9</c:v>
                </c:pt>
                <c:pt idx="126">
                  <c:v>29.9</c:v>
                </c:pt>
                <c:pt idx="127">
                  <c:v>29.9</c:v>
                </c:pt>
                <c:pt idx="128">
                  <c:v>29.9</c:v>
                </c:pt>
                <c:pt idx="129">
                  <c:v>1.4</c:v>
                </c:pt>
                <c:pt idx="130">
                  <c:v>0.5</c:v>
                </c:pt>
                <c:pt idx="131">
                  <c:v>0.2</c:v>
                </c:pt>
                <c:pt idx="132">
                  <c:v>25.9</c:v>
                </c:pt>
                <c:pt idx="133">
                  <c:v>20.25</c:v>
                </c:pt>
                <c:pt idx="134">
                  <c:v>0.7</c:v>
                </c:pt>
                <c:pt idx="135">
                  <c:v>0.3</c:v>
                </c:pt>
                <c:pt idx="136">
                  <c:v>0.5</c:v>
                </c:pt>
                <c:pt idx="137">
                  <c:v>4.55</c:v>
                </c:pt>
                <c:pt idx="138">
                  <c:v>0.7</c:v>
                </c:pt>
                <c:pt idx="139">
                  <c:v>0.35</c:v>
                </c:pt>
                <c:pt idx="142">
                  <c:v>0.9</c:v>
                </c:pt>
                <c:pt idx="143">
                  <c:v>0.9</c:v>
                </c:pt>
                <c:pt idx="144">
                  <c:v>2</c:v>
                </c:pt>
                <c:pt idx="145">
                  <c:v>2</c:v>
                </c:pt>
                <c:pt idx="147">
                  <c:v>35.1</c:v>
                </c:pt>
                <c:pt idx="148">
                  <c:v>36.1</c:v>
                </c:pt>
                <c:pt idx="149">
                  <c:v>35.9</c:v>
                </c:pt>
                <c:pt idx="150">
                  <c:v>35.4</c:v>
                </c:pt>
                <c:pt idx="151">
                  <c:v>34.299999999999997</c:v>
                </c:pt>
                <c:pt idx="152">
                  <c:v>33.700000000000003</c:v>
                </c:pt>
                <c:pt idx="153">
                  <c:v>33.700000000000003</c:v>
                </c:pt>
                <c:pt idx="154">
                  <c:v>33.700000000000003</c:v>
                </c:pt>
                <c:pt idx="155">
                  <c:v>33.700000000000003</c:v>
                </c:pt>
                <c:pt idx="156">
                  <c:v>33.700000000000003</c:v>
                </c:pt>
                <c:pt idx="157">
                  <c:v>33.700000000000003</c:v>
                </c:pt>
                <c:pt idx="158">
                  <c:v>33.700000000000003</c:v>
                </c:pt>
                <c:pt idx="159">
                  <c:v>35.5</c:v>
                </c:pt>
                <c:pt idx="160">
                  <c:v>36.549999999999997</c:v>
                </c:pt>
                <c:pt idx="161">
                  <c:v>36.299999999999997</c:v>
                </c:pt>
                <c:pt idx="162">
                  <c:v>35.1</c:v>
                </c:pt>
                <c:pt idx="163">
                  <c:v>36.6</c:v>
                </c:pt>
                <c:pt idx="164">
                  <c:v>37.700000000000003</c:v>
                </c:pt>
                <c:pt idx="165">
                  <c:v>37.6</c:v>
                </c:pt>
                <c:pt idx="166">
                  <c:v>35.450000000000003</c:v>
                </c:pt>
                <c:pt idx="167">
                  <c:v>37.700000000000003</c:v>
                </c:pt>
                <c:pt idx="168">
                  <c:v>37.700000000000003</c:v>
                </c:pt>
                <c:pt idx="169">
                  <c:v>35.799999999999997</c:v>
                </c:pt>
                <c:pt idx="170">
                  <c:v>34.9</c:v>
                </c:pt>
                <c:pt idx="171">
                  <c:v>37.4</c:v>
                </c:pt>
                <c:pt idx="172">
                  <c:v>33.5</c:v>
                </c:pt>
                <c:pt idx="173">
                  <c:v>37.200000000000003</c:v>
                </c:pt>
                <c:pt idx="174">
                  <c:v>36.700000000000003</c:v>
                </c:pt>
                <c:pt idx="175">
                  <c:v>35.75</c:v>
                </c:pt>
                <c:pt idx="176">
                  <c:v>33.5</c:v>
                </c:pt>
                <c:pt idx="177">
                  <c:v>36</c:v>
                </c:pt>
                <c:pt idx="178">
                  <c:v>34.4</c:v>
                </c:pt>
                <c:pt idx="179">
                  <c:v>35</c:v>
                </c:pt>
                <c:pt idx="180">
                  <c:v>32.299999999999997</c:v>
                </c:pt>
                <c:pt idx="181">
                  <c:v>37.4</c:v>
                </c:pt>
                <c:pt idx="182">
                  <c:v>35.799999999999997</c:v>
                </c:pt>
                <c:pt idx="183">
                  <c:v>36</c:v>
                </c:pt>
                <c:pt idx="184">
                  <c:v>35.5</c:v>
                </c:pt>
                <c:pt idx="185">
                  <c:v>32.200000000000003</c:v>
                </c:pt>
                <c:pt idx="186">
                  <c:v>36.200000000000003</c:v>
                </c:pt>
                <c:pt idx="187">
                  <c:v>33</c:v>
                </c:pt>
                <c:pt idx="188">
                  <c:v>34.6</c:v>
                </c:pt>
                <c:pt idx="189">
                  <c:v>33</c:v>
                </c:pt>
                <c:pt idx="190">
                  <c:v>34</c:v>
                </c:pt>
                <c:pt idx="191">
                  <c:v>31.9</c:v>
                </c:pt>
                <c:pt idx="192">
                  <c:v>32.799999999999997</c:v>
                </c:pt>
                <c:pt idx="193">
                  <c:v>35</c:v>
                </c:pt>
                <c:pt idx="194">
                  <c:v>35.299999999999997</c:v>
                </c:pt>
                <c:pt idx="195">
                  <c:v>34.299999999999997</c:v>
                </c:pt>
                <c:pt idx="196">
                  <c:v>33.1</c:v>
                </c:pt>
                <c:pt idx="197">
                  <c:v>34</c:v>
                </c:pt>
                <c:pt idx="198">
                  <c:v>34</c:v>
                </c:pt>
                <c:pt idx="199">
                  <c:v>35.799999999999997</c:v>
                </c:pt>
                <c:pt idx="200">
                  <c:v>33.5</c:v>
                </c:pt>
                <c:pt idx="201">
                  <c:v>31.13</c:v>
                </c:pt>
                <c:pt idx="202">
                  <c:v>33.5</c:v>
                </c:pt>
                <c:pt idx="203">
                  <c:v>33.5</c:v>
                </c:pt>
                <c:pt idx="204">
                  <c:v>33.4</c:v>
                </c:pt>
                <c:pt idx="205">
                  <c:v>33.5</c:v>
                </c:pt>
                <c:pt idx="206">
                  <c:v>33.5</c:v>
                </c:pt>
                <c:pt idx="207">
                  <c:v>32.799999999999997</c:v>
                </c:pt>
                <c:pt idx="208">
                  <c:v>32.799999999999997</c:v>
                </c:pt>
                <c:pt idx="209">
                  <c:v>32.6</c:v>
                </c:pt>
                <c:pt idx="210">
                  <c:v>32.1</c:v>
                </c:pt>
                <c:pt idx="211">
                  <c:v>32.1</c:v>
                </c:pt>
                <c:pt idx="212">
                  <c:v>31.6</c:v>
                </c:pt>
                <c:pt idx="213">
                  <c:v>32.9</c:v>
                </c:pt>
                <c:pt idx="214">
                  <c:v>31.9</c:v>
                </c:pt>
                <c:pt idx="215">
                  <c:v>31.9</c:v>
                </c:pt>
                <c:pt idx="216">
                  <c:v>31.9</c:v>
                </c:pt>
                <c:pt idx="217">
                  <c:v>39.299999999999997</c:v>
                </c:pt>
                <c:pt idx="218">
                  <c:v>39.299999999999997</c:v>
                </c:pt>
                <c:pt idx="219">
                  <c:v>30.95</c:v>
                </c:pt>
                <c:pt idx="220">
                  <c:v>30.9</c:v>
                </c:pt>
                <c:pt idx="221">
                  <c:v>28.75</c:v>
                </c:pt>
                <c:pt idx="222">
                  <c:v>28.75</c:v>
                </c:pt>
                <c:pt idx="223">
                  <c:v>29.8</c:v>
                </c:pt>
                <c:pt idx="224">
                  <c:v>30.9</c:v>
                </c:pt>
                <c:pt idx="225">
                  <c:v>6.7</c:v>
                </c:pt>
                <c:pt idx="226">
                  <c:v>31.1</c:v>
                </c:pt>
                <c:pt idx="227">
                  <c:v>31.1</c:v>
                </c:pt>
                <c:pt idx="228">
                  <c:v>31.5</c:v>
                </c:pt>
                <c:pt idx="229">
                  <c:v>17.95</c:v>
                </c:pt>
                <c:pt idx="230">
                  <c:v>31.4</c:v>
                </c:pt>
                <c:pt idx="231">
                  <c:v>32</c:v>
                </c:pt>
                <c:pt idx="232">
                  <c:v>31.7</c:v>
                </c:pt>
                <c:pt idx="233">
                  <c:v>31.5</c:v>
                </c:pt>
                <c:pt idx="234">
                  <c:v>31.5</c:v>
                </c:pt>
                <c:pt idx="235">
                  <c:v>31.5</c:v>
                </c:pt>
                <c:pt idx="236">
                  <c:v>30</c:v>
                </c:pt>
                <c:pt idx="237">
                  <c:v>30.2</c:v>
                </c:pt>
                <c:pt idx="238">
                  <c:v>31.6</c:v>
                </c:pt>
                <c:pt idx="239">
                  <c:v>31.6</c:v>
                </c:pt>
                <c:pt idx="240">
                  <c:v>30.1</c:v>
                </c:pt>
                <c:pt idx="241">
                  <c:v>30.8</c:v>
                </c:pt>
                <c:pt idx="242">
                  <c:v>31.2</c:v>
                </c:pt>
                <c:pt idx="243">
                  <c:v>31.2</c:v>
                </c:pt>
                <c:pt idx="244">
                  <c:v>30.8</c:v>
                </c:pt>
                <c:pt idx="245">
                  <c:v>30.8</c:v>
                </c:pt>
                <c:pt idx="246">
                  <c:v>30.8</c:v>
                </c:pt>
                <c:pt idx="247">
                  <c:v>30.8</c:v>
                </c:pt>
                <c:pt idx="248">
                  <c:v>29.7</c:v>
                </c:pt>
                <c:pt idx="249">
                  <c:v>30.4</c:v>
                </c:pt>
                <c:pt idx="250">
                  <c:v>29.3</c:v>
                </c:pt>
                <c:pt idx="251">
                  <c:v>29.4</c:v>
                </c:pt>
                <c:pt idx="252">
                  <c:v>30.3</c:v>
                </c:pt>
                <c:pt idx="253">
                  <c:v>30.4</c:v>
                </c:pt>
                <c:pt idx="254">
                  <c:v>30.6</c:v>
                </c:pt>
                <c:pt idx="255">
                  <c:v>30.6</c:v>
                </c:pt>
                <c:pt idx="256">
                  <c:v>30.3</c:v>
                </c:pt>
                <c:pt idx="257">
                  <c:v>30</c:v>
                </c:pt>
                <c:pt idx="258">
                  <c:v>29.5</c:v>
                </c:pt>
                <c:pt idx="259">
                  <c:v>28.9</c:v>
                </c:pt>
                <c:pt idx="260">
                  <c:v>28.2</c:v>
                </c:pt>
                <c:pt idx="261">
                  <c:v>28.2</c:v>
                </c:pt>
                <c:pt idx="262">
                  <c:v>28.2</c:v>
                </c:pt>
                <c:pt idx="263">
                  <c:v>28.2</c:v>
                </c:pt>
                <c:pt idx="264">
                  <c:v>28.2</c:v>
                </c:pt>
                <c:pt idx="265">
                  <c:v>28.2</c:v>
                </c:pt>
                <c:pt idx="266">
                  <c:v>27.9</c:v>
                </c:pt>
                <c:pt idx="267">
                  <c:v>29.1</c:v>
                </c:pt>
                <c:pt idx="268">
                  <c:v>29.1</c:v>
                </c:pt>
                <c:pt idx="269">
                  <c:v>29.1</c:v>
                </c:pt>
                <c:pt idx="270">
                  <c:v>29.1</c:v>
                </c:pt>
                <c:pt idx="271">
                  <c:v>29.1</c:v>
                </c:pt>
                <c:pt idx="272">
                  <c:v>29.1</c:v>
                </c:pt>
                <c:pt idx="273">
                  <c:v>29.1</c:v>
                </c:pt>
                <c:pt idx="274">
                  <c:v>2.8</c:v>
                </c:pt>
                <c:pt idx="275">
                  <c:v>18.86</c:v>
                </c:pt>
                <c:pt idx="276">
                  <c:v>5.32</c:v>
                </c:pt>
                <c:pt idx="282">
                  <c:v>18.8</c:v>
                </c:pt>
                <c:pt idx="283">
                  <c:v>50.91</c:v>
                </c:pt>
                <c:pt idx="284">
                  <c:v>11.37</c:v>
                </c:pt>
                <c:pt idx="285">
                  <c:v>32.08</c:v>
                </c:pt>
                <c:pt idx="286">
                  <c:v>35.9</c:v>
                </c:pt>
                <c:pt idx="288">
                  <c:v>34.5</c:v>
                </c:pt>
                <c:pt idx="289">
                  <c:v>33.9</c:v>
                </c:pt>
                <c:pt idx="290">
                  <c:v>34.1</c:v>
                </c:pt>
                <c:pt idx="291">
                  <c:v>34.4</c:v>
                </c:pt>
                <c:pt idx="292">
                  <c:v>37</c:v>
                </c:pt>
                <c:pt idx="293">
                  <c:v>35</c:v>
                </c:pt>
                <c:pt idx="294">
                  <c:v>36.700000000000003</c:v>
                </c:pt>
                <c:pt idx="295">
                  <c:v>36.299999999999997</c:v>
                </c:pt>
                <c:pt idx="296">
                  <c:v>34.799999999999997</c:v>
                </c:pt>
                <c:pt idx="298">
                  <c:v>36.1</c:v>
                </c:pt>
                <c:pt idx="299">
                  <c:v>34.4</c:v>
                </c:pt>
                <c:pt idx="300">
                  <c:v>37.200000000000003</c:v>
                </c:pt>
                <c:pt idx="301">
                  <c:v>35.700000000000003</c:v>
                </c:pt>
                <c:pt idx="302">
                  <c:v>33.4</c:v>
                </c:pt>
                <c:pt idx="303">
                  <c:v>35.5</c:v>
                </c:pt>
                <c:pt idx="304">
                  <c:v>33.9</c:v>
                </c:pt>
                <c:pt idx="305">
                  <c:v>32.9</c:v>
                </c:pt>
                <c:pt idx="310">
                  <c:v>32.5</c:v>
                </c:pt>
                <c:pt idx="312">
                  <c:v>34.700000000000003</c:v>
                </c:pt>
                <c:pt idx="314">
                  <c:v>33.6</c:v>
                </c:pt>
                <c:pt idx="316">
                  <c:v>32.799999999999997</c:v>
                </c:pt>
                <c:pt idx="317">
                  <c:v>33</c:v>
                </c:pt>
                <c:pt idx="319">
                  <c:v>32.4</c:v>
                </c:pt>
                <c:pt idx="320">
                  <c:v>32.9</c:v>
                </c:pt>
                <c:pt idx="321">
                  <c:v>33.299999999999997</c:v>
                </c:pt>
                <c:pt idx="322">
                  <c:v>32.6</c:v>
                </c:pt>
                <c:pt idx="324">
                  <c:v>32.1</c:v>
                </c:pt>
                <c:pt idx="325">
                  <c:v>32.5</c:v>
                </c:pt>
                <c:pt idx="327">
                  <c:v>32.9</c:v>
                </c:pt>
                <c:pt idx="328">
                  <c:v>32.6</c:v>
                </c:pt>
                <c:pt idx="330">
                  <c:v>32.299999999999997</c:v>
                </c:pt>
                <c:pt idx="331">
                  <c:v>35.65</c:v>
                </c:pt>
                <c:pt idx="333">
                  <c:v>32.4</c:v>
                </c:pt>
                <c:pt idx="334">
                  <c:v>32.1</c:v>
                </c:pt>
                <c:pt idx="336">
                  <c:v>32.700000000000003</c:v>
                </c:pt>
                <c:pt idx="337">
                  <c:v>32.299999999999997</c:v>
                </c:pt>
                <c:pt idx="339">
                  <c:v>32</c:v>
                </c:pt>
                <c:pt idx="340">
                  <c:v>32.4</c:v>
                </c:pt>
                <c:pt idx="342">
                  <c:v>32.799999999999997</c:v>
                </c:pt>
                <c:pt idx="344">
                  <c:v>33.6</c:v>
                </c:pt>
                <c:pt idx="346">
                  <c:v>31.8</c:v>
                </c:pt>
                <c:pt idx="348">
                  <c:v>31.6</c:v>
                </c:pt>
                <c:pt idx="350">
                  <c:v>31.8</c:v>
                </c:pt>
                <c:pt idx="352">
                  <c:v>32.9</c:v>
                </c:pt>
                <c:pt idx="355">
                  <c:v>30.5</c:v>
                </c:pt>
                <c:pt idx="357">
                  <c:v>30.8</c:v>
                </c:pt>
                <c:pt idx="359">
                  <c:v>28.6</c:v>
                </c:pt>
                <c:pt idx="361">
                  <c:v>30.5</c:v>
                </c:pt>
                <c:pt idx="362">
                  <c:v>29.6</c:v>
                </c:pt>
                <c:pt idx="364">
                  <c:v>29.2</c:v>
                </c:pt>
                <c:pt idx="367">
                  <c:v>25.1</c:v>
                </c:pt>
                <c:pt idx="368">
                  <c:v>20.8</c:v>
                </c:pt>
                <c:pt idx="369">
                  <c:v>29.4</c:v>
                </c:pt>
                <c:pt idx="371">
                  <c:v>28.2</c:v>
                </c:pt>
                <c:pt idx="372">
                  <c:v>30.5</c:v>
                </c:pt>
                <c:pt idx="373">
                  <c:v>29.6</c:v>
                </c:pt>
                <c:pt idx="374">
                  <c:v>18</c:v>
                </c:pt>
                <c:pt idx="375">
                  <c:v>16.5</c:v>
                </c:pt>
                <c:pt idx="376">
                  <c:v>28.7</c:v>
                </c:pt>
                <c:pt idx="378">
                  <c:v>19.899999999999999</c:v>
                </c:pt>
                <c:pt idx="379">
                  <c:v>31.3</c:v>
                </c:pt>
                <c:pt idx="381">
                  <c:v>30.1</c:v>
                </c:pt>
                <c:pt idx="383">
                  <c:v>29.4</c:v>
                </c:pt>
                <c:pt idx="384">
                  <c:v>26.35</c:v>
                </c:pt>
                <c:pt idx="385">
                  <c:v>22.2</c:v>
                </c:pt>
                <c:pt idx="386">
                  <c:v>22.45</c:v>
                </c:pt>
                <c:pt idx="387">
                  <c:v>28.7</c:v>
                </c:pt>
                <c:pt idx="389">
                  <c:v>35.130000000000003</c:v>
                </c:pt>
                <c:pt idx="390">
                  <c:v>27.7</c:v>
                </c:pt>
                <c:pt idx="392">
                  <c:v>30.1</c:v>
                </c:pt>
                <c:pt idx="393">
                  <c:v>39.299999999999997</c:v>
                </c:pt>
                <c:pt idx="396">
                  <c:v>29.6</c:v>
                </c:pt>
                <c:pt idx="398">
                  <c:v>28.4</c:v>
                </c:pt>
                <c:pt idx="399">
                  <c:v>29.6</c:v>
                </c:pt>
                <c:pt idx="401">
                  <c:v>28.7</c:v>
                </c:pt>
                <c:pt idx="403">
                  <c:v>28.1</c:v>
                </c:pt>
                <c:pt idx="406">
                  <c:v>28.3</c:v>
                </c:pt>
                <c:pt idx="408">
                  <c:v>29</c:v>
                </c:pt>
                <c:pt idx="410">
                  <c:v>28.7</c:v>
                </c:pt>
                <c:pt idx="412">
                  <c:v>28.3</c:v>
                </c:pt>
                <c:pt idx="414">
                  <c:v>27.8</c:v>
                </c:pt>
                <c:pt idx="416">
                  <c:v>34.299999999999997</c:v>
                </c:pt>
                <c:pt idx="417">
                  <c:v>33.1</c:v>
                </c:pt>
                <c:pt idx="418">
                  <c:v>33.4</c:v>
                </c:pt>
                <c:pt idx="420">
                  <c:v>33.6</c:v>
                </c:pt>
                <c:pt idx="421">
                  <c:v>33.700000000000003</c:v>
                </c:pt>
                <c:pt idx="422">
                  <c:v>33.5</c:v>
                </c:pt>
                <c:pt idx="423">
                  <c:v>33.700000000000003</c:v>
                </c:pt>
                <c:pt idx="425">
                  <c:v>33</c:v>
                </c:pt>
                <c:pt idx="427">
                  <c:v>33.6</c:v>
                </c:pt>
                <c:pt idx="428">
                  <c:v>33</c:v>
                </c:pt>
                <c:pt idx="429">
                  <c:v>33.6</c:v>
                </c:pt>
                <c:pt idx="430">
                  <c:v>32.1</c:v>
                </c:pt>
                <c:pt idx="431">
                  <c:v>32.1</c:v>
                </c:pt>
                <c:pt idx="432">
                  <c:v>32.5</c:v>
                </c:pt>
                <c:pt idx="433">
                  <c:v>32.6</c:v>
                </c:pt>
                <c:pt idx="435">
                  <c:v>32.700000000000003</c:v>
                </c:pt>
                <c:pt idx="436">
                  <c:v>32.700000000000003</c:v>
                </c:pt>
                <c:pt idx="437">
                  <c:v>33.299999999999997</c:v>
                </c:pt>
                <c:pt idx="438">
                  <c:v>32.200000000000003</c:v>
                </c:pt>
                <c:pt idx="439">
                  <c:v>33</c:v>
                </c:pt>
                <c:pt idx="440">
                  <c:v>32.700000000000003</c:v>
                </c:pt>
                <c:pt idx="441">
                  <c:v>32.799999999999997</c:v>
                </c:pt>
                <c:pt idx="442">
                  <c:v>32.700000000000003</c:v>
                </c:pt>
                <c:pt idx="443">
                  <c:v>33.4</c:v>
                </c:pt>
                <c:pt idx="444">
                  <c:v>32</c:v>
                </c:pt>
                <c:pt idx="446">
                  <c:v>32.700000000000003</c:v>
                </c:pt>
                <c:pt idx="447">
                  <c:v>32.700000000000003</c:v>
                </c:pt>
                <c:pt idx="448">
                  <c:v>33</c:v>
                </c:pt>
                <c:pt idx="449">
                  <c:v>32.4</c:v>
                </c:pt>
                <c:pt idx="450">
                  <c:v>32.200000000000003</c:v>
                </c:pt>
                <c:pt idx="452">
                  <c:v>32.1</c:v>
                </c:pt>
                <c:pt idx="453">
                  <c:v>33.1</c:v>
                </c:pt>
                <c:pt idx="456">
                  <c:v>31.9</c:v>
                </c:pt>
                <c:pt idx="457">
                  <c:v>32.299999999999997</c:v>
                </c:pt>
                <c:pt idx="458">
                  <c:v>31.8</c:v>
                </c:pt>
                <c:pt idx="459">
                  <c:v>31.3</c:v>
                </c:pt>
                <c:pt idx="460">
                  <c:v>32.299999999999997</c:v>
                </c:pt>
                <c:pt idx="462">
                  <c:v>32.4</c:v>
                </c:pt>
                <c:pt idx="463">
                  <c:v>31.7</c:v>
                </c:pt>
                <c:pt idx="464">
                  <c:v>31.9</c:v>
                </c:pt>
                <c:pt idx="465">
                  <c:v>31.4</c:v>
                </c:pt>
                <c:pt idx="466">
                  <c:v>31.2</c:v>
                </c:pt>
                <c:pt idx="467">
                  <c:v>31.6</c:v>
                </c:pt>
                <c:pt idx="469">
                  <c:v>31.2</c:v>
                </c:pt>
                <c:pt idx="470">
                  <c:v>31.6</c:v>
                </c:pt>
                <c:pt idx="471">
                  <c:v>32.299999999999997</c:v>
                </c:pt>
                <c:pt idx="472">
                  <c:v>30.4</c:v>
                </c:pt>
                <c:pt idx="473">
                  <c:v>30.6</c:v>
                </c:pt>
                <c:pt idx="475">
                  <c:v>31.2</c:v>
                </c:pt>
                <c:pt idx="476">
                  <c:v>31</c:v>
                </c:pt>
                <c:pt idx="477">
                  <c:v>30.6</c:v>
                </c:pt>
                <c:pt idx="478">
                  <c:v>34.1</c:v>
                </c:pt>
                <c:pt idx="480">
                  <c:v>24</c:v>
                </c:pt>
                <c:pt idx="481">
                  <c:v>37.6</c:v>
                </c:pt>
                <c:pt idx="482">
                  <c:v>31.2</c:v>
                </c:pt>
                <c:pt idx="483">
                  <c:v>45.5</c:v>
                </c:pt>
                <c:pt idx="484">
                  <c:v>38.200000000000003</c:v>
                </c:pt>
                <c:pt idx="486">
                  <c:v>32.1</c:v>
                </c:pt>
                <c:pt idx="487">
                  <c:v>36.799999999999997</c:v>
                </c:pt>
                <c:pt idx="488">
                  <c:v>41.8</c:v>
                </c:pt>
                <c:pt idx="489">
                  <c:v>40</c:v>
                </c:pt>
                <c:pt idx="490">
                  <c:v>42.3</c:v>
                </c:pt>
                <c:pt idx="491">
                  <c:v>47.5</c:v>
                </c:pt>
                <c:pt idx="494">
                  <c:v>40.85</c:v>
                </c:pt>
                <c:pt idx="495">
                  <c:v>38.6</c:v>
                </c:pt>
                <c:pt idx="496">
                  <c:v>37.4</c:v>
                </c:pt>
                <c:pt idx="498">
                  <c:v>37.6</c:v>
                </c:pt>
                <c:pt idx="499">
                  <c:v>36.700000000000003</c:v>
                </c:pt>
                <c:pt idx="500">
                  <c:v>37.1</c:v>
                </c:pt>
                <c:pt idx="501">
                  <c:v>38.799999999999997</c:v>
                </c:pt>
                <c:pt idx="502">
                  <c:v>37.799999999999997</c:v>
                </c:pt>
                <c:pt idx="503">
                  <c:v>37.5</c:v>
                </c:pt>
                <c:pt idx="504">
                  <c:v>37</c:v>
                </c:pt>
                <c:pt idx="506">
                  <c:v>36.9</c:v>
                </c:pt>
                <c:pt idx="507">
                  <c:v>37.700000000000003</c:v>
                </c:pt>
                <c:pt idx="509">
                  <c:v>35.4</c:v>
                </c:pt>
                <c:pt idx="510">
                  <c:v>35.700000000000003</c:v>
                </c:pt>
                <c:pt idx="511">
                  <c:v>37.200000000000003</c:v>
                </c:pt>
                <c:pt idx="512">
                  <c:v>33.299999999999997</c:v>
                </c:pt>
                <c:pt idx="513">
                  <c:v>52.65</c:v>
                </c:pt>
                <c:pt idx="514">
                  <c:v>38.35</c:v>
                </c:pt>
                <c:pt idx="515">
                  <c:v>34.700000000000003</c:v>
                </c:pt>
                <c:pt idx="516">
                  <c:v>35.200000000000003</c:v>
                </c:pt>
                <c:pt idx="518">
                  <c:v>33.9</c:v>
                </c:pt>
                <c:pt idx="519">
                  <c:v>36.1</c:v>
                </c:pt>
                <c:pt idx="520">
                  <c:v>34.9</c:v>
                </c:pt>
                <c:pt idx="521">
                  <c:v>34.65</c:v>
                </c:pt>
                <c:pt idx="523">
                  <c:v>37.299999999999997</c:v>
                </c:pt>
                <c:pt idx="524">
                  <c:v>34.200000000000003</c:v>
                </c:pt>
                <c:pt idx="525">
                  <c:v>32.6</c:v>
                </c:pt>
                <c:pt idx="526">
                  <c:v>31.6</c:v>
                </c:pt>
                <c:pt idx="528">
                  <c:v>34.6</c:v>
                </c:pt>
                <c:pt idx="529">
                  <c:v>37.4</c:v>
                </c:pt>
                <c:pt idx="530">
                  <c:v>42.6</c:v>
                </c:pt>
                <c:pt idx="532">
                  <c:v>44.7</c:v>
                </c:pt>
                <c:pt idx="533">
                  <c:v>41.2</c:v>
                </c:pt>
                <c:pt idx="534">
                  <c:v>40.299999999999997</c:v>
                </c:pt>
                <c:pt idx="535">
                  <c:v>43.4</c:v>
                </c:pt>
                <c:pt idx="536">
                  <c:v>41.4</c:v>
                </c:pt>
                <c:pt idx="537">
                  <c:v>40.9</c:v>
                </c:pt>
                <c:pt idx="539">
                  <c:v>40.200000000000003</c:v>
                </c:pt>
                <c:pt idx="540">
                  <c:v>38.9</c:v>
                </c:pt>
                <c:pt idx="541">
                  <c:v>39.700000000000003</c:v>
                </c:pt>
                <c:pt idx="542">
                  <c:v>39.799999999999997</c:v>
                </c:pt>
                <c:pt idx="543">
                  <c:v>39.799999999999997</c:v>
                </c:pt>
                <c:pt idx="545">
                  <c:v>38.700000000000003</c:v>
                </c:pt>
                <c:pt idx="546">
                  <c:v>38.1</c:v>
                </c:pt>
                <c:pt idx="547">
                  <c:v>41.4</c:v>
                </c:pt>
                <c:pt idx="548">
                  <c:v>39.799999999999997</c:v>
                </c:pt>
                <c:pt idx="549">
                  <c:v>0</c:v>
                </c:pt>
                <c:pt idx="550">
                  <c:v>39.9</c:v>
                </c:pt>
                <c:pt idx="551">
                  <c:v>43.5</c:v>
                </c:pt>
                <c:pt idx="552">
                  <c:v>42.3</c:v>
                </c:pt>
                <c:pt idx="553">
                  <c:v>37.5</c:v>
                </c:pt>
                <c:pt idx="554">
                  <c:v>37.700000000000003</c:v>
                </c:pt>
                <c:pt idx="555">
                  <c:v>46.7</c:v>
                </c:pt>
                <c:pt idx="556">
                  <c:v>45.1</c:v>
                </c:pt>
                <c:pt idx="557">
                  <c:v>45.1</c:v>
                </c:pt>
                <c:pt idx="559">
                  <c:v>41.3</c:v>
                </c:pt>
                <c:pt idx="561">
                  <c:v>43.5</c:v>
                </c:pt>
                <c:pt idx="562">
                  <c:v>41.5</c:v>
                </c:pt>
                <c:pt idx="563">
                  <c:v>36.549999999999997</c:v>
                </c:pt>
                <c:pt idx="564">
                  <c:v>41.2</c:v>
                </c:pt>
                <c:pt idx="565">
                  <c:v>39.5</c:v>
                </c:pt>
                <c:pt idx="566">
                  <c:v>51.1</c:v>
                </c:pt>
                <c:pt idx="567">
                  <c:v>43</c:v>
                </c:pt>
                <c:pt idx="568">
                  <c:v>43.6</c:v>
                </c:pt>
                <c:pt idx="570">
                  <c:v>39.299999999999997</c:v>
                </c:pt>
                <c:pt idx="571">
                  <c:v>47.8</c:v>
                </c:pt>
                <c:pt idx="572">
                  <c:v>44.2</c:v>
                </c:pt>
                <c:pt idx="573">
                  <c:v>46.5</c:v>
                </c:pt>
                <c:pt idx="574">
                  <c:v>43</c:v>
                </c:pt>
                <c:pt idx="575">
                  <c:v>42.4</c:v>
                </c:pt>
                <c:pt idx="576">
                  <c:v>45.3</c:v>
                </c:pt>
                <c:pt idx="577">
                  <c:v>41.1</c:v>
                </c:pt>
                <c:pt idx="578">
                  <c:v>55.6</c:v>
                </c:pt>
                <c:pt idx="579">
                  <c:v>51</c:v>
                </c:pt>
                <c:pt idx="580">
                  <c:v>50.1</c:v>
                </c:pt>
                <c:pt idx="582">
                  <c:v>49.2</c:v>
                </c:pt>
                <c:pt idx="583">
                  <c:v>50.6</c:v>
                </c:pt>
                <c:pt idx="584">
                  <c:v>49.2</c:v>
                </c:pt>
                <c:pt idx="585">
                  <c:v>50.6</c:v>
                </c:pt>
                <c:pt idx="586">
                  <c:v>50.1</c:v>
                </c:pt>
                <c:pt idx="587">
                  <c:v>48.2</c:v>
                </c:pt>
                <c:pt idx="588">
                  <c:v>49.4</c:v>
                </c:pt>
                <c:pt idx="589">
                  <c:v>45.9</c:v>
                </c:pt>
                <c:pt idx="590">
                  <c:v>32.799999999999997</c:v>
                </c:pt>
                <c:pt idx="591">
                  <c:v>42.8</c:v>
                </c:pt>
                <c:pt idx="592">
                  <c:v>44.7</c:v>
                </c:pt>
                <c:pt idx="593">
                  <c:v>38.049999999999997</c:v>
                </c:pt>
                <c:pt idx="594">
                  <c:v>33.229999999999997</c:v>
                </c:pt>
                <c:pt idx="595">
                  <c:v>46.77</c:v>
                </c:pt>
                <c:pt idx="596">
                  <c:v>42.9</c:v>
                </c:pt>
                <c:pt idx="597">
                  <c:v>47.5</c:v>
                </c:pt>
                <c:pt idx="598">
                  <c:v>51.3</c:v>
                </c:pt>
                <c:pt idx="599">
                  <c:v>45.1</c:v>
                </c:pt>
                <c:pt idx="600">
                  <c:v>48.1</c:v>
                </c:pt>
                <c:pt idx="601">
                  <c:v>3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B4-4B82-BB32-4ABA506B12EF}"/>
            </c:ext>
          </c:extLst>
        </c:ser>
        <c:ser>
          <c:idx val="3"/>
          <c:order val="3"/>
          <c:tx>
            <c:strRef>
              <c:f>Sheet1!$I$3</c:f>
              <c:strCache>
                <c:ptCount val="1"/>
                <c:pt idx="0">
                  <c:v>Qгаз ТМ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4"/>
            <c:spPr>
              <a:solidFill>
                <a:srgbClr val="FFC000"/>
              </a:solidFill>
              <a:ln w="3175">
                <a:solidFill>
                  <a:srgbClr val="000000"/>
                </a:solidFill>
              </a:ln>
            </c:spPr>
          </c:marker>
          <c:xVal>
            <c:numRef>
              <c:f>Sheet1!$A$65:$A$700</c:f>
              <c:numCache>
                <c:formatCode>General</c:formatCode>
                <c:ptCount val="63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</c:numCache>
            </c:numRef>
          </c:xVal>
          <c:yVal>
            <c:numRef>
              <c:f>Sheet1!$H$65:$H$700</c:f>
              <c:numCache>
                <c:formatCode>General</c:formatCode>
                <c:ptCount val="636"/>
                <c:pt idx="1">
                  <c:v>16.408000000000001</c:v>
                </c:pt>
                <c:pt idx="2">
                  <c:v>18.542000000000002</c:v>
                </c:pt>
                <c:pt idx="3">
                  <c:v>20.527000000000001</c:v>
                </c:pt>
                <c:pt idx="4">
                  <c:v>14.337999999999999</c:v>
                </c:pt>
                <c:pt idx="5">
                  <c:v>14.487</c:v>
                </c:pt>
                <c:pt idx="6">
                  <c:v>13.805</c:v>
                </c:pt>
                <c:pt idx="7">
                  <c:v>13.138999999999999</c:v>
                </c:pt>
                <c:pt idx="8">
                  <c:v>13.35</c:v>
                </c:pt>
                <c:pt idx="9">
                  <c:v>13.111000000000001</c:v>
                </c:pt>
                <c:pt idx="10">
                  <c:v>10.741</c:v>
                </c:pt>
                <c:pt idx="11">
                  <c:v>9.0470000000000006</c:v>
                </c:pt>
                <c:pt idx="12">
                  <c:v>10.336</c:v>
                </c:pt>
                <c:pt idx="13">
                  <c:v>12.494999999999999</c:v>
                </c:pt>
                <c:pt idx="14">
                  <c:v>11.115</c:v>
                </c:pt>
                <c:pt idx="15">
                  <c:v>12.141</c:v>
                </c:pt>
                <c:pt idx="16">
                  <c:v>12.582000000000001</c:v>
                </c:pt>
                <c:pt idx="17">
                  <c:v>12.581</c:v>
                </c:pt>
                <c:pt idx="18">
                  <c:v>12.625</c:v>
                </c:pt>
                <c:pt idx="19">
                  <c:v>11.433</c:v>
                </c:pt>
                <c:pt idx="20">
                  <c:v>12.324999999999999</c:v>
                </c:pt>
                <c:pt idx="21">
                  <c:v>12.319000000000001</c:v>
                </c:pt>
                <c:pt idx="22">
                  <c:v>11.746</c:v>
                </c:pt>
                <c:pt idx="23">
                  <c:v>11.536</c:v>
                </c:pt>
                <c:pt idx="24">
                  <c:v>12.111000000000001</c:v>
                </c:pt>
                <c:pt idx="25">
                  <c:v>11.018000000000001</c:v>
                </c:pt>
                <c:pt idx="26">
                  <c:v>10.395</c:v>
                </c:pt>
                <c:pt idx="27">
                  <c:v>9.0920000000000005</c:v>
                </c:pt>
                <c:pt idx="28">
                  <c:v>7.5650000000000004</c:v>
                </c:pt>
                <c:pt idx="29">
                  <c:v>9.1050000000000004</c:v>
                </c:pt>
                <c:pt idx="30">
                  <c:v>8.4139999999999997</c:v>
                </c:pt>
                <c:pt idx="31">
                  <c:v>10.257999999999999</c:v>
                </c:pt>
                <c:pt idx="32">
                  <c:v>7.226</c:v>
                </c:pt>
                <c:pt idx="33">
                  <c:v>8.3290000000000006</c:v>
                </c:pt>
                <c:pt idx="34">
                  <c:v>8.0909999999999993</c:v>
                </c:pt>
                <c:pt idx="35">
                  <c:v>9.3010000000000002</c:v>
                </c:pt>
                <c:pt idx="36">
                  <c:v>10.574</c:v>
                </c:pt>
                <c:pt idx="37">
                  <c:v>10.976000000000001</c:v>
                </c:pt>
                <c:pt idx="38">
                  <c:v>10.773999999999999</c:v>
                </c:pt>
                <c:pt idx="39">
                  <c:v>10.260999999999999</c:v>
                </c:pt>
                <c:pt idx="40">
                  <c:v>9.7710000000000008</c:v>
                </c:pt>
                <c:pt idx="41">
                  <c:v>9.6560000000000006</c:v>
                </c:pt>
                <c:pt idx="42">
                  <c:v>9.3140000000000001</c:v>
                </c:pt>
                <c:pt idx="43">
                  <c:v>8.7289999999999992</c:v>
                </c:pt>
                <c:pt idx="44">
                  <c:v>8.3490000000000002</c:v>
                </c:pt>
                <c:pt idx="45">
                  <c:v>8.0370000000000008</c:v>
                </c:pt>
                <c:pt idx="46">
                  <c:v>8.2330000000000005</c:v>
                </c:pt>
                <c:pt idx="47">
                  <c:v>8.3149999999999995</c:v>
                </c:pt>
                <c:pt idx="48">
                  <c:v>8.4930000000000003</c:v>
                </c:pt>
                <c:pt idx="49">
                  <c:v>7.3819999999999997</c:v>
                </c:pt>
                <c:pt idx="50">
                  <c:v>7.8479999999999999</c:v>
                </c:pt>
                <c:pt idx="51">
                  <c:v>7.4169999999999998</c:v>
                </c:pt>
                <c:pt idx="52">
                  <c:v>6.1289999999999996</c:v>
                </c:pt>
                <c:pt idx="53">
                  <c:v>7.3339999999999996</c:v>
                </c:pt>
                <c:pt idx="54">
                  <c:v>7.1310000000000002</c:v>
                </c:pt>
                <c:pt idx="55">
                  <c:v>7.2119999999999997</c:v>
                </c:pt>
                <c:pt idx="56">
                  <c:v>7.5880000000000001</c:v>
                </c:pt>
                <c:pt idx="57">
                  <c:v>6.2779999999999996</c:v>
                </c:pt>
                <c:pt idx="58">
                  <c:v>7.2050000000000001</c:v>
                </c:pt>
                <c:pt idx="59">
                  <c:v>5.3159999999999998</c:v>
                </c:pt>
                <c:pt idx="60">
                  <c:v>7.3319999999999999</c:v>
                </c:pt>
                <c:pt idx="61">
                  <c:v>7.6920000000000002</c:v>
                </c:pt>
                <c:pt idx="62">
                  <c:v>7.4980000000000002</c:v>
                </c:pt>
                <c:pt idx="63">
                  <c:v>7.141</c:v>
                </c:pt>
                <c:pt idx="64">
                  <c:v>7.3550000000000004</c:v>
                </c:pt>
                <c:pt idx="65">
                  <c:v>6.6630000000000003</c:v>
                </c:pt>
                <c:pt idx="66">
                  <c:v>6.6630000000000003</c:v>
                </c:pt>
                <c:pt idx="67">
                  <c:v>7.3419999999999996</c:v>
                </c:pt>
                <c:pt idx="68">
                  <c:v>7.3419999999999996</c:v>
                </c:pt>
                <c:pt idx="69">
                  <c:v>7.298</c:v>
                </c:pt>
                <c:pt idx="70">
                  <c:v>6.9619999999999997</c:v>
                </c:pt>
                <c:pt idx="71">
                  <c:v>7.2439999999999998</c:v>
                </c:pt>
                <c:pt idx="72">
                  <c:v>6.9980000000000002</c:v>
                </c:pt>
                <c:pt idx="73">
                  <c:v>6.1230000000000002</c:v>
                </c:pt>
                <c:pt idx="74">
                  <c:v>7.29</c:v>
                </c:pt>
                <c:pt idx="75">
                  <c:v>6.4329999999999998</c:v>
                </c:pt>
                <c:pt idx="76">
                  <c:v>7.0090000000000003</c:v>
                </c:pt>
                <c:pt idx="77">
                  <c:v>2.0790000000000002</c:v>
                </c:pt>
                <c:pt idx="78">
                  <c:v>2.0790000000000002</c:v>
                </c:pt>
                <c:pt idx="79">
                  <c:v>2.0790000000000002</c:v>
                </c:pt>
                <c:pt idx="80">
                  <c:v>2.0790000000000002</c:v>
                </c:pt>
                <c:pt idx="81">
                  <c:v>2.0790000000000002</c:v>
                </c:pt>
                <c:pt idx="82">
                  <c:v>10.145</c:v>
                </c:pt>
                <c:pt idx="83">
                  <c:v>12.244999999999999</c:v>
                </c:pt>
                <c:pt idx="84">
                  <c:v>10.704000000000001</c:v>
                </c:pt>
                <c:pt idx="85">
                  <c:v>11.411</c:v>
                </c:pt>
                <c:pt idx="86">
                  <c:v>2.3929999999999998</c:v>
                </c:pt>
                <c:pt idx="87">
                  <c:v>7.7469999999999999</c:v>
                </c:pt>
                <c:pt idx="88">
                  <c:v>8.0519999999999996</c:v>
                </c:pt>
                <c:pt idx="89">
                  <c:v>8.2449999999999992</c:v>
                </c:pt>
                <c:pt idx="90">
                  <c:v>3.8260000000000001</c:v>
                </c:pt>
                <c:pt idx="91">
                  <c:v>5.9770000000000003</c:v>
                </c:pt>
                <c:pt idx="92">
                  <c:v>3.3180000000000001</c:v>
                </c:pt>
                <c:pt idx="93">
                  <c:v>7.4950000000000001</c:v>
                </c:pt>
                <c:pt idx="94">
                  <c:v>6.2679999999999998</c:v>
                </c:pt>
                <c:pt idx="95">
                  <c:v>6.7910000000000004</c:v>
                </c:pt>
                <c:pt idx="96">
                  <c:v>7.1120000000000001</c:v>
                </c:pt>
                <c:pt idx="97">
                  <c:v>4.04</c:v>
                </c:pt>
                <c:pt idx="98">
                  <c:v>1.5940000000000001</c:v>
                </c:pt>
                <c:pt idx="99">
                  <c:v>3.532</c:v>
                </c:pt>
                <c:pt idx="100">
                  <c:v>6.27</c:v>
                </c:pt>
                <c:pt idx="101">
                  <c:v>7.1740000000000004</c:v>
                </c:pt>
                <c:pt idx="102">
                  <c:v>7.3579999999999997</c:v>
                </c:pt>
                <c:pt idx="103">
                  <c:v>8.3550000000000004</c:v>
                </c:pt>
                <c:pt idx="104">
                  <c:v>3.6949999999999998</c:v>
                </c:pt>
                <c:pt idx="105">
                  <c:v>4.056</c:v>
                </c:pt>
                <c:pt idx="106">
                  <c:v>3.6459999999999999</c:v>
                </c:pt>
                <c:pt idx="107">
                  <c:v>7.4660000000000002</c:v>
                </c:pt>
                <c:pt idx="108">
                  <c:v>6.7240000000000002</c:v>
                </c:pt>
                <c:pt idx="109">
                  <c:v>7.4370000000000003</c:v>
                </c:pt>
                <c:pt idx="110">
                  <c:v>7.2169999999999996</c:v>
                </c:pt>
                <c:pt idx="111">
                  <c:v>5.6740000000000004</c:v>
                </c:pt>
                <c:pt idx="112">
                  <c:v>5.7859999999999996</c:v>
                </c:pt>
                <c:pt idx="113">
                  <c:v>5.3419999999999996</c:v>
                </c:pt>
                <c:pt idx="114">
                  <c:v>6.0819999999999999</c:v>
                </c:pt>
                <c:pt idx="115">
                  <c:v>6.8419999999999996</c:v>
                </c:pt>
                <c:pt idx="116">
                  <c:v>6.4980000000000002</c:v>
                </c:pt>
                <c:pt idx="117">
                  <c:v>6.702</c:v>
                </c:pt>
                <c:pt idx="118">
                  <c:v>6.5590000000000002</c:v>
                </c:pt>
                <c:pt idx="119">
                  <c:v>4.2670000000000003</c:v>
                </c:pt>
                <c:pt idx="120">
                  <c:v>5.8330000000000002</c:v>
                </c:pt>
                <c:pt idx="121">
                  <c:v>5.1959999999999997</c:v>
                </c:pt>
                <c:pt idx="122">
                  <c:v>6.17</c:v>
                </c:pt>
                <c:pt idx="123">
                  <c:v>7.2960000000000003</c:v>
                </c:pt>
                <c:pt idx="124">
                  <c:v>7.3339999999999996</c:v>
                </c:pt>
                <c:pt idx="125">
                  <c:v>7.3339999999999996</c:v>
                </c:pt>
                <c:pt idx="126">
                  <c:v>7.3339999999999996</c:v>
                </c:pt>
                <c:pt idx="127">
                  <c:v>7.81</c:v>
                </c:pt>
                <c:pt idx="128">
                  <c:v>7.81</c:v>
                </c:pt>
                <c:pt idx="129">
                  <c:v>5.4720000000000004</c:v>
                </c:pt>
                <c:pt idx="130">
                  <c:v>5.109</c:v>
                </c:pt>
                <c:pt idx="131">
                  <c:v>4.0979999999999999</c:v>
                </c:pt>
                <c:pt idx="132">
                  <c:v>5.907</c:v>
                </c:pt>
                <c:pt idx="133">
                  <c:v>4.7640000000000002</c:v>
                </c:pt>
                <c:pt idx="134">
                  <c:v>6.7220000000000004</c:v>
                </c:pt>
                <c:pt idx="135">
                  <c:v>5.2450000000000001</c:v>
                </c:pt>
                <c:pt idx="136">
                  <c:v>3.597</c:v>
                </c:pt>
                <c:pt idx="137">
                  <c:v>4.702</c:v>
                </c:pt>
                <c:pt idx="138">
                  <c:v>2.4009999999999998</c:v>
                </c:pt>
                <c:pt idx="139">
                  <c:v>5.3970000000000002</c:v>
                </c:pt>
                <c:pt idx="140">
                  <c:v>6.47</c:v>
                </c:pt>
                <c:pt idx="141">
                  <c:v>6.47</c:v>
                </c:pt>
                <c:pt idx="142">
                  <c:v>2.1669999999999998</c:v>
                </c:pt>
                <c:pt idx="143">
                  <c:v>2.1669999999999998</c:v>
                </c:pt>
                <c:pt idx="144">
                  <c:v>6.5250000000000004</c:v>
                </c:pt>
                <c:pt idx="145">
                  <c:v>6.5250000000000004</c:v>
                </c:pt>
                <c:pt idx="146">
                  <c:v>6.4450000000000003</c:v>
                </c:pt>
                <c:pt idx="147">
                  <c:v>6.569</c:v>
                </c:pt>
                <c:pt idx="148">
                  <c:v>6.3070000000000004</c:v>
                </c:pt>
                <c:pt idx="149">
                  <c:v>6.3529999999999998</c:v>
                </c:pt>
                <c:pt idx="150">
                  <c:v>6.4610000000000003</c:v>
                </c:pt>
                <c:pt idx="151">
                  <c:v>6.3129999999999997</c:v>
                </c:pt>
                <c:pt idx="152">
                  <c:v>6.4290000000000003</c:v>
                </c:pt>
                <c:pt idx="153">
                  <c:v>6.4290000000000003</c:v>
                </c:pt>
                <c:pt idx="154">
                  <c:v>6.4290000000000003</c:v>
                </c:pt>
                <c:pt idx="155">
                  <c:v>6.4290000000000003</c:v>
                </c:pt>
                <c:pt idx="156">
                  <c:v>6.4290000000000003</c:v>
                </c:pt>
                <c:pt idx="157">
                  <c:v>6.4290000000000003</c:v>
                </c:pt>
                <c:pt idx="158">
                  <c:v>6.4290000000000003</c:v>
                </c:pt>
                <c:pt idx="159">
                  <c:v>6.5170000000000003</c:v>
                </c:pt>
                <c:pt idx="160">
                  <c:v>6.5289999999999999</c:v>
                </c:pt>
                <c:pt idx="161">
                  <c:v>6.2859999999999996</c:v>
                </c:pt>
                <c:pt idx="162">
                  <c:v>6.2530000000000001</c:v>
                </c:pt>
                <c:pt idx="163">
                  <c:v>6.2949999999999999</c:v>
                </c:pt>
                <c:pt idx="164">
                  <c:v>6.2450000000000001</c:v>
                </c:pt>
                <c:pt idx="165">
                  <c:v>6.1589999999999998</c:v>
                </c:pt>
                <c:pt idx="166">
                  <c:v>6.3120000000000003</c:v>
                </c:pt>
                <c:pt idx="167">
                  <c:v>6.1609999999999996</c:v>
                </c:pt>
                <c:pt idx="168">
                  <c:v>6.1609999999999996</c:v>
                </c:pt>
                <c:pt idx="169">
                  <c:v>6.0819999999999999</c:v>
                </c:pt>
                <c:pt idx="170">
                  <c:v>6.2210000000000001</c:v>
                </c:pt>
                <c:pt idx="171">
                  <c:v>5.8710000000000004</c:v>
                </c:pt>
                <c:pt idx="172">
                  <c:v>5.8739999999999997</c:v>
                </c:pt>
                <c:pt idx="173">
                  <c:v>6.1219999999999999</c:v>
                </c:pt>
                <c:pt idx="174">
                  <c:v>6.0309999999999997</c:v>
                </c:pt>
                <c:pt idx="175">
                  <c:v>6.0309999999999997</c:v>
                </c:pt>
                <c:pt idx="176">
                  <c:v>6.0869999999999997</c:v>
                </c:pt>
                <c:pt idx="177">
                  <c:v>6.101</c:v>
                </c:pt>
                <c:pt idx="178">
                  <c:v>5.9290000000000003</c:v>
                </c:pt>
                <c:pt idx="179">
                  <c:v>5.7690000000000001</c:v>
                </c:pt>
                <c:pt idx="180">
                  <c:v>5.8440000000000003</c:v>
                </c:pt>
                <c:pt idx="181">
                  <c:v>5.8529999999999998</c:v>
                </c:pt>
                <c:pt idx="182">
                  <c:v>5.806</c:v>
                </c:pt>
                <c:pt idx="183">
                  <c:v>5.7729999999999997</c:v>
                </c:pt>
                <c:pt idx="184">
                  <c:v>5.82</c:v>
                </c:pt>
                <c:pt idx="185">
                  <c:v>5.6710000000000003</c:v>
                </c:pt>
                <c:pt idx="186">
                  <c:v>5.8410000000000002</c:v>
                </c:pt>
                <c:pt idx="187">
                  <c:v>5.8419999999999996</c:v>
                </c:pt>
                <c:pt idx="188">
                  <c:v>5.9169999999999998</c:v>
                </c:pt>
                <c:pt idx="189">
                  <c:v>5.8230000000000004</c:v>
                </c:pt>
                <c:pt idx="190">
                  <c:v>5.7789999999999999</c:v>
                </c:pt>
                <c:pt idx="191">
                  <c:v>5.37</c:v>
                </c:pt>
                <c:pt idx="192">
                  <c:v>5.5810000000000004</c:v>
                </c:pt>
                <c:pt idx="193">
                  <c:v>5.6269999999999998</c:v>
                </c:pt>
                <c:pt idx="194">
                  <c:v>5.2619999999999996</c:v>
                </c:pt>
                <c:pt idx="195">
                  <c:v>5.6180000000000003</c:v>
                </c:pt>
                <c:pt idx="196">
                  <c:v>5.4630000000000001</c:v>
                </c:pt>
                <c:pt idx="197">
                  <c:v>5.7560000000000002</c:v>
                </c:pt>
                <c:pt idx="198">
                  <c:v>5.7560000000000002</c:v>
                </c:pt>
                <c:pt idx="199">
                  <c:v>6.2610000000000001</c:v>
                </c:pt>
                <c:pt idx="200">
                  <c:v>6.41</c:v>
                </c:pt>
                <c:pt idx="201">
                  <c:v>5.524</c:v>
                </c:pt>
                <c:pt idx="202">
                  <c:v>5.5259999999999998</c:v>
                </c:pt>
                <c:pt idx="203">
                  <c:v>5.5259999999999998</c:v>
                </c:pt>
                <c:pt idx="204">
                  <c:v>5.6440000000000001</c:v>
                </c:pt>
                <c:pt idx="205">
                  <c:v>5.6280000000000001</c:v>
                </c:pt>
                <c:pt idx="206">
                  <c:v>5.6280000000000001</c:v>
                </c:pt>
                <c:pt idx="207">
                  <c:v>5.4880000000000004</c:v>
                </c:pt>
                <c:pt idx="208">
                  <c:v>5.4880000000000004</c:v>
                </c:pt>
                <c:pt idx="209">
                  <c:v>5.4279999999999999</c:v>
                </c:pt>
                <c:pt idx="210">
                  <c:v>5.2779999999999996</c:v>
                </c:pt>
                <c:pt idx="211">
                  <c:v>5.2779999999999996</c:v>
                </c:pt>
                <c:pt idx="212">
                  <c:v>5.1980000000000004</c:v>
                </c:pt>
                <c:pt idx="213">
                  <c:v>5.2350000000000003</c:v>
                </c:pt>
                <c:pt idx="214">
                  <c:v>5.1219999999999999</c:v>
                </c:pt>
                <c:pt idx="215">
                  <c:v>5.1219999999999999</c:v>
                </c:pt>
                <c:pt idx="216">
                  <c:v>5.1219999999999999</c:v>
                </c:pt>
                <c:pt idx="217">
                  <c:v>6.0730000000000004</c:v>
                </c:pt>
                <c:pt idx="218">
                  <c:v>6.0730000000000004</c:v>
                </c:pt>
                <c:pt idx="219">
                  <c:v>5.2249999999999996</c:v>
                </c:pt>
                <c:pt idx="220">
                  <c:v>4.8319999999999999</c:v>
                </c:pt>
                <c:pt idx="221">
                  <c:v>4.7309999999999999</c:v>
                </c:pt>
                <c:pt idx="222">
                  <c:v>4.7309999999999999</c:v>
                </c:pt>
                <c:pt idx="223">
                  <c:v>4.6890000000000001</c:v>
                </c:pt>
                <c:pt idx="224">
                  <c:v>4.726</c:v>
                </c:pt>
                <c:pt idx="225">
                  <c:v>1.998</c:v>
                </c:pt>
                <c:pt idx="226">
                  <c:v>5.4950000000000001</c:v>
                </c:pt>
                <c:pt idx="227">
                  <c:v>5.4950000000000001</c:v>
                </c:pt>
                <c:pt idx="228">
                  <c:v>4.7350000000000003</c:v>
                </c:pt>
                <c:pt idx="229">
                  <c:v>3.2639999999999998</c:v>
                </c:pt>
                <c:pt idx="230">
                  <c:v>4.7519999999999998</c:v>
                </c:pt>
                <c:pt idx="231">
                  <c:v>4.7809999999999997</c:v>
                </c:pt>
                <c:pt idx="232">
                  <c:v>4.7009999999999996</c:v>
                </c:pt>
                <c:pt idx="233">
                  <c:v>4.5410000000000004</c:v>
                </c:pt>
                <c:pt idx="234">
                  <c:v>4.5410000000000004</c:v>
                </c:pt>
                <c:pt idx="235">
                  <c:v>4.5410000000000004</c:v>
                </c:pt>
                <c:pt idx="236">
                  <c:v>4.4960000000000004</c:v>
                </c:pt>
                <c:pt idx="237">
                  <c:v>4.4450000000000003</c:v>
                </c:pt>
                <c:pt idx="238">
                  <c:v>4.5910000000000002</c:v>
                </c:pt>
                <c:pt idx="239">
                  <c:v>4.5910000000000002</c:v>
                </c:pt>
                <c:pt idx="240">
                  <c:v>4.5170000000000003</c:v>
                </c:pt>
                <c:pt idx="241">
                  <c:v>4.5149999999999997</c:v>
                </c:pt>
                <c:pt idx="242">
                  <c:v>4.6639999999999997</c:v>
                </c:pt>
                <c:pt idx="243">
                  <c:v>4.6639999999999997</c:v>
                </c:pt>
                <c:pt idx="244">
                  <c:v>4.5570000000000004</c:v>
                </c:pt>
                <c:pt idx="245">
                  <c:v>4.5570000000000004</c:v>
                </c:pt>
                <c:pt idx="246">
                  <c:v>4.5570000000000004</c:v>
                </c:pt>
                <c:pt idx="247">
                  <c:v>4.4340000000000002</c:v>
                </c:pt>
                <c:pt idx="248">
                  <c:v>4.3479999999999999</c:v>
                </c:pt>
                <c:pt idx="249">
                  <c:v>4.516</c:v>
                </c:pt>
                <c:pt idx="250">
                  <c:v>4.3390000000000004</c:v>
                </c:pt>
                <c:pt idx="251">
                  <c:v>4.2830000000000004</c:v>
                </c:pt>
                <c:pt idx="252">
                  <c:v>4.3529999999999998</c:v>
                </c:pt>
                <c:pt idx="253">
                  <c:v>4.4000000000000004</c:v>
                </c:pt>
                <c:pt idx="254">
                  <c:v>4.4009999999999998</c:v>
                </c:pt>
                <c:pt idx="255">
                  <c:v>4.4009999999999998</c:v>
                </c:pt>
                <c:pt idx="256">
                  <c:v>4.33</c:v>
                </c:pt>
                <c:pt idx="257">
                  <c:v>4.3390000000000004</c:v>
                </c:pt>
                <c:pt idx="258">
                  <c:v>4.2060000000000004</c:v>
                </c:pt>
                <c:pt idx="259">
                  <c:v>4.1680000000000001</c:v>
                </c:pt>
                <c:pt idx="260">
                  <c:v>4.1420000000000003</c:v>
                </c:pt>
                <c:pt idx="261">
                  <c:v>4.1420000000000003</c:v>
                </c:pt>
                <c:pt idx="262">
                  <c:v>4.1420000000000003</c:v>
                </c:pt>
                <c:pt idx="263">
                  <c:v>4.0860000000000003</c:v>
                </c:pt>
                <c:pt idx="264">
                  <c:v>4.0540000000000003</c:v>
                </c:pt>
                <c:pt idx="265">
                  <c:v>4.0540000000000003</c:v>
                </c:pt>
                <c:pt idx="266">
                  <c:v>3.9790000000000001</c:v>
                </c:pt>
                <c:pt idx="267">
                  <c:v>4.12</c:v>
                </c:pt>
                <c:pt idx="268">
                  <c:v>4.12</c:v>
                </c:pt>
                <c:pt idx="269">
                  <c:v>4.12</c:v>
                </c:pt>
                <c:pt idx="270">
                  <c:v>4.12</c:v>
                </c:pt>
                <c:pt idx="271">
                  <c:v>4.12</c:v>
                </c:pt>
                <c:pt idx="272">
                  <c:v>4.12</c:v>
                </c:pt>
                <c:pt idx="273">
                  <c:v>4.12</c:v>
                </c:pt>
                <c:pt idx="274">
                  <c:v>1.853</c:v>
                </c:pt>
                <c:pt idx="275">
                  <c:v>2.0819999999999999</c:v>
                </c:pt>
                <c:pt idx="276">
                  <c:v>1.1819999999999999</c:v>
                </c:pt>
                <c:pt idx="282">
                  <c:v>0.45500000000000002</c:v>
                </c:pt>
                <c:pt idx="283">
                  <c:v>9.91</c:v>
                </c:pt>
                <c:pt idx="284">
                  <c:v>4.9059999999999997</c:v>
                </c:pt>
                <c:pt idx="285">
                  <c:v>5.2380000000000004</c:v>
                </c:pt>
                <c:pt idx="286">
                  <c:v>5.0490000000000004</c:v>
                </c:pt>
                <c:pt idx="288">
                  <c:v>5.5759999999999996</c:v>
                </c:pt>
                <c:pt idx="289">
                  <c:v>5.2539999999999996</c:v>
                </c:pt>
                <c:pt idx="290">
                  <c:v>5.0410000000000004</c:v>
                </c:pt>
                <c:pt idx="291">
                  <c:v>4.92</c:v>
                </c:pt>
                <c:pt idx="292">
                  <c:v>4.8109999999999999</c:v>
                </c:pt>
                <c:pt idx="293">
                  <c:v>4.6020000000000003</c:v>
                </c:pt>
                <c:pt idx="294">
                  <c:v>4.484</c:v>
                </c:pt>
                <c:pt idx="295">
                  <c:v>4.3639999999999999</c:v>
                </c:pt>
                <c:pt idx="296">
                  <c:v>4.3079999999999998</c:v>
                </c:pt>
                <c:pt idx="298">
                  <c:v>4.4390000000000001</c:v>
                </c:pt>
                <c:pt idx="299">
                  <c:v>4.43</c:v>
                </c:pt>
                <c:pt idx="300">
                  <c:v>4.3789999999999996</c:v>
                </c:pt>
                <c:pt idx="301">
                  <c:v>4.3460000000000001</c:v>
                </c:pt>
                <c:pt idx="302">
                  <c:v>4.3890000000000002</c:v>
                </c:pt>
                <c:pt idx="303">
                  <c:v>4.3860000000000001</c:v>
                </c:pt>
                <c:pt idx="304">
                  <c:v>4.4139999999999997</c:v>
                </c:pt>
                <c:pt idx="305">
                  <c:v>4.5010000000000003</c:v>
                </c:pt>
                <c:pt idx="310">
                  <c:v>4.5019999999999998</c:v>
                </c:pt>
                <c:pt idx="312">
                  <c:v>4.508</c:v>
                </c:pt>
                <c:pt idx="314">
                  <c:v>4.5960000000000001</c:v>
                </c:pt>
                <c:pt idx="316">
                  <c:v>4.6840000000000002</c:v>
                </c:pt>
                <c:pt idx="317">
                  <c:v>4.5789999999999997</c:v>
                </c:pt>
                <c:pt idx="319">
                  <c:v>4.3710000000000004</c:v>
                </c:pt>
                <c:pt idx="320">
                  <c:v>4.7229999999999999</c:v>
                </c:pt>
                <c:pt idx="321">
                  <c:v>4.5739999999999998</c:v>
                </c:pt>
                <c:pt idx="322">
                  <c:v>4.6100000000000003</c:v>
                </c:pt>
                <c:pt idx="324">
                  <c:v>4.6539999999999999</c:v>
                </c:pt>
                <c:pt idx="325">
                  <c:v>4.6340000000000003</c:v>
                </c:pt>
                <c:pt idx="327">
                  <c:v>4.6280000000000001</c:v>
                </c:pt>
                <c:pt idx="328">
                  <c:v>4.6369999999999996</c:v>
                </c:pt>
                <c:pt idx="330">
                  <c:v>4.7380000000000004</c:v>
                </c:pt>
                <c:pt idx="331">
                  <c:v>4.774</c:v>
                </c:pt>
                <c:pt idx="333">
                  <c:v>4.6680000000000001</c:v>
                </c:pt>
                <c:pt idx="334">
                  <c:v>4.6520000000000001</c:v>
                </c:pt>
                <c:pt idx="336">
                  <c:v>4.6219999999999999</c:v>
                </c:pt>
                <c:pt idx="337">
                  <c:v>4.5250000000000004</c:v>
                </c:pt>
                <c:pt idx="339">
                  <c:v>4.7889999999999997</c:v>
                </c:pt>
                <c:pt idx="340">
                  <c:v>4.7960000000000003</c:v>
                </c:pt>
                <c:pt idx="342">
                  <c:v>4.6749999999999998</c:v>
                </c:pt>
                <c:pt idx="344">
                  <c:v>4.5049999999999999</c:v>
                </c:pt>
                <c:pt idx="346">
                  <c:v>4.5670000000000002</c:v>
                </c:pt>
                <c:pt idx="348">
                  <c:v>4.4550000000000001</c:v>
                </c:pt>
                <c:pt idx="350">
                  <c:v>4.8609999999999998</c:v>
                </c:pt>
                <c:pt idx="352">
                  <c:v>4.88</c:v>
                </c:pt>
                <c:pt idx="355">
                  <c:v>4.68</c:v>
                </c:pt>
                <c:pt idx="357">
                  <c:v>4.5970000000000004</c:v>
                </c:pt>
                <c:pt idx="359">
                  <c:v>4.7060000000000004</c:v>
                </c:pt>
                <c:pt idx="361">
                  <c:v>4.359</c:v>
                </c:pt>
                <c:pt idx="362">
                  <c:v>4.726</c:v>
                </c:pt>
                <c:pt idx="364">
                  <c:v>4.6959999999999997</c:v>
                </c:pt>
                <c:pt idx="367">
                  <c:v>4.3570000000000002</c:v>
                </c:pt>
                <c:pt idx="368">
                  <c:v>4.0579999999999998</c:v>
                </c:pt>
                <c:pt idx="369">
                  <c:v>3.859</c:v>
                </c:pt>
                <c:pt idx="371">
                  <c:v>4.7229999999999999</c:v>
                </c:pt>
                <c:pt idx="372">
                  <c:v>4.57</c:v>
                </c:pt>
                <c:pt idx="373">
                  <c:v>4.6189999999999998</c:v>
                </c:pt>
                <c:pt idx="374">
                  <c:v>3.78</c:v>
                </c:pt>
                <c:pt idx="375">
                  <c:v>3.6379999999999999</c:v>
                </c:pt>
                <c:pt idx="376">
                  <c:v>4.5359999999999996</c:v>
                </c:pt>
                <c:pt idx="378">
                  <c:v>4.0659999999999998</c:v>
                </c:pt>
                <c:pt idx="379">
                  <c:v>4.4939999999999998</c:v>
                </c:pt>
                <c:pt idx="381">
                  <c:v>4.6989999999999998</c:v>
                </c:pt>
                <c:pt idx="383">
                  <c:v>4.7770000000000001</c:v>
                </c:pt>
                <c:pt idx="384">
                  <c:v>4.2519999999999998</c:v>
                </c:pt>
                <c:pt idx="385">
                  <c:v>3.8959999999999999</c:v>
                </c:pt>
                <c:pt idx="386">
                  <c:v>3.9319999999999999</c:v>
                </c:pt>
                <c:pt idx="387">
                  <c:v>4.2889999999999997</c:v>
                </c:pt>
                <c:pt idx="389">
                  <c:v>4.2220000000000004</c:v>
                </c:pt>
                <c:pt idx="390">
                  <c:v>4.3209999999999997</c:v>
                </c:pt>
                <c:pt idx="392">
                  <c:v>4.2770000000000001</c:v>
                </c:pt>
                <c:pt idx="393">
                  <c:v>4.5869999999999997</c:v>
                </c:pt>
                <c:pt idx="396">
                  <c:v>3.613</c:v>
                </c:pt>
                <c:pt idx="398">
                  <c:v>3.423</c:v>
                </c:pt>
                <c:pt idx="399">
                  <c:v>3.7450000000000001</c:v>
                </c:pt>
                <c:pt idx="401">
                  <c:v>3.52</c:v>
                </c:pt>
                <c:pt idx="403">
                  <c:v>3.5390000000000001</c:v>
                </c:pt>
                <c:pt idx="406">
                  <c:v>2.9910000000000001</c:v>
                </c:pt>
                <c:pt idx="408">
                  <c:v>3.0190000000000001</c:v>
                </c:pt>
                <c:pt idx="410">
                  <c:v>2.9129999999999998</c:v>
                </c:pt>
                <c:pt idx="412">
                  <c:v>2.883</c:v>
                </c:pt>
                <c:pt idx="414">
                  <c:v>2.625</c:v>
                </c:pt>
                <c:pt idx="416">
                  <c:v>3.9209999999999998</c:v>
                </c:pt>
                <c:pt idx="417">
                  <c:v>3.6619999999999999</c:v>
                </c:pt>
                <c:pt idx="418">
                  <c:v>3.794</c:v>
                </c:pt>
                <c:pt idx="420">
                  <c:v>3.6179999999999999</c:v>
                </c:pt>
                <c:pt idx="421">
                  <c:v>3.3149999999999999</c:v>
                </c:pt>
                <c:pt idx="422">
                  <c:v>3.5670000000000002</c:v>
                </c:pt>
                <c:pt idx="423">
                  <c:v>3.3860000000000001</c:v>
                </c:pt>
                <c:pt idx="425">
                  <c:v>3.75</c:v>
                </c:pt>
                <c:pt idx="427">
                  <c:v>3.2240000000000002</c:v>
                </c:pt>
                <c:pt idx="428">
                  <c:v>3.3079999999999998</c:v>
                </c:pt>
                <c:pt idx="429">
                  <c:v>3.3820000000000001</c:v>
                </c:pt>
                <c:pt idx="430">
                  <c:v>3.5569999999999999</c:v>
                </c:pt>
                <c:pt idx="431">
                  <c:v>3.246</c:v>
                </c:pt>
                <c:pt idx="432">
                  <c:v>2.2959999999999998</c:v>
                </c:pt>
                <c:pt idx="433">
                  <c:v>3.3180000000000001</c:v>
                </c:pt>
                <c:pt idx="435">
                  <c:v>3.141</c:v>
                </c:pt>
                <c:pt idx="436">
                  <c:v>3.137</c:v>
                </c:pt>
                <c:pt idx="437">
                  <c:v>3.09</c:v>
                </c:pt>
                <c:pt idx="438">
                  <c:v>2.9590000000000001</c:v>
                </c:pt>
                <c:pt idx="439">
                  <c:v>2.9929999999999999</c:v>
                </c:pt>
                <c:pt idx="440">
                  <c:v>2.9550000000000001</c:v>
                </c:pt>
                <c:pt idx="441">
                  <c:v>2.996</c:v>
                </c:pt>
                <c:pt idx="442">
                  <c:v>3.0680000000000001</c:v>
                </c:pt>
                <c:pt idx="443">
                  <c:v>3.0680000000000001</c:v>
                </c:pt>
                <c:pt idx="444">
                  <c:v>3.339</c:v>
                </c:pt>
                <c:pt idx="446">
                  <c:v>3.0990000000000002</c:v>
                </c:pt>
                <c:pt idx="447">
                  <c:v>3.04</c:v>
                </c:pt>
                <c:pt idx="448">
                  <c:v>3.2189999999999999</c:v>
                </c:pt>
                <c:pt idx="449">
                  <c:v>2.9449999999999998</c:v>
                </c:pt>
                <c:pt idx="450">
                  <c:v>2.83</c:v>
                </c:pt>
                <c:pt idx="452">
                  <c:v>3.3319999999999999</c:v>
                </c:pt>
                <c:pt idx="453">
                  <c:v>2.9790000000000001</c:v>
                </c:pt>
                <c:pt idx="456">
                  <c:v>2.8839999999999999</c:v>
                </c:pt>
                <c:pt idx="457">
                  <c:v>2.8519999999999999</c:v>
                </c:pt>
                <c:pt idx="458">
                  <c:v>2.9420000000000002</c:v>
                </c:pt>
                <c:pt idx="459">
                  <c:v>2.9540000000000002</c:v>
                </c:pt>
                <c:pt idx="460">
                  <c:v>3.355</c:v>
                </c:pt>
                <c:pt idx="462">
                  <c:v>2.9910000000000001</c:v>
                </c:pt>
                <c:pt idx="463">
                  <c:v>2.7589999999999999</c:v>
                </c:pt>
                <c:pt idx="464">
                  <c:v>2.786</c:v>
                </c:pt>
                <c:pt idx="465">
                  <c:v>2.7810000000000001</c:v>
                </c:pt>
                <c:pt idx="466">
                  <c:v>2.9340000000000002</c:v>
                </c:pt>
                <c:pt idx="467">
                  <c:v>3.052</c:v>
                </c:pt>
                <c:pt idx="469">
                  <c:v>2.8580000000000001</c:v>
                </c:pt>
                <c:pt idx="470">
                  <c:v>3.2130000000000001</c:v>
                </c:pt>
                <c:pt idx="471">
                  <c:v>3.2829999999999999</c:v>
                </c:pt>
                <c:pt idx="472">
                  <c:v>2.82</c:v>
                </c:pt>
                <c:pt idx="473">
                  <c:v>2.6789999999999998</c:v>
                </c:pt>
                <c:pt idx="475">
                  <c:v>2.8239999999999998</c:v>
                </c:pt>
                <c:pt idx="476">
                  <c:v>2.7229999999999999</c:v>
                </c:pt>
                <c:pt idx="477">
                  <c:v>2.629</c:v>
                </c:pt>
                <c:pt idx="478">
                  <c:v>3.294</c:v>
                </c:pt>
                <c:pt idx="480">
                  <c:v>2.73</c:v>
                </c:pt>
                <c:pt idx="481">
                  <c:v>5.44</c:v>
                </c:pt>
                <c:pt idx="482">
                  <c:v>2.6070000000000002</c:v>
                </c:pt>
                <c:pt idx="483">
                  <c:v>5.0270000000000001</c:v>
                </c:pt>
                <c:pt idx="484">
                  <c:v>3.7330000000000001</c:v>
                </c:pt>
                <c:pt idx="486">
                  <c:v>2.6869999999999998</c:v>
                </c:pt>
                <c:pt idx="487">
                  <c:v>3.8290000000000002</c:v>
                </c:pt>
                <c:pt idx="488">
                  <c:v>4.5519999999999996</c:v>
                </c:pt>
                <c:pt idx="489">
                  <c:v>4.0529999999999999</c:v>
                </c:pt>
                <c:pt idx="490">
                  <c:v>4.0810000000000004</c:v>
                </c:pt>
                <c:pt idx="491">
                  <c:v>5.4809999999999999</c:v>
                </c:pt>
                <c:pt idx="494">
                  <c:v>4.1879999999999997</c:v>
                </c:pt>
                <c:pt idx="495">
                  <c:v>3.8580000000000001</c:v>
                </c:pt>
                <c:pt idx="496">
                  <c:v>3.8380000000000001</c:v>
                </c:pt>
                <c:pt idx="498">
                  <c:v>3.6949999999999998</c:v>
                </c:pt>
                <c:pt idx="499">
                  <c:v>3.302</c:v>
                </c:pt>
                <c:pt idx="500">
                  <c:v>3.169</c:v>
                </c:pt>
                <c:pt idx="501">
                  <c:v>3.4449999999999998</c:v>
                </c:pt>
                <c:pt idx="502">
                  <c:v>3.5329999999999999</c:v>
                </c:pt>
                <c:pt idx="503">
                  <c:v>3.4969999999999999</c:v>
                </c:pt>
                <c:pt idx="504">
                  <c:v>3.3330000000000002</c:v>
                </c:pt>
                <c:pt idx="506">
                  <c:v>3.5390000000000001</c:v>
                </c:pt>
                <c:pt idx="507">
                  <c:v>3.5710000000000002</c:v>
                </c:pt>
                <c:pt idx="509">
                  <c:v>3.19</c:v>
                </c:pt>
                <c:pt idx="510">
                  <c:v>3.1160000000000001</c:v>
                </c:pt>
                <c:pt idx="511">
                  <c:v>3.718</c:v>
                </c:pt>
                <c:pt idx="512">
                  <c:v>2.7</c:v>
                </c:pt>
                <c:pt idx="513">
                  <c:v>1.7889999999999999</c:v>
                </c:pt>
                <c:pt idx="514">
                  <c:v>3.3769999999999998</c:v>
                </c:pt>
                <c:pt idx="515">
                  <c:v>3.19</c:v>
                </c:pt>
                <c:pt idx="516">
                  <c:v>3.1309999999999998</c:v>
                </c:pt>
                <c:pt idx="518">
                  <c:v>2.883</c:v>
                </c:pt>
                <c:pt idx="519">
                  <c:v>2.9209999999999998</c:v>
                </c:pt>
                <c:pt idx="520">
                  <c:v>2.4689999999999999</c:v>
                </c:pt>
                <c:pt idx="521">
                  <c:v>2.7770000000000001</c:v>
                </c:pt>
                <c:pt idx="523">
                  <c:v>2.7240000000000002</c:v>
                </c:pt>
                <c:pt idx="524">
                  <c:v>2.5510000000000002</c:v>
                </c:pt>
                <c:pt idx="525">
                  <c:v>2.476</c:v>
                </c:pt>
                <c:pt idx="526">
                  <c:v>2.423</c:v>
                </c:pt>
                <c:pt idx="528">
                  <c:v>2.9860000000000002</c:v>
                </c:pt>
                <c:pt idx="529">
                  <c:v>1.58</c:v>
                </c:pt>
                <c:pt idx="530">
                  <c:v>3.9870000000000001</c:v>
                </c:pt>
                <c:pt idx="532">
                  <c:v>4.1159999999999997</c:v>
                </c:pt>
                <c:pt idx="533">
                  <c:v>3.468</c:v>
                </c:pt>
                <c:pt idx="534">
                  <c:v>3.3809999999999998</c:v>
                </c:pt>
                <c:pt idx="535">
                  <c:v>3.9129999999999998</c:v>
                </c:pt>
                <c:pt idx="536">
                  <c:v>3.5019999999999998</c:v>
                </c:pt>
                <c:pt idx="537">
                  <c:v>3.395</c:v>
                </c:pt>
                <c:pt idx="539">
                  <c:v>3.14</c:v>
                </c:pt>
                <c:pt idx="540">
                  <c:v>2.8980000000000001</c:v>
                </c:pt>
                <c:pt idx="541">
                  <c:v>3.1</c:v>
                </c:pt>
                <c:pt idx="542">
                  <c:v>3.3119999999999998</c:v>
                </c:pt>
                <c:pt idx="543">
                  <c:v>3.25</c:v>
                </c:pt>
                <c:pt idx="545">
                  <c:v>2.835</c:v>
                </c:pt>
                <c:pt idx="546">
                  <c:v>2.8010000000000002</c:v>
                </c:pt>
                <c:pt idx="547">
                  <c:v>3.423</c:v>
                </c:pt>
                <c:pt idx="548">
                  <c:v>3.343</c:v>
                </c:pt>
                <c:pt idx="549">
                  <c:v>0</c:v>
                </c:pt>
                <c:pt idx="550">
                  <c:v>3.3220000000000001</c:v>
                </c:pt>
                <c:pt idx="551">
                  <c:v>3.67</c:v>
                </c:pt>
                <c:pt idx="552">
                  <c:v>3.46</c:v>
                </c:pt>
                <c:pt idx="553">
                  <c:v>2.621</c:v>
                </c:pt>
                <c:pt idx="554">
                  <c:v>1.873</c:v>
                </c:pt>
                <c:pt idx="555">
                  <c:v>2.8319999999999999</c:v>
                </c:pt>
                <c:pt idx="556">
                  <c:v>3.7320000000000002</c:v>
                </c:pt>
                <c:pt idx="557">
                  <c:v>3.7120000000000002</c:v>
                </c:pt>
                <c:pt idx="559">
                  <c:v>3.008</c:v>
                </c:pt>
                <c:pt idx="561">
                  <c:v>3.6509999999999998</c:v>
                </c:pt>
                <c:pt idx="562">
                  <c:v>2.7149999999999999</c:v>
                </c:pt>
                <c:pt idx="563">
                  <c:v>2.14</c:v>
                </c:pt>
                <c:pt idx="564">
                  <c:v>3.1080000000000001</c:v>
                </c:pt>
                <c:pt idx="565">
                  <c:v>2.8660000000000001</c:v>
                </c:pt>
                <c:pt idx="566">
                  <c:v>4.1040000000000001</c:v>
                </c:pt>
                <c:pt idx="567">
                  <c:v>3.0550000000000002</c:v>
                </c:pt>
                <c:pt idx="568">
                  <c:v>3.1190000000000002</c:v>
                </c:pt>
                <c:pt idx="570">
                  <c:v>2.637</c:v>
                </c:pt>
                <c:pt idx="571">
                  <c:v>3.407</c:v>
                </c:pt>
                <c:pt idx="572">
                  <c:v>3.1419999999999999</c:v>
                </c:pt>
                <c:pt idx="573">
                  <c:v>3.359</c:v>
                </c:pt>
                <c:pt idx="574">
                  <c:v>3.0579999999999998</c:v>
                </c:pt>
                <c:pt idx="575">
                  <c:v>3.4820000000000002</c:v>
                </c:pt>
                <c:pt idx="576">
                  <c:v>3.504</c:v>
                </c:pt>
                <c:pt idx="577">
                  <c:v>4.1420000000000003</c:v>
                </c:pt>
                <c:pt idx="578">
                  <c:v>4.6449999999999996</c:v>
                </c:pt>
                <c:pt idx="579">
                  <c:v>4.13924</c:v>
                </c:pt>
                <c:pt idx="580">
                  <c:v>4.0380000000000003</c:v>
                </c:pt>
                <c:pt idx="582">
                  <c:v>3.8130000000000002</c:v>
                </c:pt>
                <c:pt idx="583">
                  <c:v>3.984</c:v>
                </c:pt>
                <c:pt idx="584">
                  <c:v>3.9239999999999999</c:v>
                </c:pt>
                <c:pt idx="585">
                  <c:v>4.548</c:v>
                </c:pt>
                <c:pt idx="586">
                  <c:v>4.04</c:v>
                </c:pt>
                <c:pt idx="587">
                  <c:v>3.5870000000000002</c:v>
                </c:pt>
                <c:pt idx="588">
                  <c:v>4.351</c:v>
                </c:pt>
                <c:pt idx="589">
                  <c:v>3.2050000000000001</c:v>
                </c:pt>
                <c:pt idx="590">
                  <c:v>1.627</c:v>
                </c:pt>
                <c:pt idx="591">
                  <c:v>2.403</c:v>
                </c:pt>
                <c:pt idx="592">
                  <c:v>2.0750000000000002</c:v>
                </c:pt>
                <c:pt idx="593">
                  <c:v>3.4089999999999998</c:v>
                </c:pt>
                <c:pt idx="594">
                  <c:v>1.4039999999999999</c:v>
                </c:pt>
                <c:pt idx="595">
                  <c:v>3.8759999999999999</c:v>
                </c:pt>
                <c:pt idx="596">
                  <c:v>3.8319999999999999</c:v>
                </c:pt>
                <c:pt idx="597">
                  <c:v>3.5459999999999998</c:v>
                </c:pt>
                <c:pt idx="598">
                  <c:v>3.6139999999999999</c:v>
                </c:pt>
                <c:pt idx="599">
                  <c:v>3.125</c:v>
                </c:pt>
                <c:pt idx="600">
                  <c:v>2.3380000000000001</c:v>
                </c:pt>
                <c:pt idx="601">
                  <c:v>2.7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B4-4B82-BB32-4ABA506B1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7552512"/>
        <c:axId val="527745408"/>
      </c:scatterChart>
      <c:scatterChart>
        <c:scatterStyle val="lineMarker"/>
        <c:varyColors val="0"/>
        <c:ser>
          <c:idx val="1"/>
          <c:order val="1"/>
          <c:tx>
            <c:strRef>
              <c:f>Sheet1!$M$3</c:f>
              <c:strCache>
                <c:ptCount val="1"/>
                <c:pt idx="0">
                  <c:v>Обв</c:v>
                </c:pt>
              </c:strCache>
            </c:strRef>
          </c:tx>
          <c:spPr>
            <a:ln w="15875">
              <a:solidFill>
                <a:srgbClr val="0070C0"/>
              </a:solidFill>
              <a:prstDash val="sysDot"/>
            </a:ln>
          </c:spPr>
          <c:marker>
            <c:symbol val="none"/>
          </c:marker>
          <c:xVal>
            <c:numRef>
              <c:f>Sheet1!$A$65:$A$700</c:f>
              <c:numCache>
                <c:formatCode>General</c:formatCode>
                <c:ptCount val="63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</c:numCache>
            </c:numRef>
          </c:xVal>
          <c:yVal>
            <c:numRef>
              <c:f>Sheet1!$M$65:$M$700</c:f>
              <c:numCache>
                <c:formatCode>General</c:formatCode>
                <c:ptCount val="636"/>
                <c:pt idx="0">
                  <c:v>100</c:v>
                </c:pt>
                <c:pt idx="1">
                  <c:v>98</c:v>
                </c:pt>
                <c:pt idx="2">
                  <c:v>98</c:v>
                </c:pt>
                <c:pt idx="3">
                  <c:v>98</c:v>
                </c:pt>
                <c:pt idx="4">
                  <c:v>98</c:v>
                </c:pt>
                <c:pt idx="5">
                  <c:v>98</c:v>
                </c:pt>
                <c:pt idx="6">
                  <c:v>98</c:v>
                </c:pt>
                <c:pt idx="7">
                  <c:v>98</c:v>
                </c:pt>
                <c:pt idx="8">
                  <c:v>98</c:v>
                </c:pt>
                <c:pt idx="9">
                  <c:v>98</c:v>
                </c:pt>
                <c:pt idx="10">
                  <c:v>98</c:v>
                </c:pt>
                <c:pt idx="11">
                  <c:v>98</c:v>
                </c:pt>
                <c:pt idx="12">
                  <c:v>98</c:v>
                </c:pt>
                <c:pt idx="13">
                  <c:v>98</c:v>
                </c:pt>
                <c:pt idx="14">
                  <c:v>91</c:v>
                </c:pt>
                <c:pt idx="15">
                  <c:v>90</c:v>
                </c:pt>
                <c:pt idx="16">
                  <c:v>90</c:v>
                </c:pt>
                <c:pt idx="17">
                  <c:v>60</c:v>
                </c:pt>
                <c:pt idx="18">
                  <c:v>90</c:v>
                </c:pt>
                <c:pt idx="19">
                  <c:v>90</c:v>
                </c:pt>
                <c:pt idx="20">
                  <c:v>90</c:v>
                </c:pt>
                <c:pt idx="21">
                  <c:v>90</c:v>
                </c:pt>
                <c:pt idx="22">
                  <c:v>90</c:v>
                </c:pt>
                <c:pt idx="23">
                  <c:v>90</c:v>
                </c:pt>
                <c:pt idx="24">
                  <c:v>90</c:v>
                </c:pt>
                <c:pt idx="25">
                  <c:v>90</c:v>
                </c:pt>
                <c:pt idx="26">
                  <c:v>75</c:v>
                </c:pt>
                <c:pt idx="27">
                  <c:v>85</c:v>
                </c:pt>
                <c:pt idx="28">
                  <c:v>98</c:v>
                </c:pt>
                <c:pt idx="29">
                  <c:v>98</c:v>
                </c:pt>
                <c:pt idx="30">
                  <c:v>98</c:v>
                </c:pt>
                <c:pt idx="31">
                  <c:v>98</c:v>
                </c:pt>
                <c:pt idx="32">
                  <c:v>98</c:v>
                </c:pt>
                <c:pt idx="33">
                  <c:v>98</c:v>
                </c:pt>
                <c:pt idx="34">
                  <c:v>98</c:v>
                </c:pt>
                <c:pt idx="35">
                  <c:v>98</c:v>
                </c:pt>
                <c:pt idx="36">
                  <c:v>98</c:v>
                </c:pt>
                <c:pt idx="37">
                  <c:v>95</c:v>
                </c:pt>
                <c:pt idx="38">
                  <c:v>95</c:v>
                </c:pt>
                <c:pt idx="39">
                  <c:v>95</c:v>
                </c:pt>
                <c:pt idx="40">
                  <c:v>95</c:v>
                </c:pt>
                <c:pt idx="41">
                  <c:v>95</c:v>
                </c:pt>
                <c:pt idx="42">
                  <c:v>95</c:v>
                </c:pt>
                <c:pt idx="43">
                  <c:v>95</c:v>
                </c:pt>
                <c:pt idx="44">
                  <c:v>97</c:v>
                </c:pt>
                <c:pt idx="45">
                  <c:v>97</c:v>
                </c:pt>
                <c:pt idx="46">
                  <c:v>97</c:v>
                </c:pt>
                <c:pt idx="47">
                  <c:v>97</c:v>
                </c:pt>
                <c:pt idx="48">
                  <c:v>97</c:v>
                </c:pt>
                <c:pt idx="49">
                  <c:v>92</c:v>
                </c:pt>
                <c:pt idx="50">
                  <c:v>92</c:v>
                </c:pt>
                <c:pt idx="51">
                  <c:v>92</c:v>
                </c:pt>
                <c:pt idx="52">
                  <c:v>92</c:v>
                </c:pt>
                <c:pt idx="53">
                  <c:v>92</c:v>
                </c:pt>
                <c:pt idx="54">
                  <c:v>85</c:v>
                </c:pt>
                <c:pt idx="55">
                  <c:v>85</c:v>
                </c:pt>
                <c:pt idx="56">
                  <c:v>85</c:v>
                </c:pt>
                <c:pt idx="57">
                  <c:v>85</c:v>
                </c:pt>
                <c:pt idx="58">
                  <c:v>85</c:v>
                </c:pt>
                <c:pt idx="59">
                  <c:v>85</c:v>
                </c:pt>
                <c:pt idx="60">
                  <c:v>85</c:v>
                </c:pt>
                <c:pt idx="61">
                  <c:v>85</c:v>
                </c:pt>
                <c:pt idx="62">
                  <c:v>85</c:v>
                </c:pt>
                <c:pt idx="63">
                  <c:v>85</c:v>
                </c:pt>
                <c:pt idx="64">
                  <c:v>88</c:v>
                </c:pt>
                <c:pt idx="65">
                  <c:v>87</c:v>
                </c:pt>
                <c:pt idx="66">
                  <c:v>87</c:v>
                </c:pt>
                <c:pt idx="67">
                  <c:v>88</c:v>
                </c:pt>
                <c:pt idx="68">
                  <c:v>90</c:v>
                </c:pt>
                <c:pt idx="69">
                  <c:v>90</c:v>
                </c:pt>
                <c:pt idx="70">
                  <c:v>92</c:v>
                </c:pt>
                <c:pt idx="71">
                  <c:v>91</c:v>
                </c:pt>
                <c:pt idx="72">
                  <c:v>91</c:v>
                </c:pt>
                <c:pt idx="73">
                  <c:v>91</c:v>
                </c:pt>
                <c:pt idx="74">
                  <c:v>91</c:v>
                </c:pt>
                <c:pt idx="75">
                  <c:v>91</c:v>
                </c:pt>
                <c:pt idx="76">
                  <c:v>91</c:v>
                </c:pt>
                <c:pt idx="77">
                  <c:v>91</c:v>
                </c:pt>
                <c:pt idx="78">
                  <c:v>91</c:v>
                </c:pt>
                <c:pt idx="79">
                  <c:v>91</c:v>
                </c:pt>
                <c:pt idx="80">
                  <c:v>91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90</c:v>
                </c:pt>
                <c:pt idx="86">
                  <c:v>100</c:v>
                </c:pt>
                <c:pt idx="87">
                  <c:v>95</c:v>
                </c:pt>
                <c:pt idx="88">
                  <c:v>85</c:v>
                </c:pt>
                <c:pt idx="89">
                  <c:v>88</c:v>
                </c:pt>
                <c:pt idx="90">
                  <c:v>84</c:v>
                </c:pt>
                <c:pt idx="91">
                  <c:v>81</c:v>
                </c:pt>
                <c:pt idx="92">
                  <c:v>75</c:v>
                </c:pt>
                <c:pt idx="93">
                  <c:v>74</c:v>
                </c:pt>
                <c:pt idx="94">
                  <c:v>74</c:v>
                </c:pt>
                <c:pt idx="95">
                  <c:v>74</c:v>
                </c:pt>
                <c:pt idx="96">
                  <c:v>74</c:v>
                </c:pt>
                <c:pt idx="97">
                  <c:v>77</c:v>
                </c:pt>
                <c:pt idx="98">
                  <c:v>53</c:v>
                </c:pt>
                <c:pt idx="99">
                  <c:v>50</c:v>
                </c:pt>
                <c:pt idx="100">
                  <c:v>97</c:v>
                </c:pt>
                <c:pt idx="101">
                  <c:v>98</c:v>
                </c:pt>
                <c:pt idx="102">
                  <c:v>84</c:v>
                </c:pt>
                <c:pt idx="103">
                  <c:v>84</c:v>
                </c:pt>
                <c:pt idx="104">
                  <c:v>73</c:v>
                </c:pt>
                <c:pt idx="105">
                  <c:v>82</c:v>
                </c:pt>
                <c:pt idx="106">
                  <c:v>79</c:v>
                </c:pt>
                <c:pt idx="107">
                  <c:v>79</c:v>
                </c:pt>
                <c:pt idx="108">
                  <c:v>75</c:v>
                </c:pt>
                <c:pt idx="109">
                  <c:v>74</c:v>
                </c:pt>
                <c:pt idx="110">
                  <c:v>83</c:v>
                </c:pt>
                <c:pt idx="111">
                  <c:v>80</c:v>
                </c:pt>
                <c:pt idx="112">
                  <c:v>80</c:v>
                </c:pt>
                <c:pt idx="113">
                  <c:v>80</c:v>
                </c:pt>
                <c:pt idx="114">
                  <c:v>80</c:v>
                </c:pt>
                <c:pt idx="115">
                  <c:v>73</c:v>
                </c:pt>
                <c:pt idx="116">
                  <c:v>73</c:v>
                </c:pt>
                <c:pt idx="117">
                  <c:v>73</c:v>
                </c:pt>
                <c:pt idx="118">
                  <c:v>73</c:v>
                </c:pt>
                <c:pt idx="119">
                  <c:v>73</c:v>
                </c:pt>
                <c:pt idx="120">
                  <c:v>73</c:v>
                </c:pt>
                <c:pt idx="121">
                  <c:v>60</c:v>
                </c:pt>
                <c:pt idx="122">
                  <c:v>73</c:v>
                </c:pt>
                <c:pt idx="123">
                  <c:v>73</c:v>
                </c:pt>
                <c:pt idx="124">
                  <c:v>70</c:v>
                </c:pt>
                <c:pt idx="125">
                  <c:v>70</c:v>
                </c:pt>
                <c:pt idx="126">
                  <c:v>70</c:v>
                </c:pt>
                <c:pt idx="127">
                  <c:v>70</c:v>
                </c:pt>
                <c:pt idx="128">
                  <c:v>69</c:v>
                </c:pt>
                <c:pt idx="129">
                  <c:v>63</c:v>
                </c:pt>
                <c:pt idx="130">
                  <c:v>63</c:v>
                </c:pt>
                <c:pt idx="131">
                  <c:v>63</c:v>
                </c:pt>
                <c:pt idx="132">
                  <c:v>57</c:v>
                </c:pt>
                <c:pt idx="133">
                  <c:v>57</c:v>
                </c:pt>
                <c:pt idx="134">
                  <c:v>57</c:v>
                </c:pt>
                <c:pt idx="135">
                  <c:v>57</c:v>
                </c:pt>
                <c:pt idx="136">
                  <c:v>57</c:v>
                </c:pt>
                <c:pt idx="137">
                  <c:v>57</c:v>
                </c:pt>
                <c:pt idx="138">
                  <c:v>57</c:v>
                </c:pt>
                <c:pt idx="139">
                  <c:v>47</c:v>
                </c:pt>
                <c:pt idx="140">
                  <c:v>47</c:v>
                </c:pt>
                <c:pt idx="141">
                  <c:v>47</c:v>
                </c:pt>
                <c:pt idx="142">
                  <c:v>47</c:v>
                </c:pt>
                <c:pt idx="143">
                  <c:v>47</c:v>
                </c:pt>
                <c:pt idx="144">
                  <c:v>47</c:v>
                </c:pt>
                <c:pt idx="145">
                  <c:v>47</c:v>
                </c:pt>
                <c:pt idx="146">
                  <c:v>47</c:v>
                </c:pt>
                <c:pt idx="147">
                  <c:v>48</c:v>
                </c:pt>
                <c:pt idx="148">
                  <c:v>48</c:v>
                </c:pt>
                <c:pt idx="149">
                  <c:v>48</c:v>
                </c:pt>
                <c:pt idx="150">
                  <c:v>48</c:v>
                </c:pt>
                <c:pt idx="151">
                  <c:v>49</c:v>
                </c:pt>
                <c:pt idx="152">
                  <c:v>41</c:v>
                </c:pt>
                <c:pt idx="153">
                  <c:v>41</c:v>
                </c:pt>
                <c:pt idx="154">
                  <c:v>41</c:v>
                </c:pt>
                <c:pt idx="155">
                  <c:v>43</c:v>
                </c:pt>
                <c:pt idx="156">
                  <c:v>43</c:v>
                </c:pt>
                <c:pt idx="157">
                  <c:v>46</c:v>
                </c:pt>
                <c:pt idx="158">
                  <c:v>46</c:v>
                </c:pt>
                <c:pt idx="159">
                  <c:v>40</c:v>
                </c:pt>
                <c:pt idx="160">
                  <c:v>40</c:v>
                </c:pt>
                <c:pt idx="161">
                  <c:v>43</c:v>
                </c:pt>
                <c:pt idx="162">
                  <c:v>39</c:v>
                </c:pt>
                <c:pt idx="163">
                  <c:v>43</c:v>
                </c:pt>
                <c:pt idx="164">
                  <c:v>39</c:v>
                </c:pt>
                <c:pt idx="165">
                  <c:v>42</c:v>
                </c:pt>
                <c:pt idx="166">
                  <c:v>43</c:v>
                </c:pt>
                <c:pt idx="167">
                  <c:v>42</c:v>
                </c:pt>
                <c:pt idx="168">
                  <c:v>42</c:v>
                </c:pt>
                <c:pt idx="169">
                  <c:v>42</c:v>
                </c:pt>
                <c:pt idx="170">
                  <c:v>42</c:v>
                </c:pt>
                <c:pt idx="171">
                  <c:v>42</c:v>
                </c:pt>
                <c:pt idx="172">
                  <c:v>42</c:v>
                </c:pt>
                <c:pt idx="173">
                  <c:v>42</c:v>
                </c:pt>
                <c:pt idx="174">
                  <c:v>42</c:v>
                </c:pt>
                <c:pt idx="175">
                  <c:v>42</c:v>
                </c:pt>
                <c:pt idx="176">
                  <c:v>20</c:v>
                </c:pt>
                <c:pt idx="177">
                  <c:v>20</c:v>
                </c:pt>
                <c:pt idx="178">
                  <c:v>36</c:v>
                </c:pt>
                <c:pt idx="179">
                  <c:v>36</c:v>
                </c:pt>
                <c:pt idx="180">
                  <c:v>36</c:v>
                </c:pt>
                <c:pt idx="181">
                  <c:v>37</c:v>
                </c:pt>
                <c:pt idx="182">
                  <c:v>37</c:v>
                </c:pt>
                <c:pt idx="183">
                  <c:v>35</c:v>
                </c:pt>
                <c:pt idx="184">
                  <c:v>35</c:v>
                </c:pt>
                <c:pt idx="185">
                  <c:v>32</c:v>
                </c:pt>
                <c:pt idx="186">
                  <c:v>32</c:v>
                </c:pt>
                <c:pt idx="187">
                  <c:v>32</c:v>
                </c:pt>
                <c:pt idx="188">
                  <c:v>32</c:v>
                </c:pt>
                <c:pt idx="189">
                  <c:v>35</c:v>
                </c:pt>
                <c:pt idx="190">
                  <c:v>35</c:v>
                </c:pt>
                <c:pt idx="191">
                  <c:v>35</c:v>
                </c:pt>
                <c:pt idx="192">
                  <c:v>35</c:v>
                </c:pt>
                <c:pt idx="193">
                  <c:v>35</c:v>
                </c:pt>
                <c:pt idx="194">
                  <c:v>35</c:v>
                </c:pt>
                <c:pt idx="195">
                  <c:v>35</c:v>
                </c:pt>
                <c:pt idx="196">
                  <c:v>35</c:v>
                </c:pt>
                <c:pt idx="197">
                  <c:v>35</c:v>
                </c:pt>
                <c:pt idx="198">
                  <c:v>26</c:v>
                </c:pt>
                <c:pt idx="199">
                  <c:v>25</c:v>
                </c:pt>
                <c:pt idx="200">
                  <c:v>35</c:v>
                </c:pt>
                <c:pt idx="201">
                  <c:v>30</c:v>
                </c:pt>
                <c:pt idx="202">
                  <c:v>35</c:v>
                </c:pt>
                <c:pt idx="203">
                  <c:v>35</c:v>
                </c:pt>
                <c:pt idx="204">
                  <c:v>35</c:v>
                </c:pt>
                <c:pt idx="205">
                  <c:v>35</c:v>
                </c:pt>
                <c:pt idx="206">
                  <c:v>35</c:v>
                </c:pt>
                <c:pt idx="207">
                  <c:v>31</c:v>
                </c:pt>
                <c:pt idx="208">
                  <c:v>31</c:v>
                </c:pt>
                <c:pt idx="209">
                  <c:v>31</c:v>
                </c:pt>
                <c:pt idx="210">
                  <c:v>31</c:v>
                </c:pt>
                <c:pt idx="211">
                  <c:v>31</c:v>
                </c:pt>
                <c:pt idx="212">
                  <c:v>33</c:v>
                </c:pt>
                <c:pt idx="213">
                  <c:v>33</c:v>
                </c:pt>
                <c:pt idx="214">
                  <c:v>30</c:v>
                </c:pt>
                <c:pt idx="215">
                  <c:v>27</c:v>
                </c:pt>
                <c:pt idx="216">
                  <c:v>25</c:v>
                </c:pt>
                <c:pt idx="217">
                  <c:v>22</c:v>
                </c:pt>
                <c:pt idx="218">
                  <c:v>20</c:v>
                </c:pt>
                <c:pt idx="219">
                  <c:v>20</c:v>
                </c:pt>
                <c:pt idx="220">
                  <c:v>20</c:v>
                </c:pt>
                <c:pt idx="221">
                  <c:v>20</c:v>
                </c:pt>
                <c:pt idx="222">
                  <c:v>20</c:v>
                </c:pt>
                <c:pt idx="223">
                  <c:v>20</c:v>
                </c:pt>
                <c:pt idx="224">
                  <c:v>20</c:v>
                </c:pt>
                <c:pt idx="225">
                  <c:v>20</c:v>
                </c:pt>
                <c:pt idx="226">
                  <c:v>20</c:v>
                </c:pt>
                <c:pt idx="227">
                  <c:v>20</c:v>
                </c:pt>
                <c:pt idx="228">
                  <c:v>20</c:v>
                </c:pt>
                <c:pt idx="229">
                  <c:v>20</c:v>
                </c:pt>
                <c:pt idx="230">
                  <c:v>20</c:v>
                </c:pt>
                <c:pt idx="231">
                  <c:v>20</c:v>
                </c:pt>
                <c:pt idx="232">
                  <c:v>20</c:v>
                </c:pt>
                <c:pt idx="233">
                  <c:v>20</c:v>
                </c:pt>
                <c:pt idx="234">
                  <c:v>20</c:v>
                </c:pt>
                <c:pt idx="235">
                  <c:v>20</c:v>
                </c:pt>
                <c:pt idx="236">
                  <c:v>20</c:v>
                </c:pt>
                <c:pt idx="237">
                  <c:v>20</c:v>
                </c:pt>
                <c:pt idx="238">
                  <c:v>18</c:v>
                </c:pt>
                <c:pt idx="239">
                  <c:v>18</c:v>
                </c:pt>
                <c:pt idx="240">
                  <c:v>10</c:v>
                </c:pt>
                <c:pt idx="241">
                  <c:v>10</c:v>
                </c:pt>
                <c:pt idx="242">
                  <c:v>10</c:v>
                </c:pt>
                <c:pt idx="243">
                  <c:v>10</c:v>
                </c:pt>
                <c:pt idx="244">
                  <c:v>11</c:v>
                </c:pt>
                <c:pt idx="245">
                  <c:v>11</c:v>
                </c:pt>
                <c:pt idx="246">
                  <c:v>11</c:v>
                </c:pt>
                <c:pt idx="247">
                  <c:v>15</c:v>
                </c:pt>
                <c:pt idx="248">
                  <c:v>15</c:v>
                </c:pt>
                <c:pt idx="249">
                  <c:v>15</c:v>
                </c:pt>
                <c:pt idx="250">
                  <c:v>15</c:v>
                </c:pt>
                <c:pt idx="251">
                  <c:v>16</c:v>
                </c:pt>
                <c:pt idx="252">
                  <c:v>17</c:v>
                </c:pt>
                <c:pt idx="253">
                  <c:v>16</c:v>
                </c:pt>
                <c:pt idx="254">
                  <c:v>18</c:v>
                </c:pt>
                <c:pt idx="255">
                  <c:v>18</c:v>
                </c:pt>
                <c:pt idx="256">
                  <c:v>18</c:v>
                </c:pt>
                <c:pt idx="257">
                  <c:v>18</c:v>
                </c:pt>
                <c:pt idx="258">
                  <c:v>18</c:v>
                </c:pt>
                <c:pt idx="259">
                  <c:v>18</c:v>
                </c:pt>
                <c:pt idx="260">
                  <c:v>18</c:v>
                </c:pt>
                <c:pt idx="261">
                  <c:v>18</c:v>
                </c:pt>
                <c:pt idx="262">
                  <c:v>18</c:v>
                </c:pt>
                <c:pt idx="263">
                  <c:v>18</c:v>
                </c:pt>
                <c:pt idx="264">
                  <c:v>18</c:v>
                </c:pt>
                <c:pt idx="265">
                  <c:v>18</c:v>
                </c:pt>
                <c:pt idx="266">
                  <c:v>18</c:v>
                </c:pt>
                <c:pt idx="267">
                  <c:v>18</c:v>
                </c:pt>
                <c:pt idx="268">
                  <c:v>18</c:v>
                </c:pt>
                <c:pt idx="269">
                  <c:v>18</c:v>
                </c:pt>
                <c:pt idx="270">
                  <c:v>18</c:v>
                </c:pt>
                <c:pt idx="271">
                  <c:v>18</c:v>
                </c:pt>
                <c:pt idx="272">
                  <c:v>18</c:v>
                </c:pt>
                <c:pt idx="273">
                  <c:v>18</c:v>
                </c:pt>
                <c:pt idx="275">
                  <c:v>15</c:v>
                </c:pt>
                <c:pt idx="277">
                  <c:v>15.61</c:v>
                </c:pt>
                <c:pt idx="280">
                  <c:v>50</c:v>
                </c:pt>
                <c:pt idx="282">
                  <c:v>100</c:v>
                </c:pt>
                <c:pt idx="283">
                  <c:v>90</c:v>
                </c:pt>
                <c:pt idx="284">
                  <c:v>90</c:v>
                </c:pt>
                <c:pt idx="285">
                  <c:v>15</c:v>
                </c:pt>
                <c:pt idx="286">
                  <c:v>15</c:v>
                </c:pt>
                <c:pt idx="287">
                  <c:v>20</c:v>
                </c:pt>
                <c:pt idx="288">
                  <c:v>20</c:v>
                </c:pt>
                <c:pt idx="289">
                  <c:v>20</c:v>
                </c:pt>
                <c:pt idx="290">
                  <c:v>22</c:v>
                </c:pt>
                <c:pt idx="291">
                  <c:v>20</c:v>
                </c:pt>
                <c:pt idx="292">
                  <c:v>22</c:v>
                </c:pt>
                <c:pt idx="293">
                  <c:v>24</c:v>
                </c:pt>
                <c:pt idx="294">
                  <c:v>20</c:v>
                </c:pt>
                <c:pt idx="295">
                  <c:v>20</c:v>
                </c:pt>
                <c:pt idx="296">
                  <c:v>20</c:v>
                </c:pt>
                <c:pt idx="298">
                  <c:v>16</c:v>
                </c:pt>
                <c:pt idx="299">
                  <c:v>16</c:v>
                </c:pt>
                <c:pt idx="300">
                  <c:v>16</c:v>
                </c:pt>
                <c:pt idx="301">
                  <c:v>20</c:v>
                </c:pt>
                <c:pt idx="302">
                  <c:v>10</c:v>
                </c:pt>
                <c:pt idx="303">
                  <c:v>9</c:v>
                </c:pt>
                <c:pt idx="304">
                  <c:v>15</c:v>
                </c:pt>
                <c:pt idx="305">
                  <c:v>16</c:v>
                </c:pt>
                <c:pt idx="310">
                  <c:v>11</c:v>
                </c:pt>
                <c:pt idx="312">
                  <c:v>12</c:v>
                </c:pt>
                <c:pt idx="314">
                  <c:v>13</c:v>
                </c:pt>
                <c:pt idx="316">
                  <c:v>13</c:v>
                </c:pt>
                <c:pt idx="317">
                  <c:v>13</c:v>
                </c:pt>
                <c:pt idx="319">
                  <c:v>20</c:v>
                </c:pt>
                <c:pt idx="321">
                  <c:v>20</c:v>
                </c:pt>
                <c:pt idx="323">
                  <c:v>20</c:v>
                </c:pt>
                <c:pt idx="324">
                  <c:v>20</c:v>
                </c:pt>
                <c:pt idx="326">
                  <c:v>20</c:v>
                </c:pt>
                <c:pt idx="327">
                  <c:v>20</c:v>
                </c:pt>
                <c:pt idx="328">
                  <c:v>20</c:v>
                </c:pt>
                <c:pt idx="333">
                  <c:v>15</c:v>
                </c:pt>
                <c:pt idx="334">
                  <c:v>20</c:v>
                </c:pt>
                <c:pt idx="335">
                  <c:v>20</c:v>
                </c:pt>
                <c:pt idx="336">
                  <c:v>20</c:v>
                </c:pt>
                <c:pt idx="339">
                  <c:v>20</c:v>
                </c:pt>
                <c:pt idx="340">
                  <c:v>20</c:v>
                </c:pt>
                <c:pt idx="342">
                  <c:v>20</c:v>
                </c:pt>
                <c:pt idx="344">
                  <c:v>20</c:v>
                </c:pt>
                <c:pt idx="346">
                  <c:v>20</c:v>
                </c:pt>
                <c:pt idx="348">
                  <c:v>20</c:v>
                </c:pt>
                <c:pt idx="349">
                  <c:v>20</c:v>
                </c:pt>
                <c:pt idx="350">
                  <c:v>20</c:v>
                </c:pt>
                <c:pt idx="351">
                  <c:v>20</c:v>
                </c:pt>
                <c:pt idx="352">
                  <c:v>20</c:v>
                </c:pt>
                <c:pt idx="353">
                  <c:v>20</c:v>
                </c:pt>
                <c:pt idx="354">
                  <c:v>20</c:v>
                </c:pt>
                <c:pt idx="355">
                  <c:v>20</c:v>
                </c:pt>
                <c:pt idx="359">
                  <c:v>20</c:v>
                </c:pt>
                <c:pt idx="361">
                  <c:v>20</c:v>
                </c:pt>
                <c:pt idx="364">
                  <c:v>12.5</c:v>
                </c:pt>
                <c:pt idx="367">
                  <c:v>11.8</c:v>
                </c:pt>
                <c:pt idx="368">
                  <c:v>5.5</c:v>
                </c:pt>
                <c:pt idx="369">
                  <c:v>12.2</c:v>
                </c:pt>
                <c:pt idx="371">
                  <c:v>13.9</c:v>
                </c:pt>
                <c:pt idx="372">
                  <c:v>16.7</c:v>
                </c:pt>
                <c:pt idx="373">
                  <c:v>11.1</c:v>
                </c:pt>
                <c:pt idx="374">
                  <c:v>1.3</c:v>
                </c:pt>
                <c:pt idx="375">
                  <c:v>1.7</c:v>
                </c:pt>
                <c:pt idx="376">
                  <c:v>12</c:v>
                </c:pt>
                <c:pt idx="378">
                  <c:v>5.0999999999999996</c:v>
                </c:pt>
                <c:pt idx="379">
                  <c:v>11.2</c:v>
                </c:pt>
                <c:pt idx="381">
                  <c:v>12.6</c:v>
                </c:pt>
                <c:pt idx="383">
                  <c:v>11.2</c:v>
                </c:pt>
                <c:pt idx="384">
                  <c:v>13</c:v>
                </c:pt>
                <c:pt idx="385">
                  <c:v>11.2</c:v>
                </c:pt>
                <c:pt idx="386">
                  <c:v>4.2</c:v>
                </c:pt>
                <c:pt idx="387">
                  <c:v>7.2</c:v>
                </c:pt>
                <c:pt idx="389">
                  <c:v>14.4</c:v>
                </c:pt>
                <c:pt idx="390">
                  <c:v>12</c:v>
                </c:pt>
                <c:pt idx="392">
                  <c:v>12.1</c:v>
                </c:pt>
                <c:pt idx="393">
                  <c:v>13.7</c:v>
                </c:pt>
                <c:pt idx="396">
                  <c:v>12.2</c:v>
                </c:pt>
                <c:pt idx="398">
                  <c:v>11.1</c:v>
                </c:pt>
                <c:pt idx="399">
                  <c:v>13.7</c:v>
                </c:pt>
                <c:pt idx="401">
                  <c:v>9.1</c:v>
                </c:pt>
                <c:pt idx="403">
                  <c:v>10</c:v>
                </c:pt>
                <c:pt idx="406">
                  <c:v>11.6</c:v>
                </c:pt>
                <c:pt idx="408">
                  <c:v>13.7</c:v>
                </c:pt>
                <c:pt idx="410">
                  <c:v>11.5</c:v>
                </c:pt>
                <c:pt idx="412">
                  <c:v>12.9</c:v>
                </c:pt>
                <c:pt idx="414">
                  <c:v>11.6</c:v>
                </c:pt>
                <c:pt idx="416">
                  <c:v>14.1</c:v>
                </c:pt>
                <c:pt idx="417">
                  <c:v>13.9</c:v>
                </c:pt>
                <c:pt idx="418">
                  <c:v>11</c:v>
                </c:pt>
                <c:pt idx="420">
                  <c:v>13.6</c:v>
                </c:pt>
                <c:pt idx="421">
                  <c:v>12.7</c:v>
                </c:pt>
                <c:pt idx="422">
                  <c:v>13.4</c:v>
                </c:pt>
                <c:pt idx="423">
                  <c:v>13.7</c:v>
                </c:pt>
                <c:pt idx="425">
                  <c:v>12.5</c:v>
                </c:pt>
                <c:pt idx="427">
                  <c:v>12.1</c:v>
                </c:pt>
                <c:pt idx="428">
                  <c:v>13.1</c:v>
                </c:pt>
                <c:pt idx="429">
                  <c:v>11.8</c:v>
                </c:pt>
                <c:pt idx="430">
                  <c:v>10.3</c:v>
                </c:pt>
                <c:pt idx="431">
                  <c:v>12.6</c:v>
                </c:pt>
                <c:pt idx="432">
                  <c:v>4.5</c:v>
                </c:pt>
                <c:pt idx="433">
                  <c:v>9.9</c:v>
                </c:pt>
                <c:pt idx="435">
                  <c:v>11.8</c:v>
                </c:pt>
                <c:pt idx="436">
                  <c:v>11.7</c:v>
                </c:pt>
                <c:pt idx="437">
                  <c:v>10.9</c:v>
                </c:pt>
                <c:pt idx="438">
                  <c:v>10</c:v>
                </c:pt>
                <c:pt idx="439">
                  <c:v>11</c:v>
                </c:pt>
                <c:pt idx="440">
                  <c:v>11.6</c:v>
                </c:pt>
                <c:pt idx="441">
                  <c:v>11.9</c:v>
                </c:pt>
                <c:pt idx="442">
                  <c:v>11.4</c:v>
                </c:pt>
                <c:pt idx="443">
                  <c:v>12.5</c:v>
                </c:pt>
                <c:pt idx="444">
                  <c:v>11.3</c:v>
                </c:pt>
                <c:pt idx="446">
                  <c:v>9.6</c:v>
                </c:pt>
                <c:pt idx="447">
                  <c:v>11.1</c:v>
                </c:pt>
                <c:pt idx="448">
                  <c:v>12.1</c:v>
                </c:pt>
                <c:pt idx="449">
                  <c:v>10.6</c:v>
                </c:pt>
                <c:pt idx="450">
                  <c:v>11.2</c:v>
                </c:pt>
                <c:pt idx="452">
                  <c:v>11.9</c:v>
                </c:pt>
                <c:pt idx="453">
                  <c:v>11.1</c:v>
                </c:pt>
                <c:pt idx="456">
                  <c:v>10.4</c:v>
                </c:pt>
                <c:pt idx="457">
                  <c:v>11.4</c:v>
                </c:pt>
                <c:pt idx="458">
                  <c:v>11.4</c:v>
                </c:pt>
                <c:pt idx="459">
                  <c:v>7.9</c:v>
                </c:pt>
                <c:pt idx="460">
                  <c:v>11.7</c:v>
                </c:pt>
                <c:pt idx="462">
                  <c:v>12.2</c:v>
                </c:pt>
                <c:pt idx="463">
                  <c:v>11.3</c:v>
                </c:pt>
                <c:pt idx="464">
                  <c:v>11.2</c:v>
                </c:pt>
                <c:pt idx="465">
                  <c:v>11</c:v>
                </c:pt>
                <c:pt idx="466">
                  <c:v>9.5</c:v>
                </c:pt>
                <c:pt idx="467">
                  <c:v>11.8</c:v>
                </c:pt>
                <c:pt idx="469">
                  <c:v>12.7</c:v>
                </c:pt>
                <c:pt idx="470">
                  <c:v>11.7</c:v>
                </c:pt>
                <c:pt idx="471">
                  <c:v>12.4</c:v>
                </c:pt>
                <c:pt idx="472">
                  <c:v>11.4</c:v>
                </c:pt>
                <c:pt idx="473">
                  <c:v>10.4</c:v>
                </c:pt>
                <c:pt idx="474">
                  <c:v>0</c:v>
                </c:pt>
                <c:pt idx="475">
                  <c:v>11.8</c:v>
                </c:pt>
                <c:pt idx="476">
                  <c:v>11.6</c:v>
                </c:pt>
                <c:pt idx="477">
                  <c:v>11.5</c:v>
                </c:pt>
                <c:pt idx="478">
                  <c:v>11.5</c:v>
                </c:pt>
                <c:pt idx="480">
                  <c:v>8.4</c:v>
                </c:pt>
                <c:pt idx="481">
                  <c:v>19.100000000000001</c:v>
                </c:pt>
                <c:pt idx="482">
                  <c:v>7.2</c:v>
                </c:pt>
                <c:pt idx="483">
                  <c:v>11.2</c:v>
                </c:pt>
                <c:pt idx="484">
                  <c:v>11.1</c:v>
                </c:pt>
                <c:pt idx="486">
                  <c:v>8.5</c:v>
                </c:pt>
                <c:pt idx="487">
                  <c:v>11.5</c:v>
                </c:pt>
                <c:pt idx="488">
                  <c:v>11.4</c:v>
                </c:pt>
                <c:pt idx="489">
                  <c:v>12.7</c:v>
                </c:pt>
                <c:pt idx="490">
                  <c:v>10.199999999999999</c:v>
                </c:pt>
                <c:pt idx="491">
                  <c:v>13.6</c:v>
                </c:pt>
                <c:pt idx="494">
                  <c:v>12.3</c:v>
                </c:pt>
                <c:pt idx="495">
                  <c:v>10.8</c:v>
                </c:pt>
                <c:pt idx="496">
                  <c:v>9.4</c:v>
                </c:pt>
                <c:pt idx="498">
                  <c:v>7.8</c:v>
                </c:pt>
                <c:pt idx="499">
                  <c:v>8.8000000000000007</c:v>
                </c:pt>
                <c:pt idx="500">
                  <c:v>9.8000000000000007</c:v>
                </c:pt>
                <c:pt idx="501">
                  <c:v>11.2</c:v>
                </c:pt>
                <c:pt idx="502">
                  <c:v>9.6999999999999993</c:v>
                </c:pt>
                <c:pt idx="503">
                  <c:v>10.5</c:v>
                </c:pt>
                <c:pt idx="504">
                  <c:v>8.9</c:v>
                </c:pt>
                <c:pt idx="506">
                  <c:v>8.6</c:v>
                </c:pt>
                <c:pt idx="507">
                  <c:v>10.1</c:v>
                </c:pt>
                <c:pt idx="509">
                  <c:v>8.6</c:v>
                </c:pt>
                <c:pt idx="510">
                  <c:v>10.1</c:v>
                </c:pt>
                <c:pt idx="511">
                  <c:v>12.5</c:v>
                </c:pt>
                <c:pt idx="513">
                  <c:v>15.5</c:v>
                </c:pt>
                <c:pt idx="514">
                  <c:v>9.1999999999999993</c:v>
                </c:pt>
                <c:pt idx="515">
                  <c:v>9.6999999999999993</c:v>
                </c:pt>
                <c:pt idx="516">
                  <c:v>7.9</c:v>
                </c:pt>
                <c:pt idx="518">
                  <c:v>10.1</c:v>
                </c:pt>
                <c:pt idx="519">
                  <c:v>11</c:v>
                </c:pt>
                <c:pt idx="520">
                  <c:v>6.3</c:v>
                </c:pt>
                <c:pt idx="521">
                  <c:v>11.1</c:v>
                </c:pt>
                <c:pt idx="523">
                  <c:v>10.5</c:v>
                </c:pt>
                <c:pt idx="524">
                  <c:v>7.2</c:v>
                </c:pt>
                <c:pt idx="525">
                  <c:v>8.6</c:v>
                </c:pt>
                <c:pt idx="526">
                  <c:v>9.9</c:v>
                </c:pt>
                <c:pt idx="528">
                  <c:v>9.9</c:v>
                </c:pt>
                <c:pt idx="529">
                  <c:v>29.2</c:v>
                </c:pt>
                <c:pt idx="530">
                  <c:v>13</c:v>
                </c:pt>
                <c:pt idx="532">
                  <c:v>16.2</c:v>
                </c:pt>
                <c:pt idx="533">
                  <c:v>10.5</c:v>
                </c:pt>
                <c:pt idx="534">
                  <c:v>10.6</c:v>
                </c:pt>
                <c:pt idx="535">
                  <c:v>13.4</c:v>
                </c:pt>
                <c:pt idx="536">
                  <c:v>10</c:v>
                </c:pt>
                <c:pt idx="537">
                  <c:v>9.3000000000000007</c:v>
                </c:pt>
                <c:pt idx="539">
                  <c:v>10</c:v>
                </c:pt>
                <c:pt idx="540">
                  <c:v>8.5</c:v>
                </c:pt>
                <c:pt idx="541">
                  <c:v>10.199999999999999</c:v>
                </c:pt>
                <c:pt idx="542">
                  <c:v>9.6999999999999993</c:v>
                </c:pt>
                <c:pt idx="543">
                  <c:v>9.5</c:v>
                </c:pt>
                <c:pt idx="545">
                  <c:v>9.3000000000000007</c:v>
                </c:pt>
                <c:pt idx="546">
                  <c:v>9.3000000000000007</c:v>
                </c:pt>
                <c:pt idx="547">
                  <c:v>10.9</c:v>
                </c:pt>
                <c:pt idx="548">
                  <c:v>9.4</c:v>
                </c:pt>
                <c:pt idx="549">
                  <c:v>0</c:v>
                </c:pt>
                <c:pt idx="550">
                  <c:v>10.1</c:v>
                </c:pt>
                <c:pt idx="551">
                  <c:v>11.3</c:v>
                </c:pt>
                <c:pt idx="552">
                  <c:v>8.1999999999999993</c:v>
                </c:pt>
                <c:pt idx="553">
                  <c:v>7.2</c:v>
                </c:pt>
                <c:pt idx="554">
                  <c:v>7.4</c:v>
                </c:pt>
                <c:pt idx="555">
                  <c:v>3</c:v>
                </c:pt>
                <c:pt idx="556">
                  <c:v>8.1999999999999993</c:v>
                </c:pt>
                <c:pt idx="557">
                  <c:v>11.5</c:v>
                </c:pt>
                <c:pt idx="559">
                  <c:v>8.6</c:v>
                </c:pt>
                <c:pt idx="561">
                  <c:v>10.1</c:v>
                </c:pt>
                <c:pt idx="562">
                  <c:v>10.6</c:v>
                </c:pt>
                <c:pt idx="563">
                  <c:v>6.05</c:v>
                </c:pt>
                <c:pt idx="564">
                  <c:v>5.7</c:v>
                </c:pt>
                <c:pt idx="565">
                  <c:v>8.8000000000000007</c:v>
                </c:pt>
                <c:pt idx="566">
                  <c:v>12.3</c:v>
                </c:pt>
                <c:pt idx="567">
                  <c:v>8.8000000000000007</c:v>
                </c:pt>
                <c:pt idx="568">
                  <c:v>9.6999999999999993</c:v>
                </c:pt>
                <c:pt idx="570">
                  <c:v>6.4</c:v>
                </c:pt>
                <c:pt idx="571">
                  <c:v>6.6</c:v>
                </c:pt>
                <c:pt idx="572">
                  <c:v>7.3</c:v>
                </c:pt>
                <c:pt idx="573">
                  <c:v>9.5</c:v>
                </c:pt>
                <c:pt idx="574">
                  <c:v>7.6</c:v>
                </c:pt>
                <c:pt idx="575">
                  <c:v>9</c:v>
                </c:pt>
                <c:pt idx="576">
                  <c:v>8.6</c:v>
                </c:pt>
                <c:pt idx="577">
                  <c:v>6.5</c:v>
                </c:pt>
                <c:pt idx="578">
                  <c:v>11.6</c:v>
                </c:pt>
                <c:pt idx="579">
                  <c:v>9.5</c:v>
                </c:pt>
                <c:pt idx="580">
                  <c:v>9.1999999999999993</c:v>
                </c:pt>
                <c:pt idx="582">
                  <c:v>8.8000000000000007</c:v>
                </c:pt>
                <c:pt idx="583">
                  <c:v>9.6</c:v>
                </c:pt>
                <c:pt idx="584">
                  <c:v>7.6</c:v>
                </c:pt>
                <c:pt idx="585">
                  <c:v>7.3</c:v>
                </c:pt>
                <c:pt idx="586">
                  <c:v>9.1999999999999993</c:v>
                </c:pt>
                <c:pt idx="587">
                  <c:v>12</c:v>
                </c:pt>
                <c:pt idx="588">
                  <c:v>8.6999999999999993</c:v>
                </c:pt>
                <c:pt idx="589">
                  <c:v>6.3</c:v>
                </c:pt>
                <c:pt idx="590">
                  <c:v>7</c:v>
                </c:pt>
                <c:pt idx="591">
                  <c:v>6.7</c:v>
                </c:pt>
                <c:pt idx="592">
                  <c:v>4.3</c:v>
                </c:pt>
                <c:pt idx="593">
                  <c:v>5.45</c:v>
                </c:pt>
                <c:pt idx="594">
                  <c:v>3.75</c:v>
                </c:pt>
                <c:pt idx="595">
                  <c:v>11.9</c:v>
                </c:pt>
                <c:pt idx="596">
                  <c:v>7.6</c:v>
                </c:pt>
                <c:pt idx="597">
                  <c:v>7.6</c:v>
                </c:pt>
                <c:pt idx="598">
                  <c:v>9.5</c:v>
                </c:pt>
                <c:pt idx="599">
                  <c:v>7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B4-4B82-BB32-4ABA506B12EF}"/>
            </c:ext>
          </c:extLst>
        </c:ser>
        <c:ser>
          <c:idx val="4"/>
          <c:order val="4"/>
          <c:tx>
            <c:strRef>
              <c:f>Sheet1!$P$3</c:f>
              <c:strCache>
                <c:ptCount val="1"/>
                <c:pt idx="0">
                  <c:v>Pзаб</c:v>
                </c:pt>
              </c:strCache>
            </c:strRef>
          </c:tx>
          <c:spPr>
            <a:ln w="19050">
              <a:noFill/>
            </a:ln>
          </c:spPr>
          <c:marker>
            <c:spPr>
              <a:noFill/>
              <a:ln>
                <a:solidFill>
                  <a:srgbClr val="AEBD15">
                    <a:lumMod val="75000"/>
                  </a:srgbClr>
                </a:solidFill>
              </a:ln>
            </c:spPr>
          </c:marker>
          <c:xVal>
            <c:numRef>
              <c:f>Sheet1!$A$65:$A$700</c:f>
              <c:numCache>
                <c:formatCode>General</c:formatCode>
                <c:ptCount val="63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  <c:pt idx="472">
                  <c:v>473</c:v>
                </c:pt>
                <c:pt idx="473">
                  <c:v>474</c:v>
                </c:pt>
                <c:pt idx="474">
                  <c:v>475</c:v>
                </c:pt>
                <c:pt idx="475">
                  <c:v>476</c:v>
                </c:pt>
                <c:pt idx="476">
                  <c:v>477</c:v>
                </c:pt>
                <c:pt idx="477">
                  <c:v>478</c:v>
                </c:pt>
                <c:pt idx="478">
                  <c:v>479</c:v>
                </c:pt>
                <c:pt idx="479">
                  <c:v>480</c:v>
                </c:pt>
                <c:pt idx="480">
                  <c:v>481</c:v>
                </c:pt>
                <c:pt idx="481">
                  <c:v>482</c:v>
                </c:pt>
                <c:pt idx="482">
                  <c:v>483</c:v>
                </c:pt>
                <c:pt idx="483">
                  <c:v>484</c:v>
                </c:pt>
                <c:pt idx="484">
                  <c:v>485</c:v>
                </c:pt>
                <c:pt idx="485">
                  <c:v>486</c:v>
                </c:pt>
                <c:pt idx="486">
                  <c:v>487</c:v>
                </c:pt>
                <c:pt idx="487">
                  <c:v>488</c:v>
                </c:pt>
                <c:pt idx="488">
                  <c:v>489</c:v>
                </c:pt>
                <c:pt idx="489">
                  <c:v>490</c:v>
                </c:pt>
                <c:pt idx="490">
                  <c:v>491</c:v>
                </c:pt>
                <c:pt idx="491">
                  <c:v>492</c:v>
                </c:pt>
                <c:pt idx="492">
                  <c:v>493</c:v>
                </c:pt>
                <c:pt idx="493">
                  <c:v>494</c:v>
                </c:pt>
                <c:pt idx="494">
                  <c:v>495</c:v>
                </c:pt>
                <c:pt idx="495">
                  <c:v>496</c:v>
                </c:pt>
                <c:pt idx="496">
                  <c:v>497</c:v>
                </c:pt>
                <c:pt idx="497">
                  <c:v>498</c:v>
                </c:pt>
                <c:pt idx="498">
                  <c:v>499</c:v>
                </c:pt>
                <c:pt idx="499">
                  <c:v>500</c:v>
                </c:pt>
                <c:pt idx="500">
                  <c:v>501</c:v>
                </c:pt>
                <c:pt idx="501">
                  <c:v>502</c:v>
                </c:pt>
                <c:pt idx="502">
                  <c:v>503</c:v>
                </c:pt>
                <c:pt idx="503">
                  <c:v>504</c:v>
                </c:pt>
                <c:pt idx="504">
                  <c:v>505</c:v>
                </c:pt>
                <c:pt idx="505">
                  <c:v>506</c:v>
                </c:pt>
                <c:pt idx="506">
                  <c:v>507</c:v>
                </c:pt>
                <c:pt idx="507">
                  <c:v>508</c:v>
                </c:pt>
                <c:pt idx="508">
                  <c:v>509</c:v>
                </c:pt>
                <c:pt idx="509">
                  <c:v>510</c:v>
                </c:pt>
                <c:pt idx="510">
                  <c:v>511</c:v>
                </c:pt>
                <c:pt idx="511">
                  <c:v>512</c:v>
                </c:pt>
                <c:pt idx="512">
                  <c:v>513</c:v>
                </c:pt>
                <c:pt idx="513">
                  <c:v>514</c:v>
                </c:pt>
                <c:pt idx="514">
                  <c:v>515</c:v>
                </c:pt>
                <c:pt idx="515">
                  <c:v>516</c:v>
                </c:pt>
                <c:pt idx="516">
                  <c:v>517</c:v>
                </c:pt>
                <c:pt idx="517">
                  <c:v>518</c:v>
                </c:pt>
                <c:pt idx="518">
                  <c:v>519</c:v>
                </c:pt>
                <c:pt idx="519">
                  <c:v>520</c:v>
                </c:pt>
                <c:pt idx="520">
                  <c:v>521</c:v>
                </c:pt>
                <c:pt idx="521">
                  <c:v>522</c:v>
                </c:pt>
                <c:pt idx="522">
                  <c:v>523</c:v>
                </c:pt>
                <c:pt idx="523">
                  <c:v>524</c:v>
                </c:pt>
                <c:pt idx="524">
                  <c:v>525</c:v>
                </c:pt>
                <c:pt idx="525">
                  <c:v>526</c:v>
                </c:pt>
                <c:pt idx="526">
                  <c:v>527</c:v>
                </c:pt>
                <c:pt idx="527">
                  <c:v>528</c:v>
                </c:pt>
                <c:pt idx="528">
                  <c:v>529</c:v>
                </c:pt>
                <c:pt idx="529">
                  <c:v>530</c:v>
                </c:pt>
                <c:pt idx="530">
                  <c:v>531</c:v>
                </c:pt>
                <c:pt idx="531">
                  <c:v>532</c:v>
                </c:pt>
                <c:pt idx="532">
                  <c:v>533</c:v>
                </c:pt>
                <c:pt idx="533">
                  <c:v>534</c:v>
                </c:pt>
                <c:pt idx="534">
                  <c:v>535</c:v>
                </c:pt>
                <c:pt idx="535">
                  <c:v>536</c:v>
                </c:pt>
                <c:pt idx="536">
                  <c:v>537</c:v>
                </c:pt>
                <c:pt idx="537">
                  <c:v>538</c:v>
                </c:pt>
                <c:pt idx="538">
                  <c:v>539</c:v>
                </c:pt>
                <c:pt idx="539">
                  <c:v>540</c:v>
                </c:pt>
                <c:pt idx="540">
                  <c:v>541</c:v>
                </c:pt>
                <c:pt idx="541">
                  <c:v>542</c:v>
                </c:pt>
                <c:pt idx="542">
                  <c:v>543</c:v>
                </c:pt>
                <c:pt idx="543">
                  <c:v>544</c:v>
                </c:pt>
                <c:pt idx="544">
                  <c:v>545</c:v>
                </c:pt>
                <c:pt idx="545">
                  <c:v>546</c:v>
                </c:pt>
                <c:pt idx="546">
                  <c:v>547</c:v>
                </c:pt>
                <c:pt idx="547">
                  <c:v>548</c:v>
                </c:pt>
                <c:pt idx="548">
                  <c:v>549</c:v>
                </c:pt>
                <c:pt idx="549">
                  <c:v>550</c:v>
                </c:pt>
                <c:pt idx="550">
                  <c:v>551</c:v>
                </c:pt>
                <c:pt idx="551">
                  <c:v>552</c:v>
                </c:pt>
                <c:pt idx="552">
                  <c:v>553</c:v>
                </c:pt>
                <c:pt idx="553">
                  <c:v>554</c:v>
                </c:pt>
                <c:pt idx="554">
                  <c:v>555</c:v>
                </c:pt>
                <c:pt idx="555">
                  <c:v>556</c:v>
                </c:pt>
                <c:pt idx="556">
                  <c:v>557</c:v>
                </c:pt>
                <c:pt idx="557">
                  <c:v>558</c:v>
                </c:pt>
                <c:pt idx="558">
                  <c:v>559</c:v>
                </c:pt>
                <c:pt idx="559">
                  <c:v>560</c:v>
                </c:pt>
                <c:pt idx="560">
                  <c:v>561</c:v>
                </c:pt>
                <c:pt idx="561">
                  <c:v>562</c:v>
                </c:pt>
                <c:pt idx="562">
                  <c:v>563</c:v>
                </c:pt>
                <c:pt idx="563">
                  <c:v>564</c:v>
                </c:pt>
                <c:pt idx="564">
                  <c:v>565</c:v>
                </c:pt>
                <c:pt idx="565">
                  <c:v>566</c:v>
                </c:pt>
                <c:pt idx="566">
                  <c:v>567</c:v>
                </c:pt>
                <c:pt idx="567">
                  <c:v>568</c:v>
                </c:pt>
                <c:pt idx="568">
                  <c:v>569</c:v>
                </c:pt>
                <c:pt idx="569">
                  <c:v>570</c:v>
                </c:pt>
                <c:pt idx="570">
                  <c:v>571</c:v>
                </c:pt>
                <c:pt idx="571">
                  <c:v>572</c:v>
                </c:pt>
                <c:pt idx="572">
                  <c:v>573</c:v>
                </c:pt>
                <c:pt idx="573">
                  <c:v>574</c:v>
                </c:pt>
                <c:pt idx="574">
                  <c:v>575</c:v>
                </c:pt>
                <c:pt idx="575">
                  <c:v>576</c:v>
                </c:pt>
                <c:pt idx="576">
                  <c:v>577</c:v>
                </c:pt>
                <c:pt idx="577">
                  <c:v>578</c:v>
                </c:pt>
                <c:pt idx="578">
                  <c:v>579</c:v>
                </c:pt>
                <c:pt idx="579">
                  <c:v>580</c:v>
                </c:pt>
                <c:pt idx="580">
                  <c:v>581</c:v>
                </c:pt>
                <c:pt idx="581">
                  <c:v>582</c:v>
                </c:pt>
                <c:pt idx="582">
                  <c:v>583</c:v>
                </c:pt>
                <c:pt idx="583">
                  <c:v>584</c:v>
                </c:pt>
                <c:pt idx="584">
                  <c:v>585</c:v>
                </c:pt>
                <c:pt idx="585">
                  <c:v>586</c:v>
                </c:pt>
                <c:pt idx="586">
                  <c:v>587</c:v>
                </c:pt>
                <c:pt idx="587">
                  <c:v>588</c:v>
                </c:pt>
                <c:pt idx="588">
                  <c:v>589</c:v>
                </c:pt>
                <c:pt idx="589">
                  <c:v>590</c:v>
                </c:pt>
                <c:pt idx="590">
                  <c:v>591</c:v>
                </c:pt>
                <c:pt idx="591">
                  <c:v>592</c:v>
                </c:pt>
                <c:pt idx="592">
                  <c:v>593</c:v>
                </c:pt>
                <c:pt idx="593">
                  <c:v>594</c:v>
                </c:pt>
                <c:pt idx="594">
                  <c:v>595</c:v>
                </c:pt>
                <c:pt idx="595">
                  <c:v>596</c:v>
                </c:pt>
                <c:pt idx="596">
                  <c:v>597</c:v>
                </c:pt>
                <c:pt idx="597">
                  <c:v>598</c:v>
                </c:pt>
                <c:pt idx="598">
                  <c:v>599</c:v>
                </c:pt>
                <c:pt idx="599">
                  <c:v>600</c:v>
                </c:pt>
                <c:pt idx="600">
                  <c:v>601</c:v>
                </c:pt>
                <c:pt idx="601">
                  <c:v>602</c:v>
                </c:pt>
                <c:pt idx="602">
                  <c:v>603</c:v>
                </c:pt>
                <c:pt idx="603">
                  <c:v>604</c:v>
                </c:pt>
                <c:pt idx="604">
                  <c:v>605</c:v>
                </c:pt>
                <c:pt idx="605">
                  <c:v>606</c:v>
                </c:pt>
                <c:pt idx="606">
                  <c:v>607</c:v>
                </c:pt>
                <c:pt idx="607">
                  <c:v>608</c:v>
                </c:pt>
                <c:pt idx="608">
                  <c:v>609</c:v>
                </c:pt>
                <c:pt idx="609">
                  <c:v>610</c:v>
                </c:pt>
                <c:pt idx="610">
                  <c:v>611</c:v>
                </c:pt>
                <c:pt idx="611">
                  <c:v>612</c:v>
                </c:pt>
                <c:pt idx="612">
                  <c:v>613</c:v>
                </c:pt>
                <c:pt idx="613">
                  <c:v>614</c:v>
                </c:pt>
                <c:pt idx="614">
                  <c:v>615</c:v>
                </c:pt>
                <c:pt idx="615">
                  <c:v>616</c:v>
                </c:pt>
                <c:pt idx="616">
                  <c:v>617</c:v>
                </c:pt>
                <c:pt idx="617">
                  <c:v>618</c:v>
                </c:pt>
                <c:pt idx="618">
                  <c:v>619</c:v>
                </c:pt>
                <c:pt idx="619">
                  <c:v>620</c:v>
                </c:pt>
                <c:pt idx="620">
                  <c:v>621</c:v>
                </c:pt>
                <c:pt idx="621">
                  <c:v>622</c:v>
                </c:pt>
                <c:pt idx="622">
                  <c:v>623</c:v>
                </c:pt>
                <c:pt idx="623">
                  <c:v>624</c:v>
                </c:pt>
                <c:pt idx="624">
                  <c:v>625</c:v>
                </c:pt>
                <c:pt idx="625">
                  <c:v>626</c:v>
                </c:pt>
                <c:pt idx="626">
                  <c:v>627</c:v>
                </c:pt>
                <c:pt idx="627">
                  <c:v>628</c:v>
                </c:pt>
                <c:pt idx="628">
                  <c:v>629</c:v>
                </c:pt>
                <c:pt idx="629">
                  <c:v>630</c:v>
                </c:pt>
                <c:pt idx="630">
                  <c:v>631</c:v>
                </c:pt>
                <c:pt idx="631">
                  <c:v>632</c:v>
                </c:pt>
                <c:pt idx="632">
                  <c:v>633</c:v>
                </c:pt>
                <c:pt idx="633">
                  <c:v>634</c:v>
                </c:pt>
                <c:pt idx="634">
                  <c:v>635</c:v>
                </c:pt>
                <c:pt idx="635">
                  <c:v>636</c:v>
                </c:pt>
              </c:numCache>
            </c:numRef>
          </c:xVal>
          <c:yVal>
            <c:numRef>
              <c:f>Sheet1!$P$65:$P$700</c:f>
              <c:numCache>
                <c:formatCode>General</c:formatCode>
                <c:ptCount val="636"/>
                <c:pt idx="107">
                  <c:v>41</c:v>
                </c:pt>
                <c:pt idx="108">
                  <c:v>40</c:v>
                </c:pt>
                <c:pt idx="109">
                  <c:v>41</c:v>
                </c:pt>
                <c:pt idx="110">
                  <c:v>41</c:v>
                </c:pt>
                <c:pt idx="111">
                  <c:v>41</c:v>
                </c:pt>
                <c:pt idx="112">
                  <c:v>42</c:v>
                </c:pt>
                <c:pt idx="113">
                  <c:v>42</c:v>
                </c:pt>
                <c:pt idx="114">
                  <c:v>43</c:v>
                </c:pt>
                <c:pt idx="115">
                  <c:v>42</c:v>
                </c:pt>
                <c:pt idx="116">
                  <c:v>42</c:v>
                </c:pt>
                <c:pt idx="117">
                  <c:v>42</c:v>
                </c:pt>
                <c:pt idx="118">
                  <c:v>42</c:v>
                </c:pt>
                <c:pt idx="119">
                  <c:v>42</c:v>
                </c:pt>
                <c:pt idx="120">
                  <c:v>42</c:v>
                </c:pt>
                <c:pt idx="121">
                  <c:v>42</c:v>
                </c:pt>
                <c:pt idx="122">
                  <c:v>41</c:v>
                </c:pt>
                <c:pt idx="123">
                  <c:v>38</c:v>
                </c:pt>
                <c:pt idx="124">
                  <c:v>38</c:v>
                </c:pt>
                <c:pt idx="125">
                  <c:v>36</c:v>
                </c:pt>
                <c:pt idx="126">
                  <c:v>37</c:v>
                </c:pt>
                <c:pt idx="127">
                  <c:v>37</c:v>
                </c:pt>
                <c:pt idx="128">
                  <c:v>37</c:v>
                </c:pt>
                <c:pt idx="129">
                  <c:v>36</c:v>
                </c:pt>
                <c:pt idx="130">
                  <c:v>31</c:v>
                </c:pt>
                <c:pt idx="131">
                  <c:v>36</c:v>
                </c:pt>
                <c:pt idx="132">
                  <c:v>33</c:v>
                </c:pt>
                <c:pt idx="133">
                  <c:v>36</c:v>
                </c:pt>
                <c:pt idx="134">
                  <c:v>35</c:v>
                </c:pt>
                <c:pt idx="135">
                  <c:v>32</c:v>
                </c:pt>
                <c:pt idx="136">
                  <c:v>33</c:v>
                </c:pt>
                <c:pt idx="137">
                  <c:v>33</c:v>
                </c:pt>
                <c:pt idx="138">
                  <c:v>34</c:v>
                </c:pt>
                <c:pt idx="139">
                  <c:v>32</c:v>
                </c:pt>
                <c:pt idx="140">
                  <c:v>31</c:v>
                </c:pt>
                <c:pt idx="141">
                  <c:v>31</c:v>
                </c:pt>
                <c:pt idx="142">
                  <c:v>31</c:v>
                </c:pt>
                <c:pt idx="143">
                  <c:v>31</c:v>
                </c:pt>
                <c:pt idx="144">
                  <c:v>31</c:v>
                </c:pt>
                <c:pt idx="145">
                  <c:v>31</c:v>
                </c:pt>
                <c:pt idx="146">
                  <c:v>31</c:v>
                </c:pt>
                <c:pt idx="147">
                  <c:v>31</c:v>
                </c:pt>
                <c:pt idx="148">
                  <c:v>30</c:v>
                </c:pt>
                <c:pt idx="149">
                  <c:v>30</c:v>
                </c:pt>
                <c:pt idx="150">
                  <c:v>31</c:v>
                </c:pt>
                <c:pt idx="151">
                  <c:v>31</c:v>
                </c:pt>
                <c:pt idx="152">
                  <c:v>31</c:v>
                </c:pt>
                <c:pt idx="153">
                  <c:v>31</c:v>
                </c:pt>
                <c:pt idx="154">
                  <c:v>31</c:v>
                </c:pt>
                <c:pt idx="155">
                  <c:v>32</c:v>
                </c:pt>
                <c:pt idx="156">
                  <c:v>32</c:v>
                </c:pt>
                <c:pt idx="157">
                  <c:v>31</c:v>
                </c:pt>
                <c:pt idx="158">
                  <c:v>31</c:v>
                </c:pt>
                <c:pt idx="159">
                  <c:v>31</c:v>
                </c:pt>
                <c:pt idx="160">
                  <c:v>31</c:v>
                </c:pt>
                <c:pt idx="161">
                  <c:v>31</c:v>
                </c:pt>
                <c:pt idx="162">
                  <c:v>31</c:v>
                </c:pt>
                <c:pt idx="163">
                  <c:v>30</c:v>
                </c:pt>
                <c:pt idx="164">
                  <c:v>30</c:v>
                </c:pt>
                <c:pt idx="165">
                  <c:v>30</c:v>
                </c:pt>
                <c:pt idx="166">
                  <c:v>30</c:v>
                </c:pt>
                <c:pt idx="167">
                  <c:v>30</c:v>
                </c:pt>
                <c:pt idx="168">
                  <c:v>31</c:v>
                </c:pt>
                <c:pt idx="169">
                  <c:v>31</c:v>
                </c:pt>
                <c:pt idx="170">
                  <c:v>30</c:v>
                </c:pt>
                <c:pt idx="171">
                  <c:v>30</c:v>
                </c:pt>
                <c:pt idx="172">
                  <c:v>30</c:v>
                </c:pt>
                <c:pt idx="173">
                  <c:v>40</c:v>
                </c:pt>
                <c:pt idx="174">
                  <c:v>41</c:v>
                </c:pt>
                <c:pt idx="175">
                  <c:v>41</c:v>
                </c:pt>
                <c:pt idx="176">
                  <c:v>40</c:v>
                </c:pt>
                <c:pt idx="177">
                  <c:v>38</c:v>
                </c:pt>
                <c:pt idx="178">
                  <c:v>39</c:v>
                </c:pt>
                <c:pt idx="179">
                  <c:v>39</c:v>
                </c:pt>
                <c:pt idx="180">
                  <c:v>39</c:v>
                </c:pt>
                <c:pt idx="181">
                  <c:v>39</c:v>
                </c:pt>
                <c:pt idx="182">
                  <c:v>39</c:v>
                </c:pt>
                <c:pt idx="183">
                  <c:v>39</c:v>
                </c:pt>
                <c:pt idx="184">
                  <c:v>39</c:v>
                </c:pt>
                <c:pt idx="185">
                  <c:v>39</c:v>
                </c:pt>
                <c:pt idx="186">
                  <c:v>39</c:v>
                </c:pt>
                <c:pt idx="187">
                  <c:v>39</c:v>
                </c:pt>
                <c:pt idx="188">
                  <c:v>39</c:v>
                </c:pt>
                <c:pt idx="189">
                  <c:v>39</c:v>
                </c:pt>
                <c:pt idx="190">
                  <c:v>39</c:v>
                </c:pt>
                <c:pt idx="191">
                  <c:v>39</c:v>
                </c:pt>
                <c:pt idx="192">
                  <c:v>39</c:v>
                </c:pt>
                <c:pt idx="193">
                  <c:v>39</c:v>
                </c:pt>
                <c:pt idx="194">
                  <c:v>39</c:v>
                </c:pt>
                <c:pt idx="195">
                  <c:v>39</c:v>
                </c:pt>
                <c:pt idx="196">
                  <c:v>39</c:v>
                </c:pt>
                <c:pt idx="197">
                  <c:v>30</c:v>
                </c:pt>
                <c:pt idx="198">
                  <c:v>30</c:v>
                </c:pt>
                <c:pt idx="199">
                  <c:v>31</c:v>
                </c:pt>
                <c:pt idx="200">
                  <c:v>30</c:v>
                </c:pt>
                <c:pt idx="201">
                  <c:v>30</c:v>
                </c:pt>
                <c:pt idx="202">
                  <c:v>30</c:v>
                </c:pt>
                <c:pt idx="203">
                  <c:v>31</c:v>
                </c:pt>
                <c:pt idx="204">
                  <c:v>31</c:v>
                </c:pt>
                <c:pt idx="205">
                  <c:v>30</c:v>
                </c:pt>
                <c:pt idx="206">
                  <c:v>30</c:v>
                </c:pt>
                <c:pt idx="207">
                  <c:v>30</c:v>
                </c:pt>
                <c:pt idx="208">
                  <c:v>30</c:v>
                </c:pt>
                <c:pt idx="209">
                  <c:v>30</c:v>
                </c:pt>
                <c:pt idx="210">
                  <c:v>30</c:v>
                </c:pt>
                <c:pt idx="211">
                  <c:v>30</c:v>
                </c:pt>
                <c:pt idx="212">
                  <c:v>30</c:v>
                </c:pt>
                <c:pt idx="213">
                  <c:v>30</c:v>
                </c:pt>
                <c:pt idx="214">
                  <c:v>29</c:v>
                </c:pt>
                <c:pt idx="215">
                  <c:v>29</c:v>
                </c:pt>
                <c:pt idx="216">
                  <c:v>29</c:v>
                </c:pt>
                <c:pt idx="217">
                  <c:v>29</c:v>
                </c:pt>
                <c:pt idx="218">
                  <c:v>29</c:v>
                </c:pt>
                <c:pt idx="219">
                  <c:v>29</c:v>
                </c:pt>
                <c:pt idx="220">
                  <c:v>29</c:v>
                </c:pt>
                <c:pt idx="221">
                  <c:v>29</c:v>
                </c:pt>
                <c:pt idx="222">
                  <c:v>29</c:v>
                </c:pt>
                <c:pt idx="223">
                  <c:v>30</c:v>
                </c:pt>
                <c:pt idx="224">
                  <c:v>30</c:v>
                </c:pt>
                <c:pt idx="225">
                  <c:v>30</c:v>
                </c:pt>
                <c:pt idx="226">
                  <c:v>30</c:v>
                </c:pt>
                <c:pt idx="227">
                  <c:v>30</c:v>
                </c:pt>
                <c:pt idx="228">
                  <c:v>30</c:v>
                </c:pt>
                <c:pt idx="229">
                  <c:v>31</c:v>
                </c:pt>
                <c:pt idx="230">
                  <c:v>31</c:v>
                </c:pt>
                <c:pt idx="231">
                  <c:v>31</c:v>
                </c:pt>
                <c:pt idx="232">
                  <c:v>32</c:v>
                </c:pt>
                <c:pt idx="233">
                  <c:v>32</c:v>
                </c:pt>
                <c:pt idx="234">
                  <c:v>32</c:v>
                </c:pt>
                <c:pt idx="235">
                  <c:v>32</c:v>
                </c:pt>
                <c:pt idx="236">
                  <c:v>32</c:v>
                </c:pt>
                <c:pt idx="237">
                  <c:v>32</c:v>
                </c:pt>
                <c:pt idx="238">
                  <c:v>32</c:v>
                </c:pt>
                <c:pt idx="239">
                  <c:v>31</c:v>
                </c:pt>
                <c:pt idx="240">
                  <c:v>31</c:v>
                </c:pt>
                <c:pt idx="241">
                  <c:v>31</c:v>
                </c:pt>
                <c:pt idx="242">
                  <c:v>31</c:v>
                </c:pt>
                <c:pt idx="243">
                  <c:v>30</c:v>
                </c:pt>
                <c:pt idx="244">
                  <c:v>30</c:v>
                </c:pt>
                <c:pt idx="245">
                  <c:v>30</c:v>
                </c:pt>
                <c:pt idx="246">
                  <c:v>31</c:v>
                </c:pt>
                <c:pt idx="247">
                  <c:v>32</c:v>
                </c:pt>
                <c:pt idx="248">
                  <c:v>32</c:v>
                </c:pt>
                <c:pt idx="249">
                  <c:v>32</c:v>
                </c:pt>
                <c:pt idx="250">
                  <c:v>32</c:v>
                </c:pt>
                <c:pt idx="251">
                  <c:v>32</c:v>
                </c:pt>
                <c:pt idx="252">
                  <c:v>33</c:v>
                </c:pt>
                <c:pt idx="253">
                  <c:v>32</c:v>
                </c:pt>
                <c:pt idx="254">
                  <c:v>32</c:v>
                </c:pt>
                <c:pt idx="255">
                  <c:v>32</c:v>
                </c:pt>
                <c:pt idx="256">
                  <c:v>32</c:v>
                </c:pt>
                <c:pt idx="257">
                  <c:v>32</c:v>
                </c:pt>
                <c:pt idx="258">
                  <c:v>32</c:v>
                </c:pt>
                <c:pt idx="259">
                  <c:v>32</c:v>
                </c:pt>
                <c:pt idx="260">
                  <c:v>32</c:v>
                </c:pt>
                <c:pt idx="261">
                  <c:v>32</c:v>
                </c:pt>
                <c:pt idx="262">
                  <c:v>32</c:v>
                </c:pt>
                <c:pt idx="263">
                  <c:v>32</c:v>
                </c:pt>
                <c:pt idx="264">
                  <c:v>32</c:v>
                </c:pt>
                <c:pt idx="265">
                  <c:v>32</c:v>
                </c:pt>
                <c:pt idx="266">
                  <c:v>32</c:v>
                </c:pt>
                <c:pt idx="267">
                  <c:v>32</c:v>
                </c:pt>
                <c:pt idx="268">
                  <c:v>32</c:v>
                </c:pt>
                <c:pt idx="269">
                  <c:v>32</c:v>
                </c:pt>
                <c:pt idx="270">
                  <c:v>32</c:v>
                </c:pt>
                <c:pt idx="271">
                  <c:v>32</c:v>
                </c:pt>
                <c:pt idx="272">
                  <c:v>32</c:v>
                </c:pt>
                <c:pt idx="273">
                  <c:v>32</c:v>
                </c:pt>
                <c:pt idx="274">
                  <c:v>32</c:v>
                </c:pt>
                <c:pt idx="275">
                  <c:v>32</c:v>
                </c:pt>
                <c:pt idx="276">
                  <c:v>32</c:v>
                </c:pt>
                <c:pt idx="277">
                  <c:v>32</c:v>
                </c:pt>
                <c:pt idx="278">
                  <c:v>32</c:v>
                </c:pt>
                <c:pt idx="279">
                  <c:v>32</c:v>
                </c:pt>
                <c:pt idx="280">
                  <c:v>32</c:v>
                </c:pt>
                <c:pt idx="281">
                  <c:v>32</c:v>
                </c:pt>
                <c:pt idx="282">
                  <c:v>32</c:v>
                </c:pt>
                <c:pt idx="283">
                  <c:v>32</c:v>
                </c:pt>
                <c:pt idx="284">
                  <c:v>32</c:v>
                </c:pt>
                <c:pt idx="285">
                  <c:v>34</c:v>
                </c:pt>
                <c:pt idx="286">
                  <c:v>33</c:v>
                </c:pt>
                <c:pt idx="287">
                  <c:v>32</c:v>
                </c:pt>
                <c:pt idx="288">
                  <c:v>31</c:v>
                </c:pt>
                <c:pt idx="289">
                  <c:v>31</c:v>
                </c:pt>
                <c:pt idx="290">
                  <c:v>31</c:v>
                </c:pt>
                <c:pt idx="291">
                  <c:v>31</c:v>
                </c:pt>
                <c:pt idx="292">
                  <c:v>31</c:v>
                </c:pt>
                <c:pt idx="293">
                  <c:v>31</c:v>
                </c:pt>
                <c:pt idx="294">
                  <c:v>31</c:v>
                </c:pt>
                <c:pt idx="295">
                  <c:v>31</c:v>
                </c:pt>
                <c:pt idx="296">
                  <c:v>32</c:v>
                </c:pt>
                <c:pt idx="297">
                  <c:v>33</c:v>
                </c:pt>
                <c:pt idx="298">
                  <c:v>31</c:v>
                </c:pt>
                <c:pt idx="299">
                  <c:v>31</c:v>
                </c:pt>
                <c:pt idx="300">
                  <c:v>30</c:v>
                </c:pt>
                <c:pt idx="301">
                  <c:v>31</c:v>
                </c:pt>
                <c:pt idx="302">
                  <c:v>30</c:v>
                </c:pt>
                <c:pt idx="303">
                  <c:v>30</c:v>
                </c:pt>
                <c:pt idx="304">
                  <c:v>30</c:v>
                </c:pt>
                <c:pt idx="305">
                  <c:v>30</c:v>
                </c:pt>
                <c:pt idx="306">
                  <c:v>31</c:v>
                </c:pt>
                <c:pt idx="307">
                  <c:v>30</c:v>
                </c:pt>
                <c:pt idx="308">
                  <c:v>30</c:v>
                </c:pt>
                <c:pt idx="309">
                  <c:v>30</c:v>
                </c:pt>
                <c:pt idx="310">
                  <c:v>30</c:v>
                </c:pt>
                <c:pt idx="311">
                  <c:v>30</c:v>
                </c:pt>
                <c:pt idx="312">
                  <c:v>29</c:v>
                </c:pt>
                <c:pt idx="313">
                  <c:v>30</c:v>
                </c:pt>
                <c:pt idx="314">
                  <c:v>29</c:v>
                </c:pt>
                <c:pt idx="315">
                  <c:v>29</c:v>
                </c:pt>
                <c:pt idx="316">
                  <c:v>29</c:v>
                </c:pt>
                <c:pt idx="317">
                  <c:v>29</c:v>
                </c:pt>
                <c:pt idx="318">
                  <c:v>28</c:v>
                </c:pt>
                <c:pt idx="319">
                  <c:v>30</c:v>
                </c:pt>
                <c:pt idx="320">
                  <c:v>30</c:v>
                </c:pt>
                <c:pt idx="321">
                  <c:v>29</c:v>
                </c:pt>
                <c:pt idx="322">
                  <c:v>29</c:v>
                </c:pt>
                <c:pt idx="323">
                  <c:v>29</c:v>
                </c:pt>
                <c:pt idx="324">
                  <c:v>29</c:v>
                </c:pt>
                <c:pt idx="325">
                  <c:v>29</c:v>
                </c:pt>
                <c:pt idx="326">
                  <c:v>34</c:v>
                </c:pt>
                <c:pt idx="327">
                  <c:v>34</c:v>
                </c:pt>
                <c:pt idx="328">
                  <c:v>34</c:v>
                </c:pt>
                <c:pt idx="329">
                  <c:v>34</c:v>
                </c:pt>
                <c:pt idx="330">
                  <c:v>34</c:v>
                </c:pt>
                <c:pt idx="331">
                  <c:v>34</c:v>
                </c:pt>
                <c:pt idx="332">
                  <c:v>34</c:v>
                </c:pt>
                <c:pt idx="333">
                  <c:v>28</c:v>
                </c:pt>
                <c:pt idx="334">
                  <c:v>28</c:v>
                </c:pt>
                <c:pt idx="335">
                  <c:v>28</c:v>
                </c:pt>
                <c:pt idx="336">
                  <c:v>28</c:v>
                </c:pt>
                <c:pt idx="337">
                  <c:v>28</c:v>
                </c:pt>
                <c:pt idx="338">
                  <c:v>28</c:v>
                </c:pt>
                <c:pt idx="339">
                  <c:v>28</c:v>
                </c:pt>
                <c:pt idx="340">
                  <c:v>28</c:v>
                </c:pt>
                <c:pt idx="341">
                  <c:v>28</c:v>
                </c:pt>
                <c:pt idx="342">
                  <c:v>28</c:v>
                </c:pt>
                <c:pt idx="343">
                  <c:v>28</c:v>
                </c:pt>
                <c:pt idx="344">
                  <c:v>27</c:v>
                </c:pt>
                <c:pt idx="345">
                  <c:v>27</c:v>
                </c:pt>
                <c:pt idx="346">
                  <c:v>27</c:v>
                </c:pt>
                <c:pt idx="347">
                  <c:v>27</c:v>
                </c:pt>
                <c:pt idx="348">
                  <c:v>29</c:v>
                </c:pt>
                <c:pt idx="349">
                  <c:v>27</c:v>
                </c:pt>
                <c:pt idx="350">
                  <c:v>26</c:v>
                </c:pt>
                <c:pt idx="351">
                  <c:v>26</c:v>
                </c:pt>
                <c:pt idx="352">
                  <c:v>26</c:v>
                </c:pt>
                <c:pt idx="353">
                  <c:v>26</c:v>
                </c:pt>
                <c:pt idx="354">
                  <c:v>26</c:v>
                </c:pt>
                <c:pt idx="355">
                  <c:v>26</c:v>
                </c:pt>
                <c:pt idx="356">
                  <c:v>26</c:v>
                </c:pt>
                <c:pt idx="357">
                  <c:v>26</c:v>
                </c:pt>
                <c:pt idx="358">
                  <c:v>26</c:v>
                </c:pt>
                <c:pt idx="359">
                  <c:v>26</c:v>
                </c:pt>
                <c:pt idx="360">
                  <c:v>26</c:v>
                </c:pt>
                <c:pt idx="361">
                  <c:v>26</c:v>
                </c:pt>
                <c:pt idx="362">
                  <c:v>26</c:v>
                </c:pt>
                <c:pt idx="363">
                  <c:v>26</c:v>
                </c:pt>
                <c:pt idx="364">
                  <c:v>26.39</c:v>
                </c:pt>
                <c:pt idx="365">
                  <c:v>26.3</c:v>
                </c:pt>
                <c:pt idx="366">
                  <c:v>26.02</c:v>
                </c:pt>
                <c:pt idx="367">
                  <c:v>26.3</c:v>
                </c:pt>
                <c:pt idx="368">
                  <c:v>26.23</c:v>
                </c:pt>
                <c:pt idx="369">
                  <c:v>25.34</c:v>
                </c:pt>
                <c:pt idx="370">
                  <c:v>25.67</c:v>
                </c:pt>
                <c:pt idx="371">
                  <c:v>25.77</c:v>
                </c:pt>
                <c:pt idx="372">
                  <c:v>25.63</c:v>
                </c:pt>
                <c:pt idx="373">
                  <c:v>25.75</c:v>
                </c:pt>
                <c:pt idx="374">
                  <c:v>25.75</c:v>
                </c:pt>
                <c:pt idx="375">
                  <c:v>25.75</c:v>
                </c:pt>
                <c:pt idx="376">
                  <c:v>25.75</c:v>
                </c:pt>
                <c:pt idx="377">
                  <c:v>25.75</c:v>
                </c:pt>
                <c:pt idx="378">
                  <c:v>25.75</c:v>
                </c:pt>
                <c:pt idx="379">
                  <c:v>25.21</c:v>
                </c:pt>
                <c:pt idx="380">
                  <c:v>25.21</c:v>
                </c:pt>
                <c:pt idx="381">
                  <c:v>25.21</c:v>
                </c:pt>
                <c:pt idx="382">
                  <c:v>25.21</c:v>
                </c:pt>
                <c:pt idx="383">
                  <c:v>25.21</c:v>
                </c:pt>
                <c:pt idx="384">
                  <c:v>25.21</c:v>
                </c:pt>
                <c:pt idx="385">
                  <c:v>25.21</c:v>
                </c:pt>
                <c:pt idx="386">
                  <c:v>25.31</c:v>
                </c:pt>
                <c:pt idx="387">
                  <c:v>24.98</c:v>
                </c:pt>
                <c:pt idx="388">
                  <c:v>25.07</c:v>
                </c:pt>
                <c:pt idx="389">
                  <c:v>25.07</c:v>
                </c:pt>
                <c:pt idx="390">
                  <c:v>25.13</c:v>
                </c:pt>
                <c:pt idx="391">
                  <c:v>25.13</c:v>
                </c:pt>
                <c:pt idx="392">
                  <c:v>25.13</c:v>
                </c:pt>
                <c:pt idx="393">
                  <c:v>25.13</c:v>
                </c:pt>
                <c:pt idx="394">
                  <c:v>25.13</c:v>
                </c:pt>
                <c:pt idx="395">
                  <c:v>25.13</c:v>
                </c:pt>
                <c:pt idx="396">
                  <c:v>24.96</c:v>
                </c:pt>
                <c:pt idx="397">
                  <c:v>24.96</c:v>
                </c:pt>
                <c:pt idx="398">
                  <c:v>24.96</c:v>
                </c:pt>
                <c:pt idx="399">
                  <c:v>24.96</c:v>
                </c:pt>
                <c:pt idx="400">
                  <c:v>24.96</c:v>
                </c:pt>
                <c:pt idx="401">
                  <c:v>24.96</c:v>
                </c:pt>
                <c:pt idx="402">
                  <c:v>24.96</c:v>
                </c:pt>
                <c:pt idx="403">
                  <c:v>24.96</c:v>
                </c:pt>
                <c:pt idx="404">
                  <c:v>24.96</c:v>
                </c:pt>
                <c:pt idx="405">
                  <c:v>26.11</c:v>
                </c:pt>
                <c:pt idx="406">
                  <c:v>26.11</c:v>
                </c:pt>
                <c:pt idx="407">
                  <c:v>26.2</c:v>
                </c:pt>
                <c:pt idx="408">
                  <c:v>26.2</c:v>
                </c:pt>
                <c:pt idx="409">
                  <c:v>26.16</c:v>
                </c:pt>
                <c:pt idx="410">
                  <c:v>25.65</c:v>
                </c:pt>
                <c:pt idx="411">
                  <c:v>26.32</c:v>
                </c:pt>
                <c:pt idx="412">
                  <c:v>25.47</c:v>
                </c:pt>
                <c:pt idx="413">
                  <c:v>26.32</c:v>
                </c:pt>
                <c:pt idx="414">
                  <c:v>25.91</c:v>
                </c:pt>
                <c:pt idx="415">
                  <c:v>25.74</c:v>
                </c:pt>
                <c:pt idx="416">
                  <c:v>23.35</c:v>
                </c:pt>
                <c:pt idx="417">
                  <c:v>23.49</c:v>
                </c:pt>
                <c:pt idx="418">
                  <c:v>23.17</c:v>
                </c:pt>
                <c:pt idx="419">
                  <c:v>22.63</c:v>
                </c:pt>
                <c:pt idx="420">
                  <c:v>22.74</c:v>
                </c:pt>
                <c:pt idx="421">
                  <c:v>22.55</c:v>
                </c:pt>
                <c:pt idx="422">
                  <c:v>23.43</c:v>
                </c:pt>
                <c:pt idx="423">
                  <c:v>23.13</c:v>
                </c:pt>
                <c:pt idx="424">
                  <c:v>22.13</c:v>
                </c:pt>
                <c:pt idx="425">
                  <c:v>22.13</c:v>
                </c:pt>
                <c:pt idx="426">
                  <c:v>22.42</c:v>
                </c:pt>
                <c:pt idx="427">
                  <c:v>22.1</c:v>
                </c:pt>
                <c:pt idx="428">
                  <c:v>22.31</c:v>
                </c:pt>
                <c:pt idx="429">
                  <c:v>22.35</c:v>
                </c:pt>
                <c:pt idx="430">
                  <c:v>22.38</c:v>
                </c:pt>
                <c:pt idx="431">
                  <c:v>22.95</c:v>
                </c:pt>
                <c:pt idx="432">
                  <c:v>22.51</c:v>
                </c:pt>
                <c:pt idx="433">
                  <c:v>23.01</c:v>
                </c:pt>
                <c:pt idx="434">
                  <c:v>22.31</c:v>
                </c:pt>
                <c:pt idx="435">
                  <c:v>22.2</c:v>
                </c:pt>
                <c:pt idx="436">
                  <c:v>22.44</c:v>
                </c:pt>
                <c:pt idx="437">
                  <c:v>22.34</c:v>
                </c:pt>
                <c:pt idx="438">
                  <c:v>22.56</c:v>
                </c:pt>
                <c:pt idx="439">
                  <c:v>22.81</c:v>
                </c:pt>
                <c:pt idx="440">
                  <c:v>22.87</c:v>
                </c:pt>
                <c:pt idx="441">
                  <c:v>22.35</c:v>
                </c:pt>
                <c:pt idx="442">
                  <c:v>22.35</c:v>
                </c:pt>
                <c:pt idx="443">
                  <c:v>23</c:v>
                </c:pt>
                <c:pt idx="444">
                  <c:v>23</c:v>
                </c:pt>
                <c:pt idx="445">
                  <c:v>23</c:v>
                </c:pt>
                <c:pt idx="446">
                  <c:v>23</c:v>
                </c:pt>
                <c:pt idx="447">
                  <c:v>23</c:v>
                </c:pt>
                <c:pt idx="448">
                  <c:v>23</c:v>
                </c:pt>
                <c:pt idx="449">
                  <c:v>23.2</c:v>
                </c:pt>
                <c:pt idx="450">
                  <c:v>23.36</c:v>
                </c:pt>
                <c:pt idx="451">
                  <c:v>23.49</c:v>
                </c:pt>
                <c:pt idx="452">
                  <c:v>23.08</c:v>
                </c:pt>
                <c:pt idx="453">
                  <c:v>23.08</c:v>
                </c:pt>
                <c:pt idx="454">
                  <c:v>23.08</c:v>
                </c:pt>
                <c:pt idx="456">
                  <c:v>23.49</c:v>
                </c:pt>
                <c:pt idx="457">
                  <c:v>23.49</c:v>
                </c:pt>
                <c:pt idx="458">
                  <c:v>23.13</c:v>
                </c:pt>
                <c:pt idx="459">
                  <c:v>24.99</c:v>
                </c:pt>
                <c:pt idx="460">
                  <c:v>24.04</c:v>
                </c:pt>
                <c:pt idx="461">
                  <c:v>24.04</c:v>
                </c:pt>
                <c:pt idx="462">
                  <c:v>24.04</c:v>
                </c:pt>
                <c:pt idx="463">
                  <c:v>25.04</c:v>
                </c:pt>
                <c:pt idx="464">
                  <c:v>24.55</c:v>
                </c:pt>
                <c:pt idx="465">
                  <c:v>24.63</c:v>
                </c:pt>
                <c:pt idx="466">
                  <c:v>24.63</c:v>
                </c:pt>
                <c:pt idx="467">
                  <c:v>25.04</c:v>
                </c:pt>
                <c:pt idx="468">
                  <c:v>24.63</c:v>
                </c:pt>
                <c:pt idx="469">
                  <c:v>24.79</c:v>
                </c:pt>
                <c:pt idx="470">
                  <c:v>25.02</c:v>
                </c:pt>
                <c:pt idx="471">
                  <c:v>25</c:v>
                </c:pt>
                <c:pt idx="472">
                  <c:v>24.79</c:v>
                </c:pt>
                <c:pt idx="473">
                  <c:v>25.34</c:v>
                </c:pt>
                <c:pt idx="474">
                  <c:v>25.37</c:v>
                </c:pt>
                <c:pt idx="475">
                  <c:v>25.7</c:v>
                </c:pt>
                <c:pt idx="476">
                  <c:v>25.13</c:v>
                </c:pt>
                <c:pt idx="477">
                  <c:v>25.56</c:v>
                </c:pt>
                <c:pt idx="478">
                  <c:v>24.77</c:v>
                </c:pt>
                <c:pt idx="479">
                  <c:v>25.5</c:v>
                </c:pt>
                <c:pt idx="480">
                  <c:v>26.58</c:v>
                </c:pt>
                <c:pt idx="481">
                  <c:v>24.06</c:v>
                </c:pt>
                <c:pt idx="482">
                  <c:v>26.47</c:v>
                </c:pt>
                <c:pt idx="483">
                  <c:v>24.75</c:v>
                </c:pt>
                <c:pt idx="484">
                  <c:v>24.75</c:v>
                </c:pt>
                <c:pt idx="485">
                  <c:v>24.86</c:v>
                </c:pt>
                <c:pt idx="486">
                  <c:v>25.22</c:v>
                </c:pt>
                <c:pt idx="487">
                  <c:v>24.03</c:v>
                </c:pt>
                <c:pt idx="488">
                  <c:v>21.8</c:v>
                </c:pt>
                <c:pt idx="489">
                  <c:v>21.74</c:v>
                </c:pt>
                <c:pt idx="490">
                  <c:v>21.57</c:v>
                </c:pt>
                <c:pt idx="491">
                  <c:v>20.81</c:v>
                </c:pt>
                <c:pt idx="492">
                  <c:v>19.55</c:v>
                </c:pt>
                <c:pt idx="493">
                  <c:v>19.829999999999998</c:v>
                </c:pt>
                <c:pt idx="494">
                  <c:v>20.100000000000001</c:v>
                </c:pt>
                <c:pt idx="495">
                  <c:v>21.16</c:v>
                </c:pt>
                <c:pt idx="496">
                  <c:v>21.83</c:v>
                </c:pt>
                <c:pt idx="497">
                  <c:v>22.31</c:v>
                </c:pt>
                <c:pt idx="498">
                  <c:v>22</c:v>
                </c:pt>
                <c:pt idx="499">
                  <c:v>22.26</c:v>
                </c:pt>
                <c:pt idx="500">
                  <c:v>22.2</c:v>
                </c:pt>
                <c:pt idx="501">
                  <c:v>22.1</c:v>
                </c:pt>
                <c:pt idx="502">
                  <c:v>22.1</c:v>
                </c:pt>
                <c:pt idx="503">
                  <c:v>21.68</c:v>
                </c:pt>
                <c:pt idx="504">
                  <c:v>23.13</c:v>
                </c:pt>
                <c:pt idx="505">
                  <c:v>23.13</c:v>
                </c:pt>
                <c:pt idx="506">
                  <c:v>24.4</c:v>
                </c:pt>
                <c:pt idx="507">
                  <c:v>24.79</c:v>
                </c:pt>
                <c:pt idx="508">
                  <c:v>24.88</c:v>
                </c:pt>
                <c:pt idx="509">
                  <c:v>24.57</c:v>
                </c:pt>
                <c:pt idx="510">
                  <c:v>24.57</c:v>
                </c:pt>
                <c:pt idx="511">
                  <c:v>23.69</c:v>
                </c:pt>
                <c:pt idx="512">
                  <c:v>23.69</c:v>
                </c:pt>
                <c:pt idx="513">
                  <c:v>24.06</c:v>
                </c:pt>
                <c:pt idx="514">
                  <c:v>23.97</c:v>
                </c:pt>
                <c:pt idx="515">
                  <c:v>23.97</c:v>
                </c:pt>
                <c:pt idx="516">
                  <c:v>23.97</c:v>
                </c:pt>
                <c:pt idx="517">
                  <c:v>23.97</c:v>
                </c:pt>
                <c:pt idx="518">
                  <c:v>25.4</c:v>
                </c:pt>
                <c:pt idx="519">
                  <c:v>26.08</c:v>
                </c:pt>
                <c:pt idx="520">
                  <c:v>26.18</c:v>
                </c:pt>
                <c:pt idx="521">
                  <c:v>26.27</c:v>
                </c:pt>
                <c:pt idx="522">
                  <c:v>26.27</c:v>
                </c:pt>
                <c:pt idx="523">
                  <c:v>26.27</c:v>
                </c:pt>
                <c:pt idx="524">
                  <c:v>26.27</c:v>
                </c:pt>
                <c:pt idx="525">
                  <c:v>26.27</c:v>
                </c:pt>
                <c:pt idx="526">
                  <c:v>26.27</c:v>
                </c:pt>
                <c:pt idx="527">
                  <c:v>27.56</c:v>
                </c:pt>
                <c:pt idx="528">
                  <c:v>27.56</c:v>
                </c:pt>
                <c:pt idx="529">
                  <c:v>27.67</c:v>
                </c:pt>
                <c:pt idx="530">
                  <c:v>27.67</c:v>
                </c:pt>
                <c:pt idx="531">
                  <c:v>27.67</c:v>
                </c:pt>
                <c:pt idx="532">
                  <c:v>23.41</c:v>
                </c:pt>
                <c:pt idx="533">
                  <c:v>22.89</c:v>
                </c:pt>
                <c:pt idx="534">
                  <c:v>22.97</c:v>
                </c:pt>
                <c:pt idx="535">
                  <c:v>22.65</c:v>
                </c:pt>
                <c:pt idx="536">
                  <c:v>22.18</c:v>
                </c:pt>
                <c:pt idx="537">
                  <c:v>22.86</c:v>
                </c:pt>
                <c:pt idx="538">
                  <c:v>22.95</c:v>
                </c:pt>
                <c:pt idx="539">
                  <c:v>22.81</c:v>
                </c:pt>
                <c:pt idx="540">
                  <c:v>23.64</c:v>
                </c:pt>
                <c:pt idx="541">
                  <c:v>23.64</c:v>
                </c:pt>
                <c:pt idx="542">
                  <c:v>23.29</c:v>
                </c:pt>
                <c:pt idx="543">
                  <c:v>23.52</c:v>
                </c:pt>
                <c:pt idx="544">
                  <c:v>23.72</c:v>
                </c:pt>
                <c:pt idx="545">
                  <c:v>24.21</c:v>
                </c:pt>
                <c:pt idx="546">
                  <c:v>24.16</c:v>
                </c:pt>
                <c:pt idx="547">
                  <c:v>24.04</c:v>
                </c:pt>
                <c:pt idx="548">
                  <c:v>24.04</c:v>
                </c:pt>
                <c:pt idx="549">
                  <c:v>24.04</c:v>
                </c:pt>
                <c:pt idx="550">
                  <c:v>24.59</c:v>
                </c:pt>
                <c:pt idx="551">
                  <c:v>24.59</c:v>
                </c:pt>
                <c:pt idx="552">
                  <c:v>24.59</c:v>
                </c:pt>
                <c:pt idx="553">
                  <c:v>24.59</c:v>
                </c:pt>
                <c:pt idx="554">
                  <c:v>24.3</c:v>
                </c:pt>
                <c:pt idx="555">
                  <c:v>24.3</c:v>
                </c:pt>
                <c:pt idx="556">
                  <c:v>21.61</c:v>
                </c:pt>
                <c:pt idx="557">
                  <c:v>21.61</c:v>
                </c:pt>
                <c:pt idx="558">
                  <c:v>21.61</c:v>
                </c:pt>
                <c:pt idx="559">
                  <c:v>21.61</c:v>
                </c:pt>
                <c:pt idx="560">
                  <c:v>21.61</c:v>
                </c:pt>
                <c:pt idx="561">
                  <c:v>21.61</c:v>
                </c:pt>
                <c:pt idx="562">
                  <c:v>21.61</c:v>
                </c:pt>
                <c:pt idx="563">
                  <c:v>21.61</c:v>
                </c:pt>
                <c:pt idx="564">
                  <c:v>21.61</c:v>
                </c:pt>
                <c:pt idx="565">
                  <c:v>21.61</c:v>
                </c:pt>
                <c:pt idx="566">
                  <c:v>20.59</c:v>
                </c:pt>
                <c:pt idx="567">
                  <c:v>20.59</c:v>
                </c:pt>
                <c:pt idx="568">
                  <c:v>20.59</c:v>
                </c:pt>
                <c:pt idx="569">
                  <c:v>20.59</c:v>
                </c:pt>
                <c:pt idx="570">
                  <c:v>20.59</c:v>
                </c:pt>
                <c:pt idx="571">
                  <c:v>20.59</c:v>
                </c:pt>
                <c:pt idx="572">
                  <c:v>23.93</c:v>
                </c:pt>
                <c:pt idx="573">
                  <c:v>23.93</c:v>
                </c:pt>
                <c:pt idx="574">
                  <c:v>23.93</c:v>
                </c:pt>
                <c:pt idx="575">
                  <c:v>23.93</c:v>
                </c:pt>
                <c:pt idx="576">
                  <c:v>23.93</c:v>
                </c:pt>
                <c:pt idx="577">
                  <c:v>23.93</c:v>
                </c:pt>
                <c:pt idx="578">
                  <c:v>23.93</c:v>
                </c:pt>
                <c:pt idx="579">
                  <c:v>23.6</c:v>
                </c:pt>
                <c:pt idx="580">
                  <c:v>20.350000000000001</c:v>
                </c:pt>
                <c:pt idx="581">
                  <c:v>20.43</c:v>
                </c:pt>
                <c:pt idx="582">
                  <c:v>20.52</c:v>
                </c:pt>
                <c:pt idx="583">
                  <c:v>20.34</c:v>
                </c:pt>
                <c:pt idx="584">
                  <c:v>20.2</c:v>
                </c:pt>
                <c:pt idx="585">
                  <c:v>21.23</c:v>
                </c:pt>
                <c:pt idx="586">
                  <c:v>20.71</c:v>
                </c:pt>
                <c:pt idx="587">
                  <c:v>22.06</c:v>
                </c:pt>
                <c:pt idx="588">
                  <c:v>20.52</c:v>
                </c:pt>
                <c:pt idx="589">
                  <c:v>21.25</c:v>
                </c:pt>
                <c:pt idx="590">
                  <c:v>23.93</c:v>
                </c:pt>
                <c:pt idx="591">
                  <c:v>26.16</c:v>
                </c:pt>
                <c:pt idx="592">
                  <c:v>23.54</c:v>
                </c:pt>
                <c:pt idx="593">
                  <c:v>22.54</c:v>
                </c:pt>
                <c:pt idx="594">
                  <c:v>22.54</c:v>
                </c:pt>
                <c:pt idx="595">
                  <c:v>23.04</c:v>
                </c:pt>
                <c:pt idx="596">
                  <c:v>21.59</c:v>
                </c:pt>
                <c:pt idx="597">
                  <c:v>21.12</c:v>
                </c:pt>
                <c:pt idx="598">
                  <c:v>21.12</c:v>
                </c:pt>
                <c:pt idx="599">
                  <c:v>21.24</c:v>
                </c:pt>
                <c:pt idx="600">
                  <c:v>21.24</c:v>
                </c:pt>
                <c:pt idx="601">
                  <c:v>21.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43B4-4B82-BB32-4ABA506B1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4860256"/>
        <c:axId val="201324048"/>
      </c:scatterChart>
      <c:valAx>
        <c:axId val="527552512"/>
        <c:scaling>
          <c:orientation val="minMax"/>
          <c:max val="630"/>
          <c:min val="0"/>
        </c:scaling>
        <c:delete val="0"/>
        <c:axPos val="b"/>
        <c:title>
          <c:tx>
            <c:rich>
              <a:bodyPr/>
              <a:lstStyle/>
              <a:p>
                <a:pPr>
                  <a:defRPr sz="800" i="0"/>
                </a:pPr>
                <a:r>
                  <a:rPr lang="ru-RU" sz="800" b="0" i="0" u="none" strike="noStrike" baseline="0" dirty="0" smtClean="0">
                    <a:effectLst/>
                  </a:rPr>
                  <a:t>Отработка, сут.</a:t>
                </a:r>
                <a:endParaRPr lang="ru-RU" sz="800" b="1" i="0" dirty="0"/>
              </a:p>
            </c:rich>
          </c:tx>
          <c:layout>
            <c:manualLayout>
              <c:xMode val="edge"/>
              <c:yMode val="edge"/>
              <c:x val="0.42128995219128634"/>
              <c:y val="0.94197224218548714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527745408"/>
        <c:crosses val="autoZero"/>
        <c:crossBetween val="midCat"/>
        <c:majorUnit val="50"/>
        <c:minorUnit val="50"/>
      </c:valAx>
      <c:valAx>
        <c:axId val="527745408"/>
        <c:scaling>
          <c:orientation val="minMax"/>
          <c:max val="60"/>
          <c:min val="0"/>
        </c:scaling>
        <c:delete val="0"/>
        <c:axPos val="l"/>
        <c:minorGridlines>
          <c:spPr>
            <a:ln>
              <a:solidFill>
                <a:sysClr val="window" lastClr="FFFFFF">
                  <a:lumMod val="50000"/>
                </a:sysClr>
              </a:solidFill>
              <a:prstDash val="dash"/>
            </a:ln>
          </c:spPr>
        </c:min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527552512"/>
        <c:crosses val="autoZero"/>
        <c:crossBetween val="midCat"/>
        <c:majorUnit val="10"/>
        <c:minorUnit val="5"/>
      </c:valAx>
      <c:valAx>
        <c:axId val="201324048"/>
        <c:scaling>
          <c:orientation val="minMax"/>
          <c:max val="100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374860256"/>
        <c:crosses val="max"/>
        <c:crossBetween val="midCat"/>
        <c:majorUnit val="10"/>
        <c:minorUnit val="10"/>
      </c:valAx>
      <c:valAx>
        <c:axId val="374860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324048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1.1115434705986742E-2"/>
          <c:y val="1.7836055444881441E-2"/>
          <c:w val="0.96251248819922441"/>
          <c:h val="6.9658660594951821E-2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spPr>
    <a:ln>
      <a:solidFill>
        <a:srgbClr val="000000"/>
      </a:solidFill>
    </a:ln>
  </c:spPr>
  <c:txPr>
    <a:bodyPr/>
    <a:lstStyle/>
    <a:p>
      <a:pPr>
        <a:defRPr sz="800">
          <a:latin typeface="Arial (Основной текст)"/>
        </a:defRPr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69589730882304E-2"/>
          <c:y val="7.7474325884632572E-2"/>
          <c:w val="0.88042369429287681"/>
          <c:h val="0.76221205005828596"/>
        </c:manualLayout>
      </c:layout>
      <c:barChart>
        <c:barDir val="bar"/>
        <c:grouping val="clustered"/>
        <c:varyColors val="0"/>
        <c:ser>
          <c:idx val="1"/>
          <c:order val="0"/>
          <c:tx>
            <c:v>План</c:v>
          </c:tx>
          <c:spPr>
            <a:pattFill prst="wdUpDiag">
              <a:fgClr>
                <a:schemeClr val="bg1">
                  <a:lumMod val="50000"/>
                </a:schemeClr>
              </a:fgClr>
              <a:bgClr>
                <a:schemeClr val="bg1"/>
              </a:bgClr>
            </a:pattFill>
            <a:ln w="12700">
              <a:solidFill>
                <a:schemeClr val="bg1">
                  <a:lumMod val="50000"/>
                </a:schemeClr>
              </a:solidFill>
            </a:ln>
          </c:spPr>
          <c:invertIfNegative val="0"/>
          <c:dLbls>
            <c:dLbl>
              <c:idx val="8"/>
              <c:layout>
                <c:manualLayout>
                  <c:x val="-2.988601661521329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28D-44A0-BF6B-7DC8A2CA81EA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ГРП 152ГС'!$E$3:$M$3</c:f>
              <c:strCache>
                <c:ptCount val="9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  <c:pt idx="5">
                  <c:v>VI</c:v>
                </c:pt>
                <c:pt idx="6">
                  <c:v>VII</c:v>
                </c:pt>
                <c:pt idx="7">
                  <c:v>VIII</c:v>
                </c:pt>
                <c:pt idx="8">
                  <c:v>IX</c:v>
                </c:pt>
              </c:strCache>
            </c:strRef>
          </c:cat>
          <c:val>
            <c:numRef>
              <c:f>'ГРП 152ГС'!$E$10:$M$10</c:f>
              <c:numCache>
                <c:formatCode>General</c:formatCode>
                <c:ptCount val="9"/>
                <c:pt idx="0">
                  <c:v>70</c:v>
                </c:pt>
                <c:pt idx="1">
                  <c:v>70</c:v>
                </c:pt>
                <c:pt idx="2">
                  <c:v>70</c:v>
                </c:pt>
                <c:pt idx="3">
                  <c:v>70</c:v>
                </c:pt>
                <c:pt idx="4">
                  <c:v>70</c:v>
                </c:pt>
                <c:pt idx="5">
                  <c:v>70</c:v>
                </c:pt>
                <c:pt idx="6">
                  <c:v>70</c:v>
                </c:pt>
                <c:pt idx="7">
                  <c:v>70</c:v>
                </c:pt>
                <c:pt idx="8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8D-44A0-BF6B-7DC8A2CA81EA}"/>
            </c:ext>
          </c:extLst>
        </c:ser>
        <c:ser>
          <c:idx val="0"/>
          <c:order val="1"/>
          <c:tx>
            <c:v>Факт</c:v>
          </c:tx>
          <c:spPr>
            <a:solidFill>
              <a:schemeClr val="accent1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ГРП 152ГС'!$E$3:$M$3</c:f>
              <c:strCache>
                <c:ptCount val="9"/>
                <c:pt idx="0">
                  <c:v>I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V</c:v>
                </c:pt>
                <c:pt idx="5">
                  <c:v>VI</c:v>
                </c:pt>
                <c:pt idx="6">
                  <c:v>VII</c:v>
                </c:pt>
                <c:pt idx="7">
                  <c:v>VIII</c:v>
                </c:pt>
                <c:pt idx="8">
                  <c:v>IX</c:v>
                </c:pt>
              </c:strCache>
            </c:strRef>
          </c:cat>
          <c:val>
            <c:numRef>
              <c:f>'ГРП 152ГС'!$E$11:$M$11</c:f>
              <c:numCache>
                <c:formatCode>General</c:formatCode>
                <c:ptCount val="9"/>
                <c:pt idx="0">
                  <c:v>70</c:v>
                </c:pt>
                <c:pt idx="1">
                  <c:v>47</c:v>
                </c:pt>
                <c:pt idx="2">
                  <c:v>71.400000000000006</c:v>
                </c:pt>
                <c:pt idx="3">
                  <c:v>71.3</c:v>
                </c:pt>
                <c:pt idx="4">
                  <c:v>70</c:v>
                </c:pt>
                <c:pt idx="5">
                  <c:v>70</c:v>
                </c:pt>
                <c:pt idx="6">
                  <c:v>70</c:v>
                </c:pt>
                <c:pt idx="7">
                  <c:v>72</c:v>
                </c:pt>
                <c:pt idx="8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8D-44A0-BF6B-7DC8A2CA8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92222976"/>
        <c:axId val="1444624576"/>
      </c:barChart>
      <c:catAx>
        <c:axId val="109222297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444624576"/>
        <c:crosses val="autoZero"/>
        <c:auto val="1"/>
        <c:lblAlgn val="ctr"/>
        <c:lblOffset val="100"/>
        <c:noMultiLvlLbl val="0"/>
      </c:catAx>
      <c:valAx>
        <c:axId val="1444624576"/>
        <c:scaling>
          <c:orientation val="minMax"/>
          <c:max val="100"/>
          <c:min val="0"/>
        </c:scaling>
        <c:delete val="0"/>
        <c:axPos val="b"/>
        <c:majorGridlines>
          <c:spPr>
            <a:ln w="3175">
              <a:solidFill>
                <a:schemeClr val="bg1">
                  <a:lumMod val="50000"/>
                </a:schemeClr>
              </a:solidFill>
              <a:prstDash val="dash"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ru-RU" b="0" dirty="0" smtClean="0"/>
                  <a:t>тонн</a:t>
                </a:r>
                <a:r>
                  <a:rPr lang="ru-RU" b="0" dirty="0"/>
                  <a:t>, проппанта</a:t>
                </a:r>
              </a:p>
            </c:rich>
          </c:tx>
          <c:layout>
            <c:manualLayout>
              <c:xMode val="edge"/>
              <c:yMode val="edge"/>
              <c:x val="0.41061951359213678"/>
              <c:y val="0.9141088677878721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092222976"/>
        <c:crosses val="autoZero"/>
        <c:crossBetween val="between"/>
        <c:majorUnit val="25"/>
      </c:valAx>
    </c:plotArea>
    <c:plotVisOnly val="1"/>
    <c:dispBlanksAs val="gap"/>
    <c:showDLblsOverMax val="0"/>
  </c:chart>
  <c:txPr>
    <a:bodyPr/>
    <a:lstStyle/>
    <a:p>
      <a:pPr>
        <a:defRPr sz="800">
          <a:latin typeface="Arial (Основной текст)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321699453215693"/>
          <c:y val="0.12443135079071545"/>
          <c:w val="0.7241742632872129"/>
          <c:h val="0.7288340001554310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N$3</c:f>
              <c:strCache>
                <c:ptCount val="1"/>
                <c:pt idx="0">
                  <c:v>Qн</c:v>
                </c:pt>
              </c:strCache>
            </c:strRef>
          </c:tx>
          <c:spPr>
            <a:ln w="3175">
              <a:noFill/>
            </a:ln>
          </c:spPr>
          <c:marker>
            <c:symbol val="circle"/>
            <c:size val="4"/>
            <c:spPr>
              <a:solidFill>
                <a:schemeClr val="accent6">
                  <a:lumMod val="50000"/>
                </a:schemeClr>
              </a:solidFill>
              <a:ln w="3175">
                <a:solidFill>
                  <a:srgbClr val="ED7D31">
                    <a:lumMod val="50000"/>
                  </a:srgbClr>
                </a:solidFill>
              </a:ln>
            </c:spPr>
          </c:marker>
          <c:xVal>
            <c:numRef>
              <c:f>Sheet1!$A$195:$A$5000</c:f>
              <c:numCache>
                <c:formatCode>General</c:formatCode>
                <c:ptCount val="480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</c:numCache>
            </c:numRef>
          </c:xVal>
          <c:yVal>
            <c:numRef>
              <c:f>Sheet1!$N$195:$N$5000</c:f>
              <c:numCache>
                <c:formatCode>General</c:formatCode>
                <c:ptCount val="4806"/>
                <c:pt idx="0">
                  <c:v>10.3</c:v>
                </c:pt>
                <c:pt idx="1">
                  <c:v>10.3</c:v>
                </c:pt>
                <c:pt idx="2">
                  <c:v>14.8</c:v>
                </c:pt>
                <c:pt idx="3">
                  <c:v>44.8</c:v>
                </c:pt>
                <c:pt idx="4">
                  <c:v>38.799999999999997</c:v>
                </c:pt>
                <c:pt idx="5">
                  <c:v>35.1</c:v>
                </c:pt>
                <c:pt idx="6">
                  <c:v>30.8</c:v>
                </c:pt>
                <c:pt idx="7">
                  <c:v>30.8</c:v>
                </c:pt>
                <c:pt idx="8">
                  <c:v>30.8</c:v>
                </c:pt>
                <c:pt idx="9">
                  <c:v>27.1</c:v>
                </c:pt>
                <c:pt idx="10">
                  <c:v>25.8</c:v>
                </c:pt>
                <c:pt idx="11">
                  <c:v>24.3</c:v>
                </c:pt>
                <c:pt idx="12">
                  <c:v>27.2</c:v>
                </c:pt>
                <c:pt idx="13">
                  <c:v>27.2</c:v>
                </c:pt>
                <c:pt idx="14">
                  <c:v>25.9</c:v>
                </c:pt>
                <c:pt idx="15">
                  <c:v>25.9</c:v>
                </c:pt>
                <c:pt idx="16">
                  <c:v>28.4</c:v>
                </c:pt>
                <c:pt idx="17">
                  <c:v>28.4</c:v>
                </c:pt>
                <c:pt idx="18">
                  <c:v>28.4</c:v>
                </c:pt>
                <c:pt idx="19">
                  <c:v>23.9</c:v>
                </c:pt>
                <c:pt idx="20">
                  <c:v>24.6</c:v>
                </c:pt>
                <c:pt idx="21">
                  <c:v>22.6</c:v>
                </c:pt>
                <c:pt idx="22">
                  <c:v>23.5</c:v>
                </c:pt>
                <c:pt idx="23">
                  <c:v>22.9</c:v>
                </c:pt>
                <c:pt idx="24">
                  <c:v>22.2</c:v>
                </c:pt>
                <c:pt idx="25">
                  <c:v>21.9</c:v>
                </c:pt>
                <c:pt idx="26">
                  <c:v>21</c:v>
                </c:pt>
                <c:pt idx="27">
                  <c:v>21</c:v>
                </c:pt>
                <c:pt idx="28">
                  <c:v>20.3</c:v>
                </c:pt>
                <c:pt idx="29">
                  <c:v>19.899999999999999</c:v>
                </c:pt>
                <c:pt idx="30">
                  <c:v>20.6</c:v>
                </c:pt>
                <c:pt idx="31">
                  <c:v>20.6</c:v>
                </c:pt>
                <c:pt idx="32">
                  <c:v>19.3</c:v>
                </c:pt>
                <c:pt idx="33">
                  <c:v>19.3</c:v>
                </c:pt>
                <c:pt idx="34">
                  <c:v>18.399999999999999</c:v>
                </c:pt>
                <c:pt idx="35">
                  <c:v>18.600000000000001</c:v>
                </c:pt>
                <c:pt idx="36">
                  <c:v>18.2</c:v>
                </c:pt>
                <c:pt idx="37">
                  <c:v>18.2</c:v>
                </c:pt>
                <c:pt idx="38">
                  <c:v>18.2</c:v>
                </c:pt>
                <c:pt idx="39">
                  <c:v>18.2</c:v>
                </c:pt>
                <c:pt idx="40">
                  <c:v>19</c:v>
                </c:pt>
                <c:pt idx="41">
                  <c:v>19</c:v>
                </c:pt>
                <c:pt idx="42">
                  <c:v>19</c:v>
                </c:pt>
                <c:pt idx="43">
                  <c:v>19</c:v>
                </c:pt>
                <c:pt idx="44">
                  <c:v>16.100000000000001</c:v>
                </c:pt>
                <c:pt idx="45">
                  <c:v>16.100000000000001</c:v>
                </c:pt>
                <c:pt idx="46">
                  <c:v>16.100000000000001</c:v>
                </c:pt>
                <c:pt idx="47">
                  <c:v>16.100000000000001</c:v>
                </c:pt>
                <c:pt idx="48">
                  <c:v>12.3</c:v>
                </c:pt>
                <c:pt idx="49">
                  <c:v>20.2</c:v>
                </c:pt>
                <c:pt idx="50">
                  <c:v>14.8</c:v>
                </c:pt>
                <c:pt idx="51">
                  <c:v>14.4</c:v>
                </c:pt>
                <c:pt idx="52">
                  <c:v>14.4</c:v>
                </c:pt>
                <c:pt idx="53">
                  <c:v>15.3</c:v>
                </c:pt>
                <c:pt idx="54">
                  <c:v>15.3</c:v>
                </c:pt>
                <c:pt idx="55">
                  <c:v>14.6</c:v>
                </c:pt>
                <c:pt idx="56">
                  <c:v>14.6</c:v>
                </c:pt>
                <c:pt idx="57">
                  <c:v>14.6</c:v>
                </c:pt>
                <c:pt idx="58">
                  <c:v>15.1</c:v>
                </c:pt>
                <c:pt idx="59">
                  <c:v>11.1</c:v>
                </c:pt>
                <c:pt idx="60">
                  <c:v>11.1</c:v>
                </c:pt>
                <c:pt idx="61">
                  <c:v>15.4</c:v>
                </c:pt>
                <c:pt idx="62">
                  <c:v>15.4</c:v>
                </c:pt>
                <c:pt idx="63">
                  <c:v>14.1</c:v>
                </c:pt>
                <c:pt idx="64">
                  <c:v>14.1</c:v>
                </c:pt>
                <c:pt idx="65">
                  <c:v>14.1</c:v>
                </c:pt>
                <c:pt idx="66">
                  <c:v>14.1</c:v>
                </c:pt>
                <c:pt idx="67">
                  <c:v>14.1</c:v>
                </c:pt>
                <c:pt idx="68">
                  <c:v>14.1</c:v>
                </c:pt>
                <c:pt idx="69">
                  <c:v>14.1</c:v>
                </c:pt>
                <c:pt idx="70">
                  <c:v>11.2</c:v>
                </c:pt>
                <c:pt idx="71">
                  <c:v>8</c:v>
                </c:pt>
                <c:pt idx="72">
                  <c:v>9.9</c:v>
                </c:pt>
                <c:pt idx="73">
                  <c:v>9.9</c:v>
                </c:pt>
                <c:pt idx="74">
                  <c:v>10.4</c:v>
                </c:pt>
                <c:pt idx="75">
                  <c:v>10.4</c:v>
                </c:pt>
                <c:pt idx="76">
                  <c:v>11</c:v>
                </c:pt>
                <c:pt idx="77">
                  <c:v>11.5</c:v>
                </c:pt>
                <c:pt idx="78">
                  <c:v>11.5</c:v>
                </c:pt>
                <c:pt idx="79">
                  <c:v>7.9</c:v>
                </c:pt>
                <c:pt idx="80">
                  <c:v>7.9</c:v>
                </c:pt>
                <c:pt idx="81">
                  <c:v>11.5</c:v>
                </c:pt>
                <c:pt idx="82">
                  <c:v>9.5</c:v>
                </c:pt>
                <c:pt idx="83">
                  <c:v>8.4</c:v>
                </c:pt>
                <c:pt idx="84">
                  <c:v>8.4</c:v>
                </c:pt>
                <c:pt idx="85">
                  <c:v>9.5</c:v>
                </c:pt>
                <c:pt idx="86">
                  <c:v>8.9</c:v>
                </c:pt>
                <c:pt idx="87">
                  <c:v>11.7</c:v>
                </c:pt>
                <c:pt idx="88">
                  <c:v>10.9</c:v>
                </c:pt>
                <c:pt idx="89">
                  <c:v>12.6</c:v>
                </c:pt>
                <c:pt idx="90">
                  <c:v>13.9</c:v>
                </c:pt>
                <c:pt idx="91">
                  <c:v>13.9</c:v>
                </c:pt>
                <c:pt idx="92">
                  <c:v>11.3</c:v>
                </c:pt>
                <c:pt idx="93">
                  <c:v>9.3000000000000007</c:v>
                </c:pt>
                <c:pt idx="94">
                  <c:v>10</c:v>
                </c:pt>
                <c:pt idx="95">
                  <c:v>10</c:v>
                </c:pt>
                <c:pt idx="96">
                  <c:v>10</c:v>
                </c:pt>
                <c:pt idx="97">
                  <c:v>9.3000000000000007</c:v>
                </c:pt>
                <c:pt idx="98">
                  <c:v>10</c:v>
                </c:pt>
                <c:pt idx="99">
                  <c:v>8</c:v>
                </c:pt>
                <c:pt idx="100">
                  <c:v>9.3000000000000007</c:v>
                </c:pt>
                <c:pt idx="101">
                  <c:v>10.6</c:v>
                </c:pt>
                <c:pt idx="102">
                  <c:v>4.8</c:v>
                </c:pt>
                <c:pt idx="103">
                  <c:v>6.4</c:v>
                </c:pt>
                <c:pt idx="104">
                  <c:v>4.8</c:v>
                </c:pt>
                <c:pt idx="105">
                  <c:v>8.5</c:v>
                </c:pt>
                <c:pt idx="106">
                  <c:v>6.4</c:v>
                </c:pt>
                <c:pt idx="107">
                  <c:v>6.4</c:v>
                </c:pt>
                <c:pt idx="108">
                  <c:v>7.9</c:v>
                </c:pt>
                <c:pt idx="109">
                  <c:v>7.9</c:v>
                </c:pt>
                <c:pt idx="110">
                  <c:v>7.9</c:v>
                </c:pt>
                <c:pt idx="111">
                  <c:v>11.8</c:v>
                </c:pt>
                <c:pt idx="112">
                  <c:v>11.8</c:v>
                </c:pt>
                <c:pt idx="113">
                  <c:v>8.9</c:v>
                </c:pt>
                <c:pt idx="115">
                  <c:v>6.9</c:v>
                </c:pt>
                <c:pt idx="116">
                  <c:v>4.8</c:v>
                </c:pt>
                <c:pt idx="117">
                  <c:v>5.7</c:v>
                </c:pt>
                <c:pt idx="118">
                  <c:v>8.6</c:v>
                </c:pt>
                <c:pt idx="119">
                  <c:v>8.6</c:v>
                </c:pt>
                <c:pt idx="120">
                  <c:v>13.2</c:v>
                </c:pt>
                <c:pt idx="121">
                  <c:v>8.9</c:v>
                </c:pt>
                <c:pt idx="122">
                  <c:v>8</c:v>
                </c:pt>
                <c:pt idx="123">
                  <c:v>7.5</c:v>
                </c:pt>
                <c:pt idx="125">
                  <c:v>4.5999999999999996</c:v>
                </c:pt>
                <c:pt idx="126">
                  <c:v>7.5</c:v>
                </c:pt>
                <c:pt idx="127">
                  <c:v>9.1999999999999993</c:v>
                </c:pt>
                <c:pt idx="129">
                  <c:v>7.9</c:v>
                </c:pt>
                <c:pt idx="130">
                  <c:v>3.9</c:v>
                </c:pt>
                <c:pt idx="132">
                  <c:v>8.5</c:v>
                </c:pt>
                <c:pt idx="133">
                  <c:v>9.1999999999999993</c:v>
                </c:pt>
                <c:pt idx="135">
                  <c:v>5.9</c:v>
                </c:pt>
                <c:pt idx="136">
                  <c:v>9.8000000000000007</c:v>
                </c:pt>
                <c:pt idx="137">
                  <c:v>9.8000000000000007</c:v>
                </c:pt>
                <c:pt idx="140">
                  <c:v>11.2</c:v>
                </c:pt>
                <c:pt idx="144">
                  <c:v>5.6</c:v>
                </c:pt>
                <c:pt idx="145">
                  <c:v>4.9000000000000004</c:v>
                </c:pt>
                <c:pt idx="146">
                  <c:v>7</c:v>
                </c:pt>
                <c:pt idx="148">
                  <c:v>3.5</c:v>
                </c:pt>
                <c:pt idx="151">
                  <c:v>5.8</c:v>
                </c:pt>
                <c:pt idx="152">
                  <c:v>7.9</c:v>
                </c:pt>
                <c:pt idx="154">
                  <c:v>7.9</c:v>
                </c:pt>
                <c:pt idx="155">
                  <c:v>7.9</c:v>
                </c:pt>
                <c:pt idx="157">
                  <c:v>9.4</c:v>
                </c:pt>
                <c:pt idx="158">
                  <c:v>9.4</c:v>
                </c:pt>
                <c:pt idx="159">
                  <c:v>5.8</c:v>
                </c:pt>
                <c:pt idx="160">
                  <c:v>16.2</c:v>
                </c:pt>
                <c:pt idx="161">
                  <c:v>5.3</c:v>
                </c:pt>
                <c:pt idx="162">
                  <c:v>13.9</c:v>
                </c:pt>
                <c:pt idx="163">
                  <c:v>3.7</c:v>
                </c:pt>
                <c:pt idx="164">
                  <c:v>9.3000000000000007</c:v>
                </c:pt>
                <c:pt idx="165">
                  <c:v>5.5</c:v>
                </c:pt>
                <c:pt idx="166">
                  <c:v>4.7</c:v>
                </c:pt>
                <c:pt idx="174">
                  <c:v>4.7</c:v>
                </c:pt>
                <c:pt idx="176">
                  <c:v>26.2</c:v>
                </c:pt>
                <c:pt idx="177">
                  <c:v>12.7</c:v>
                </c:pt>
                <c:pt idx="178">
                  <c:v>14.5</c:v>
                </c:pt>
                <c:pt idx="179">
                  <c:v>8</c:v>
                </c:pt>
                <c:pt idx="181">
                  <c:v>6.4</c:v>
                </c:pt>
                <c:pt idx="182">
                  <c:v>3.2</c:v>
                </c:pt>
                <c:pt idx="185">
                  <c:v>4.8</c:v>
                </c:pt>
                <c:pt idx="186">
                  <c:v>10.1</c:v>
                </c:pt>
                <c:pt idx="188">
                  <c:v>10.1</c:v>
                </c:pt>
                <c:pt idx="190">
                  <c:v>6.2</c:v>
                </c:pt>
                <c:pt idx="192">
                  <c:v>8.6</c:v>
                </c:pt>
                <c:pt idx="194">
                  <c:v>6.2</c:v>
                </c:pt>
                <c:pt idx="196">
                  <c:v>6.2</c:v>
                </c:pt>
                <c:pt idx="197">
                  <c:v>5.5</c:v>
                </c:pt>
                <c:pt idx="201">
                  <c:v>4.7</c:v>
                </c:pt>
                <c:pt idx="203">
                  <c:v>4.7</c:v>
                </c:pt>
                <c:pt idx="204">
                  <c:v>4.7</c:v>
                </c:pt>
                <c:pt idx="205">
                  <c:v>3.9</c:v>
                </c:pt>
                <c:pt idx="206">
                  <c:v>4.7</c:v>
                </c:pt>
                <c:pt idx="207">
                  <c:v>3.9</c:v>
                </c:pt>
                <c:pt idx="210">
                  <c:v>4.7</c:v>
                </c:pt>
                <c:pt idx="211">
                  <c:v>5.5</c:v>
                </c:pt>
                <c:pt idx="212">
                  <c:v>6.2</c:v>
                </c:pt>
                <c:pt idx="213">
                  <c:v>4.7</c:v>
                </c:pt>
                <c:pt idx="214">
                  <c:v>7</c:v>
                </c:pt>
                <c:pt idx="215">
                  <c:v>4.7</c:v>
                </c:pt>
                <c:pt idx="216">
                  <c:v>5.5</c:v>
                </c:pt>
                <c:pt idx="217">
                  <c:v>10.9</c:v>
                </c:pt>
                <c:pt idx="218">
                  <c:v>12.5</c:v>
                </c:pt>
                <c:pt idx="219">
                  <c:v>12.5</c:v>
                </c:pt>
                <c:pt idx="220">
                  <c:v>12.5</c:v>
                </c:pt>
                <c:pt idx="221">
                  <c:v>7.8</c:v>
                </c:pt>
                <c:pt idx="222">
                  <c:v>7.8</c:v>
                </c:pt>
                <c:pt idx="223">
                  <c:v>6.2</c:v>
                </c:pt>
                <c:pt idx="224">
                  <c:v>7</c:v>
                </c:pt>
                <c:pt idx="226">
                  <c:v>6.2</c:v>
                </c:pt>
                <c:pt idx="230">
                  <c:v>7.8</c:v>
                </c:pt>
                <c:pt idx="231">
                  <c:v>9.3000000000000007</c:v>
                </c:pt>
                <c:pt idx="232">
                  <c:v>10.9</c:v>
                </c:pt>
                <c:pt idx="233">
                  <c:v>7.8</c:v>
                </c:pt>
                <c:pt idx="234">
                  <c:v>7.79</c:v>
                </c:pt>
                <c:pt idx="235">
                  <c:v>6.36</c:v>
                </c:pt>
                <c:pt idx="236">
                  <c:v>7.79</c:v>
                </c:pt>
                <c:pt idx="239">
                  <c:v>7.87</c:v>
                </c:pt>
                <c:pt idx="242">
                  <c:v>8.0399999999999991</c:v>
                </c:pt>
                <c:pt idx="244">
                  <c:v>8.84</c:v>
                </c:pt>
                <c:pt idx="246">
                  <c:v>7.01</c:v>
                </c:pt>
                <c:pt idx="247">
                  <c:v>6.23</c:v>
                </c:pt>
                <c:pt idx="250">
                  <c:v>7.79</c:v>
                </c:pt>
                <c:pt idx="256">
                  <c:v>7.01</c:v>
                </c:pt>
                <c:pt idx="257">
                  <c:v>6.23</c:v>
                </c:pt>
                <c:pt idx="259">
                  <c:v>7.01</c:v>
                </c:pt>
                <c:pt idx="261">
                  <c:v>6.23</c:v>
                </c:pt>
                <c:pt idx="265">
                  <c:v>8.0399999999999991</c:v>
                </c:pt>
                <c:pt idx="267">
                  <c:v>7.79</c:v>
                </c:pt>
                <c:pt idx="268">
                  <c:v>8.57</c:v>
                </c:pt>
                <c:pt idx="272">
                  <c:v>6.23</c:v>
                </c:pt>
                <c:pt idx="277">
                  <c:v>6.23</c:v>
                </c:pt>
                <c:pt idx="279">
                  <c:v>7.01</c:v>
                </c:pt>
                <c:pt idx="281">
                  <c:v>5.68</c:v>
                </c:pt>
                <c:pt idx="283">
                  <c:v>6.49</c:v>
                </c:pt>
                <c:pt idx="285">
                  <c:v>8.0399999999999991</c:v>
                </c:pt>
                <c:pt idx="286">
                  <c:v>5.62</c:v>
                </c:pt>
                <c:pt idx="288">
                  <c:v>6.23</c:v>
                </c:pt>
                <c:pt idx="290">
                  <c:v>7.79</c:v>
                </c:pt>
                <c:pt idx="291">
                  <c:v>6.36</c:v>
                </c:pt>
                <c:pt idx="292">
                  <c:v>5.62</c:v>
                </c:pt>
                <c:pt idx="294">
                  <c:v>4.0199999999999996</c:v>
                </c:pt>
                <c:pt idx="295">
                  <c:v>5.45</c:v>
                </c:pt>
                <c:pt idx="297">
                  <c:v>5.45</c:v>
                </c:pt>
                <c:pt idx="298">
                  <c:v>5.45</c:v>
                </c:pt>
                <c:pt idx="299">
                  <c:v>6.43</c:v>
                </c:pt>
                <c:pt idx="300">
                  <c:v>5.57</c:v>
                </c:pt>
                <c:pt idx="301">
                  <c:v>14.46</c:v>
                </c:pt>
                <c:pt idx="303">
                  <c:v>8.0399999999999991</c:v>
                </c:pt>
                <c:pt idx="304">
                  <c:v>5.62</c:v>
                </c:pt>
                <c:pt idx="305">
                  <c:v>6.36</c:v>
                </c:pt>
                <c:pt idx="306">
                  <c:v>5.62</c:v>
                </c:pt>
                <c:pt idx="307">
                  <c:v>6.36</c:v>
                </c:pt>
                <c:pt idx="308">
                  <c:v>11.14</c:v>
                </c:pt>
                <c:pt idx="309">
                  <c:v>7.16</c:v>
                </c:pt>
                <c:pt idx="310">
                  <c:v>7.95</c:v>
                </c:pt>
                <c:pt idx="311">
                  <c:v>6.36</c:v>
                </c:pt>
                <c:pt idx="312">
                  <c:v>5.57</c:v>
                </c:pt>
                <c:pt idx="313">
                  <c:v>6.36</c:v>
                </c:pt>
                <c:pt idx="315">
                  <c:v>8.75</c:v>
                </c:pt>
                <c:pt idx="316">
                  <c:v>7.95</c:v>
                </c:pt>
                <c:pt idx="317">
                  <c:v>7.95</c:v>
                </c:pt>
                <c:pt idx="318">
                  <c:v>6.36</c:v>
                </c:pt>
                <c:pt idx="319">
                  <c:v>6.36</c:v>
                </c:pt>
                <c:pt idx="320">
                  <c:v>6.36</c:v>
                </c:pt>
                <c:pt idx="321">
                  <c:v>5.57</c:v>
                </c:pt>
                <c:pt idx="326">
                  <c:v>5.57</c:v>
                </c:pt>
                <c:pt idx="327">
                  <c:v>6.36</c:v>
                </c:pt>
                <c:pt idx="328">
                  <c:v>5.57</c:v>
                </c:pt>
                <c:pt idx="329">
                  <c:v>6.36</c:v>
                </c:pt>
                <c:pt idx="330">
                  <c:v>7.16</c:v>
                </c:pt>
                <c:pt idx="331">
                  <c:v>6.36</c:v>
                </c:pt>
                <c:pt idx="332">
                  <c:v>5.57</c:v>
                </c:pt>
                <c:pt idx="333">
                  <c:v>6.36</c:v>
                </c:pt>
                <c:pt idx="334">
                  <c:v>5.57</c:v>
                </c:pt>
                <c:pt idx="335">
                  <c:v>5.57</c:v>
                </c:pt>
                <c:pt idx="336">
                  <c:v>4.7699999999999996</c:v>
                </c:pt>
                <c:pt idx="337">
                  <c:v>6.36</c:v>
                </c:pt>
                <c:pt idx="338">
                  <c:v>7.16</c:v>
                </c:pt>
                <c:pt idx="339">
                  <c:v>7.16</c:v>
                </c:pt>
                <c:pt idx="340">
                  <c:v>5.57</c:v>
                </c:pt>
                <c:pt idx="341">
                  <c:v>5.57</c:v>
                </c:pt>
                <c:pt idx="342">
                  <c:v>5.57</c:v>
                </c:pt>
                <c:pt idx="343">
                  <c:v>5.57</c:v>
                </c:pt>
                <c:pt idx="344">
                  <c:v>12.73</c:v>
                </c:pt>
                <c:pt idx="345">
                  <c:v>6.76</c:v>
                </c:pt>
                <c:pt idx="346">
                  <c:v>4.7699999999999996</c:v>
                </c:pt>
                <c:pt idx="347">
                  <c:v>4.7699999999999996</c:v>
                </c:pt>
                <c:pt idx="349">
                  <c:v>9.0500000000000007</c:v>
                </c:pt>
                <c:pt idx="350">
                  <c:v>6.17</c:v>
                </c:pt>
                <c:pt idx="351">
                  <c:v>5.45</c:v>
                </c:pt>
                <c:pt idx="352">
                  <c:v>12.46</c:v>
                </c:pt>
                <c:pt idx="354">
                  <c:v>7.79</c:v>
                </c:pt>
                <c:pt idx="355">
                  <c:v>8.0399999999999991</c:v>
                </c:pt>
                <c:pt idx="356">
                  <c:v>6.43</c:v>
                </c:pt>
                <c:pt idx="357">
                  <c:v>12.05</c:v>
                </c:pt>
                <c:pt idx="358">
                  <c:v>13.12</c:v>
                </c:pt>
                <c:pt idx="359">
                  <c:v>13.52</c:v>
                </c:pt>
                <c:pt idx="360">
                  <c:v>11.93</c:v>
                </c:pt>
                <c:pt idx="362">
                  <c:v>12.05</c:v>
                </c:pt>
                <c:pt idx="363">
                  <c:v>9.35</c:v>
                </c:pt>
                <c:pt idx="368">
                  <c:v>3.21</c:v>
                </c:pt>
                <c:pt idx="369">
                  <c:v>3.62</c:v>
                </c:pt>
                <c:pt idx="370">
                  <c:v>3.58</c:v>
                </c:pt>
                <c:pt idx="371">
                  <c:v>3.98</c:v>
                </c:pt>
                <c:pt idx="372">
                  <c:v>3.58</c:v>
                </c:pt>
                <c:pt idx="373">
                  <c:v>3.58</c:v>
                </c:pt>
                <c:pt idx="377">
                  <c:v>3.18</c:v>
                </c:pt>
                <c:pt idx="378">
                  <c:v>3.18</c:v>
                </c:pt>
                <c:pt idx="379">
                  <c:v>6.36</c:v>
                </c:pt>
                <c:pt idx="380">
                  <c:v>5.57</c:v>
                </c:pt>
                <c:pt idx="381">
                  <c:v>4.7699999999999996</c:v>
                </c:pt>
                <c:pt idx="382">
                  <c:v>3.98</c:v>
                </c:pt>
                <c:pt idx="383">
                  <c:v>3.18</c:v>
                </c:pt>
                <c:pt idx="384">
                  <c:v>3.58</c:v>
                </c:pt>
                <c:pt idx="385">
                  <c:v>3.98</c:v>
                </c:pt>
                <c:pt idx="386">
                  <c:v>4.7699999999999996</c:v>
                </c:pt>
                <c:pt idx="387">
                  <c:v>7.95</c:v>
                </c:pt>
                <c:pt idx="388">
                  <c:v>6.36</c:v>
                </c:pt>
                <c:pt idx="389">
                  <c:v>6.36</c:v>
                </c:pt>
                <c:pt idx="390">
                  <c:v>4.7699999999999996</c:v>
                </c:pt>
                <c:pt idx="398">
                  <c:v>4.7699999999999996</c:v>
                </c:pt>
                <c:pt idx="401">
                  <c:v>4.82</c:v>
                </c:pt>
                <c:pt idx="404">
                  <c:v>6.33</c:v>
                </c:pt>
                <c:pt idx="405">
                  <c:v>7.16</c:v>
                </c:pt>
                <c:pt idx="406">
                  <c:v>5.57</c:v>
                </c:pt>
                <c:pt idx="407">
                  <c:v>3.9</c:v>
                </c:pt>
                <c:pt idx="409">
                  <c:v>6.23</c:v>
                </c:pt>
                <c:pt idx="410">
                  <c:v>4.72</c:v>
                </c:pt>
                <c:pt idx="411">
                  <c:v>7.95</c:v>
                </c:pt>
                <c:pt idx="413">
                  <c:v>7.16</c:v>
                </c:pt>
                <c:pt idx="414">
                  <c:v>4.38</c:v>
                </c:pt>
                <c:pt idx="415">
                  <c:v>7.95</c:v>
                </c:pt>
                <c:pt idx="417">
                  <c:v>8.0399999999999991</c:v>
                </c:pt>
                <c:pt idx="418">
                  <c:v>7.23</c:v>
                </c:pt>
                <c:pt idx="419">
                  <c:v>8.0399999999999991</c:v>
                </c:pt>
                <c:pt idx="420">
                  <c:v>0</c:v>
                </c:pt>
                <c:pt idx="421">
                  <c:v>10.34</c:v>
                </c:pt>
                <c:pt idx="422">
                  <c:v>8.75</c:v>
                </c:pt>
                <c:pt idx="423">
                  <c:v>8.84</c:v>
                </c:pt>
                <c:pt idx="424">
                  <c:v>12.05</c:v>
                </c:pt>
                <c:pt idx="425">
                  <c:v>12.86</c:v>
                </c:pt>
                <c:pt idx="426">
                  <c:v>5.62</c:v>
                </c:pt>
                <c:pt idx="427">
                  <c:v>8.84</c:v>
                </c:pt>
                <c:pt idx="429">
                  <c:v>7.23</c:v>
                </c:pt>
                <c:pt idx="430">
                  <c:v>6.62</c:v>
                </c:pt>
                <c:pt idx="431">
                  <c:v>10.91</c:v>
                </c:pt>
                <c:pt idx="432">
                  <c:v>3.12</c:v>
                </c:pt>
                <c:pt idx="433">
                  <c:v>3.12</c:v>
                </c:pt>
                <c:pt idx="434">
                  <c:v>5.45</c:v>
                </c:pt>
                <c:pt idx="435">
                  <c:v>5.45</c:v>
                </c:pt>
                <c:pt idx="436">
                  <c:v>4.67</c:v>
                </c:pt>
                <c:pt idx="437">
                  <c:v>3.12</c:v>
                </c:pt>
                <c:pt idx="438">
                  <c:v>4.67</c:v>
                </c:pt>
                <c:pt idx="439">
                  <c:v>2.34</c:v>
                </c:pt>
                <c:pt idx="440">
                  <c:v>4.67</c:v>
                </c:pt>
                <c:pt idx="441">
                  <c:v>5.45</c:v>
                </c:pt>
                <c:pt idx="442">
                  <c:v>5.45</c:v>
                </c:pt>
                <c:pt idx="447">
                  <c:v>4.67</c:v>
                </c:pt>
                <c:pt idx="449">
                  <c:v>7.23</c:v>
                </c:pt>
                <c:pt idx="451">
                  <c:v>5.62</c:v>
                </c:pt>
                <c:pt idx="452">
                  <c:v>5.51</c:v>
                </c:pt>
                <c:pt idx="454">
                  <c:v>7.23</c:v>
                </c:pt>
                <c:pt idx="455">
                  <c:v>7.54</c:v>
                </c:pt>
                <c:pt idx="456">
                  <c:v>2.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C8A-46C6-99AE-52071130BB56}"/>
            </c:ext>
          </c:extLst>
        </c:ser>
        <c:ser>
          <c:idx val="1"/>
          <c:order val="1"/>
          <c:tx>
            <c:strRef>
              <c:f>Sheet1!$M$3</c:f>
              <c:strCache>
                <c:ptCount val="1"/>
                <c:pt idx="0">
                  <c:v>Обв</c:v>
                </c:pt>
              </c:strCache>
            </c:strRef>
          </c:tx>
          <c:spPr>
            <a:ln w="15875">
              <a:solidFill>
                <a:srgbClr val="0070C0"/>
              </a:solidFill>
              <a:prstDash val="sysDot"/>
            </a:ln>
          </c:spPr>
          <c:marker>
            <c:symbol val="none"/>
          </c:marker>
          <c:xVal>
            <c:numRef>
              <c:f>Sheet1!$A$195:$A$5000</c:f>
              <c:numCache>
                <c:formatCode>General</c:formatCode>
                <c:ptCount val="480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</c:numCache>
            </c:numRef>
          </c:xVal>
          <c:yVal>
            <c:numRef>
              <c:f>Sheet1!$M$195:$M$5000</c:f>
              <c:numCache>
                <c:formatCode>General</c:formatCode>
                <c:ptCount val="4806"/>
                <c:pt idx="0">
                  <c:v>30</c:v>
                </c:pt>
                <c:pt idx="1">
                  <c:v>30</c:v>
                </c:pt>
                <c:pt idx="2">
                  <c:v>40</c:v>
                </c:pt>
                <c:pt idx="3">
                  <c:v>9</c:v>
                </c:pt>
                <c:pt idx="4">
                  <c:v>26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  <c:pt idx="8">
                  <c:v>25</c:v>
                </c:pt>
                <c:pt idx="9">
                  <c:v>25</c:v>
                </c:pt>
                <c:pt idx="10">
                  <c:v>25</c:v>
                </c:pt>
                <c:pt idx="11">
                  <c:v>22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17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19</c:v>
                </c:pt>
                <c:pt idx="20">
                  <c:v>19</c:v>
                </c:pt>
                <c:pt idx="21">
                  <c:v>19</c:v>
                </c:pt>
                <c:pt idx="22">
                  <c:v>18</c:v>
                </c:pt>
                <c:pt idx="23">
                  <c:v>18</c:v>
                </c:pt>
                <c:pt idx="24">
                  <c:v>18</c:v>
                </c:pt>
                <c:pt idx="25">
                  <c:v>19</c:v>
                </c:pt>
                <c:pt idx="26">
                  <c:v>20</c:v>
                </c:pt>
                <c:pt idx="27">
                  <c:v>20</c:v>
                </c:pt>
                <c:pt idx="28">
                  <c:v>20</c:v>
                </c:pt>
                <c:pt idx="29">
                  <c:v>19</c:v>
                </c:pt>
                <c:pt idx="30">
                  <c:v>19</c:v>
                </c:pt>
                <c:pt idx="31">
                  <c:v>19</c:v>
                </c:pt>
                <c:pt idx="32">
                  <c:v>19</c:v>
                </c:pt>
                <c:pt idx="33">
                  <c:v>19</c:v>
                </c:pt>
                <c:pt idx="34">
                  <c:v>20</c:v>
                </c:pt>
                <c:pt idx="35">
                  <c:v>19</c:v>
                </c:pt>
                <c:pt idx="36">
                  <c:v>18</c:v>
                </c:pt>
                <c:pt idx="37">
                  <c:v>18</c:v>
                </c:pt>
                <c:pt idx="38">
                  <c:v>18</c:v>
                </c:pt>
                <c:pt idx="39">
                  <c:v>18</c:v>
                </c:pt>
                <c:pt idx="40">
                  <c:v>20</c:v>
                </c:pt>
                <c:pt idx="41">
                  <c:v>20</c:v>
                </c:pt>
                <c:pt idx="42">
                  <c:v>20</c:v>
                </c:pt>
                <c:pt idx="43">
                  <c:v>20</c:v>
                </c:pt>
                <c:pt idx="44">
                  <c:v>18</c:v>
                </c:pt>
                <c:pt idx="45">
                  <c:v>18</c:v>
                </c:pt>
                <c:pt idx="46">
                  <c:v>18</c:v>
                </c:pt>
                <c:pt idx="47">
                  <c:v>18</c:v>
                </c:pt>
                <c:pt idx="48">
                  <c:v>25</c:v>
                </c:pt>
                <c:pt idx="49">
                  <c:v>18</c:v>
                </c:pt>
                <c:pt idx="50">
                  <c:v>25</c:v>
                </c:pt>
                <c:pt idx="51">
                  <c:v>20</c:v>
                </c:pt>
                <c:pt idx="52">
                  <c:v>20</c:v>
                </c:pt>
                <c:pt idx="53">
                  <c:v>19</c:v>
                </c:pt>
                <c:pt idx="54">
                  <c:v>19</c:v>
                </c:pt>
                <c:pt idx="55">
                  <c:v>19</c:v>
                </c:pt>
                <c:pt idx="56">
                  <c:v>19</c:v>
                </c:pt>
                <c:pt idx="57">
                  <c:v>19</c:v>
                </c:pt>
                <c:pt idx="58">
                  <c:v>20</c:v>
                </c:pt>
                <c:pt idx="59">
                  <c:v>25</c:v>
                </c:pt>
                <c:pt idx="60">
                  <c:v>25</c:v>
                </c:pt>
                <c:pt idx="61">
                  <c:v>25</c:v>
                </c:pt>
                <c:pt idx="62">
                  <c:v>25</c:v>
                </c:pt>
                <c:pt idx="63">
                  <c:v>25</c:v>
                </c:pt>
                <c:pt idx="64">
                  <c:v>25</c:v>
                </c:pt>
                <c:pt idx="65">
                  <c:v>25</c:v>
                </c:pt>
                <c:pt idx="66">
                  <c:v>25</c:v>
                </c:pt>
                <c:pt idx="67">
                  <c:v>25</c:v>
                </c:pt>
                <c:pt idx="68">
                  <c:v>25</c:v>
                </c:pt>
                <c:pt idx="69">
                  <c:v>25</c:v>
                </c:pt>
                <c:pt idx="70">
                  <c:v>35</c:v>
                </c:pt>
                <c:pt idx="71">
                  <c:v>35</c:v>
                </c:pt>
                <c:pt idx="72">
                  <c:v>33</c:v>
                </c:pt>
                <c:pt idx="73">
                  <c:v>33</c:v>
                </c:pt>
                <c:pt idx="74">
                  <c:v>33</c:v>
                </c:pt>
                <c:pt idx="75">
                  <c:v>33</c:v>
                </c:pt>
                <c:pt idx="76">
                  <c:v>36</c:v>
                </c:pt>
                <c:pt idx="77">
                  <c:v>36</c:v>
                </c:pt>
                <c:pt idx="78">
                  <c:v>36</c:v>
                </c:pt>
                <c:pt idx="79">
                  <c:v>36</c:v>
                </c:pt>
                <c:pt idx="80">
                  <c:v>36</c:v>
                </c:pt>
                <c:pt idx="81">
                  <c:v>36</c:v>
                </c:pt>
                <c:pt idx="82">
                  <c:v>32</c:v>
                </c:pt>
                <c:pt idx="83">
                  <c:v>32</c:v>
                </c:pt>
                <c:pt idx="84">
                  <c:v>32</c:v>
                </c:pt>
                <c:pt idx="85">
                  <c:v>32</c:v>
                </c:pt>
                <c:pt idx="86">
                  <c:v>32</c:v>
                </c:pt>
                <c:pt idx="87">
                  <c:v>32</c:v>
                </c:pt>
                <c:pt idx="88">
                  <c:v>30</c:v>
                </c:pt>
                <c:pt idx="89">
                  <c:v>19</c:v>
                </c:pt>
                <c:pt idx="90">
                  <c:v>19</c:v>
                </c:pt>
                <c:pt idx="91">
                  <c:v>19</c:v>
                </c:pt>
                <c:pt idx="92">
                  <c:v>19</c:v>
                </c:pt>
                <c:pt idx="93">
                  <c:v>19</c:v>
                </c:pt>
                <c:pt idx="94">
                  <c:v>19</c:v>
                </c:pt>
                <c:pt idx="95">
                  <c:v>19</c:v>
                </c:pt>
                <c:pt idx="96">
                  <c:v>19</c:v>
                </c:pt>
                <c:pt idx="97">
                  <c:v>19</c:v>
                </c:pt>
                <c:pt idx="98">
                  <c:v>19</c:v>
                </c:pt>
                <c:pt idx="99">
                  <c:v>19</c:v>
                </c:pt>
                <c:pt idx="100">
                  <c:v>19</c:v>
                </c:pt>
                <c:pt idx="101">
                  <c:v>19</c:v>
                </c:pt>
                <c:pt idx="102">
                  <c:v>35</c:v>
                </c:pt>
                <c:pt idx="103">
                  <c:v>35</c:v>
                </c:pt>
                <c:pt idx="104">
                  <c:v>35</c:v>
                </c:pt>
                <c:pt idx="105">
                  <c:v>35</c:v>
                </c:pt>
                <c:pt idx="106">
                  <c:v>35</c:v>
                </c:pt>
                <c:pt idx="107">
                  <c:v>35</c:v>
                </c:pt>
                <c:pt idx="108">
                  <c:v>20</c:v>
                </c:pt>
                <c:pt idx="109">
                  <c:v>20</c:v>
                </c:pt>
                <c:pt idx="110">
                  <c:v>20</c:v>
                </c:pt>
                <c:pt idx="111">
                  <c:v>20</c:v>
                </c:pt>
                <c:pt idx="112">
                  <c:v>20</c:v>
                </c:pt>
                <c:pt idx="113">
                  <c:v>40</c:v>
                </c:pt>
                <c:pt idx="115">
                  <c:v>35</c:v>
                </c:pt>
                <c:pt idx="116">
                  <c:v>35</c:v>
                </c:pt>
                <c:pt idx="117">
                  <c:v>30</c:v>
                </c:pt>
                <c:pt idx="118">
                  <c:v>30</c:v>
                </c:pt>
                <c:pt idx="119">
                  <c:v>30</c:v>
                </c:pt>
                <c:pt idx="120">
                  <c:v>30</c:v>
                </c:pt>
                <c:pt idx="121">
                  <c:v>40</c:v>
                </c:pt>
                <c:pt idx="122">
                  <c:v>35</c:v>
                </c:pt>
                <c:pt idx="123">
                  <c:v>30</c:v>
                </c:pt>
                <c:pt idx="125">
                  <c:v>30</c:v>
                </c:pt>
                <c:pt idx="126">
                  <c:v>30</c:v>
                </c:pt>
                <c:pt idx="127">
                  <c:v>25</c:v>
                </c:pt>
                <c:pt idx="129">
                  <c:v>20</c:v>
                </c:pt>
                <c:pt idx="130">
                  <c:v>20</c:v>
                </c:pt>
                <c:pt idx="132">
                  <c:v>20</c:v>
                </c:pt>
                <c:pt idx="133">
                  <c:v>20</c:v>
                </c:pt>
                <c:pt idx="135">
                  <c:v>20</c:v>
                </c:pt>
                <c:pt idx="136">
                  <c:v>15</c:v>
                </c:pt>
                <c:pt idx="137">
                  <c:v>15</c:v>
                </c:pt>
                <c:pt idx="140">
                  <c:v>15</c:v>
                </c:pt>
                <c:pt idx="144">
                  <c:v>15</c:v>
                </c:pt>
                <c:pt idx="145">
                  <c:v>15</c:v>
                </c:pt>
                <c:pt idx="146">
                  <c:v>15</c:v>
                </c:pt>
                <c:pt idx="148">
                  <c:v>15</c:v>
                </c:pt>
                <c:pt idx="151">
                  <c:v>12</c:v>
                </c:pt>
                <c:pt idx="152">
                  <c:v>12</c:v>
                </c:pt>
                <c:pt idx="154">
                  <c:v>12</c:v>
                </c:pt>
                <c:pt idx="155">
                  <c:v>12</c:v>
                </c:pt>
                <c:pt idx="157">
                  <c:v>12</c:v>
                </c:pt>
                <c:pt idx="158">
                  <c:v>12</c:v>
                </c:pt>
                <c:pt idx="159">
                  <c:v>12</c:v>
                </c:pt>
                <c:pt idx="160">
                  <c:v>10</c:v>
                </c:pt>
                <c:pt idx="161">
                  <c:v>7</c:v>
                </c:pt>
                <c:pt idx="162">
                  <c:v>6</c:v>
                </c:pt>
                <c:pt idx="163">
                  <c:v>9</c:v>
                </c:pt>
                <c:pt idx="164">
                  <c:v>5</c:v>
                </c:pt>
                <c:pt idx="165">
                  <c:v>4</c:v>
                </c:pt>
                <c:pt idx="166">
                  <c:v>4</c:v>
                </c:pt>
                <c:pt idx="174">
                  <c:v>4</c:v>
                </c:pt>
                <c:pt idx="176">
                  <c:v>3</c:v>
                </c:pt>
                <c:pt idx="177">
                  <c:v>3</c:v>
                </c:pt>
                <c:pt idx="178">
                  <c:v>2</c:v>
                </c:pt>
                <c:pt idx="179">
                  <c:v>2</c:v>
                </c:pt>
                <c:pt idx="181">
                  <c:v>2</c:v>
                </c:pt>
                <c:pt idx="182">
                  <c:v>3</c:v>
                </c:pt>
                <c:pt idx="185">
                  <c:v>2</c:v>
                </c:pt>
                <c:pt idx="186">
                  <c:v>5</c:v>
                </c:pt>
                <c:pt idx="188">
                  <c:v>5</c:v>
                </c:pt>
                <c:pt idx="190">
                  <c:v>5</c:v>
                </c:pt>
                <c:pt idx="192">
                  <c:v>5</c:v>
                </c:pt>
                <c:pt idx="194">
                  <c:v>5</c:v>
                </c:pt>
                <c:pt idx="196">
                  <c:v>5</c:v>
                </c:pt>
                <c:pt idx="197">
                  <c:v>5</c:v>
                </c:pt>
                <c:pt idx="201">
                  <c:v>5</c:v>
                </c:pt>
                <c:pt idx="203">
                  <c:v>5</c:v>
                </c:pt>
                <c:pt idx="204">
                  <c:v>5</c:v>
                </c:pt>
                <c:pt idx="205">
                  <c:v>5</c:v>
                </c:pt>
                <c:pt idx="206">
                  <c:v>5</c:v>
                </c:pt>
                <c:pt idx="207">
                  <c:v>5</c:v>
                </c:pt>
                <c:pt idx="210">
                  <c:v>5</c:v>
                </c:pt>
                <c:pt idx="211">
                  <c:v>5</c:v>
                </c:pt>
                <c:pt idx="212">
                  <c:v>5</c:v>
                </c:pt>
                <c:pt idx="213">
                  <c:v>5</c:v>
                </c:pt>
                <c:pt idx="214">
                  <c:v>5</c:v>
                </c:pt>
                <c:pt idx="215">
                  <c:v>5</c:v>
                </c:pt>
                <c:pt idx="216">
                  <c:v>5</c:v>
                </c:pt>
                <c:pt idx="217">
                  <c:v>5</c:v>
                </c:pt>
                <c:pt idx="218">
                  <c:v>5</c:v>
                </c:pt>
                <c:pt idx="219">
                  <c:v>5</c:v>
                </c:pt>
                <c:pt idx="220">
                  <c:v>5</c:v>
                </c:pt>
                <c:pt idx="221">
                  <c:v>5</c:v>
                </c:pt>
                <c:pt idx="222">
                  <c:v>5</c:v>
                </c:pt>
                <c:pt idx="223">
                  <c:v>5</c:v>
                </c:pt>
                <c:pt idx="224">
                  <c:v>5</c:v>
                </c:pt>
                <c:pt idx="226">
                  <c:v>5</c:v>
                </c:pt>
                <c:pt idx="230">
                  <c:v>5</c:v>
                </c:pt>
                <c:pt idx="231">
                  <c:v>5</c:v>
                </c:pt>
                <c:pt idx="232">
                  <c:v>5</c:v>
                </c:pt>
                <c:pt idx="233">
                  <c:v>5</c:v>
                </c:pt>
                <c:pt idx="234">
                  <c:v>5</c:v>
                </c:pt>
                <c:pt idx="235">
                  <c:v>3</c:v>
                </c:pt>
                <c:pt idx="236">
                  <c:v>5</c:v>
                </c:pt>
                <c:pt idx="239">
                  <c:v>4</c:v>
                </c:pt>
                <c:pt idx="242">
                  <c:v>2</c:v>
                </c:pt>
                <c:pt idx="244">
                  <c:v>2</c:v>
                </c:pt>
                <c:pt idx="246">
                  <c:v>5</c:v>
                </c:pt>
                <c:pt idx="247">
                  <c:v>5</c:v>
                </c:pt>
                <c:pt idx="250">
                  <c:v>5</c:v>
                </c:pt>
                <c:pt idx="256">
                  <c:v>5</c:v>
                </c:pt>
                <c:pt idx="257">
                  <c:v>5</c:v>
                </c:pt>
                <c:pt idx="259">
                  <c:v>5</c:v>
                </c:pt>
                <c:pt idx="261">
                  <c:v>5</c:v>
                </c:pt>
                <c:pt idx="265">
                  <c:v>2</c:v>
                </c:pt>
                <c:pt idx="267">
                  <c:v>5</c:v>
                </c:pt>
                <c:pt idx="268">
                  <c:v>5</c:v>
                </c:pt>
                <c:pt idx="272">
                  <c:v>5</c:v>
                </c:pt>
                <c:pt idx="277">
                  <c:v>5</c:v>
                </c:pt>
                <c:pt idx="279">
                  <c:v>5</c:v>
                </c:pt>
                <c:pt idx="281">
                  <c:v>1</c:v>
                </c:pt>
                <c:pt idx="283">
                  <c:v>1</c:v>
                </c:pt>
                <c:pt idx="285">
                  <c:v>2</c:v>
                </c:pt>
                <c:pt idx="286">
                  <c:v>2</c:v>
                </c:pt>
                <c:pt idx="288">
                  <c:v>5</c:v>
                </c:pt>
                <c:pt idx="290">
                  <c:v>5</c:v>
                </c:pt>
                <c:pt idx="291">
                  <c:v>3</c:v>
                </c:pt>
                <c:pt idx="292">
                  <c:v>2</c:v>
                </c:pt>
                <c:pt idx="294">
                  <c:v>2</c:v>
                </c:pt>
                <c:pt idx="295">
                  <c:v>5</c:v>
                </c:pt>
                <c:pt idx="297">
                  <c:v>5</c:v>
                </c:pt>
                <c:pt idx="298">
                  <c:v>5</c:v>
                </c:pt>
                <c:pt idx="299">
                  <c:v>2</c:v>
                </c:pt>
                <c:pt idx="300">
                  <c:v>3</c:v>
                </c:pt>
                <c:pt idx="301">
                  <c:v>2</c:v>
                </c:pt>
                <c:pt idx="303">
                  <c:v>2</c:v>
                </c:pt>
                <c:pt idx="304">
                  <c:v>2</c:v>
                </c:pt>
                <c:pt idx="305">
                  <c:v>3</c:v>
                </c:pt>
                <c:pt idx="306">
                  <c:v>2</c:v>
                </c:pt>
                <c:pt idx="307">
                  <c:v>3</c:v>
                </c:pt>
                <c:pt idx="308">
                  <c:v>3</c:v>
                </c:pt>
                <c:pt idx="309">
                  <c:v>3</c:v>
                </c:pt>
                <c:pt idx="310">
                  <c:v>3</c:v>
                </c:pt>
                <c:pt idx="311">
                  <c:v>3</c:v>
                </c:pt>
                <c:pt idx="312">
                  <c:v>3</c:v>
                </c:pt>
                <c:pt idx="313">
                  <c:v>0</c:v>
                </c:pt>
                <c:pt idx="315">
                  <c:v>3</c:v>
                </c:pt>
                <c:pt idx="316">
                  <c:v>3</c:v>
                </c:pt>
                <c:pt idx="317">
                  <c:v>3</c:v>
                </c:pt>
                <c:pt idx="318">
                  <c:v>3</c:v>
                </c:pt>
                <c:pt idx="319">
                  <c:v>3</c:v>
                </c:pt>
                <c:pt idx="320">
                  <c:v>3</c:v>
                </c:pt>
                <c:pt idx="321">
                  <c:v>3</c:v>
                </c:pt>
                <c:pt idx="326">
                  <c:v>3</c:v>
                </c:pt>
                <c:pt idx="327">
                  <c:v>3</c:v>
                </c:pt>
                <c:pt idx="328">
                  <c:v>3</c:v>
                </c:pt>
                <c:pt idx="329">
                  <c:v>3</c:v>
                </c:pt>
                <c:pt idx="330">
                  <c:v>3</c:v>
                </c:pt>
                <c:pt idx="331">
                  <c:v>3</c:v>
                </c:pt>
                <c:pt idx="332">
                  <c:v>3</c:v>
                </c:pt>
                <c:pt idx="333">
                  <c:v>3</c:v>
                </c:pt>
                <c:pt idx="334">
                  <c:v>3</c:v>
                </c:pt>
                <c:pt idx="335">
                  <c:v>3</c:v>
                </c:pt>
                <c:pt idx="336">
                  <c:v>3</c:v>
                </c:pt>
                <c:pt idx="337">
                  <c:v>3</c:v>
                </c:pt>
                <c:pt idx="338">
                  <c:v>3</c:v>
                </c:pt>
                <c:pt idx="339">
                  <c:v>3</c:v>
                </c:pt>
                <c:pt idx="340">
                  <c:v>3</c:v>
                </c:pt>
                <c:pt idx="341">
                  <c:v>3</c:v>
                </c:pt>
                <c:pt idx="342">
                  <c:v>3</c:v>
                </c:pt>
                <c:pt idx="343">
                  <c:v>3</c:v>
                </c:pt>
                <c:pt idx="344">
                  <c:v>3</c:v>
                </c:pt>
                <c:pt idx="345">
                  <c:v>3</c:v>
                </c:pt>
                <c:pt idx="346">
                  <c:v>3</c:v>
                </c:pt>
                <c:pt idx="347">
                  <c:v>3</c:v>
                </c:pt>
                <c:pt idx="349">
                  <c:v>8</c:v>
                </c:pt>
                <c:pt idx="350">
                  <c:v>6</c:v>
                </c:pt>
                <c:pt idx="351">
                  <c:v>5</c:v>
                </c:pt>
                <c:pt idx="352">
                  <c:v>5</c:v>
                </c:pt>
                <c:pt idx="355">
                  <c:v>2</c:v>
                </c:pt>
                <c:pt idx="357">
                  <c:v>2</c:v>
                </c:pt>
                <c:pt idx="358">
                  <c:v>3</c:v>
                </c:pt>
                <c:pt idx="359">
                  <c:v>3</c:v>
                </c:pt>
                <c:pt idx="360">
                  <c:v>3</c:v>
                </c:pt>
                <c:pt idx="362">
                  <c:v>2</c:v>
                </c:pt>
                <c:pt idx="363">
                  <c:v>5</c:v>
                </c:pt>
                <c:pt idx="368">
                  <c:v>2</c:v>
                </c:pt>
                <c:pt idx="369">
                  <c:v>2</c:v>
                </c:pt>
                <c:pt idx="370">
                  <c:v>3</c:v>
                </c:pt>
                <c:pt idx="371">
                  <c:v>3</c:v>
                </c:pt>
                <c:pt idx="372">
                  <c:v>3</c:v>
                </c:pt>
                <c:pt idx="373">
                  <c:v>3</c:v>
                </c:pt>
                <c:pt idx="377">
                  <c:v>3</c:v>
                </c:pt>
                <c:pt idx="378">
                  <c:v>3</c:v>
                </c:pt>
                <c:pt idx="379">
                  <c:v>3</c:v>
                </c:pt>
                <c:pt idx="380">
                  <c:v>3</c:v>
                </c:pt>
                <c:pt idx="381">
                  <c:v>3</c:v>
                </c:pt>
                <c:pt idx="382">
                  <c:v>3</c:v>
                </c:pt>
                <c:pt idx="383">
                  <c:v>3</c:v>
                </c:pt>
                <c:pt idx="384">
                  <c:v>3</c:v>
                </c:pt>
                <c:pt idx="385">
                  <c:v>3</c:v>
                </c:pt>
                <c:pt idx="386">
                  <c:v>3</c:v>
                </c:pt>
                <c:pt idx="387">
                  <c:v>3</c:v>
                </c:pt>
                <c:pt idx="388">
                  <c:v>3</c:v>
                </c:pt>
                <c:pt idx="389">
                  <c:v>3</c:v>
                </c:pt>
                <c:pt idx="390">
                  <c:v>3</c:v>
                </c:pt>
                <c:pt idx="398">
                  <c:v>3</c:v>
                </c:pt>
                <c:pt idx="401">
                  <c:v>2</c:v>
                </c:pt>
                <c:pt idx="404">
                  <c:v>3.5</c:v>
                </c:pt>
                <c:pt idx="405">
                  <c:v>3</c:v>
                </c:pt>
                <c:pt idx="406">
                  <c:v>3</c:v>
                </c:pt>
                <c:pt idx="407">
                  <c:v>5</c:v>
                </c:pt>
                <c:pt idx="409">
                  <c:v>5</c:v>
                </c:pt>
                <c:pt idx="410">
                  <c:v>4</c:v>
                </c:pt>
                <c:pt idx="411">
                  <c:v>3</c:v>
                </c:pt>
                <c:pt idx="413">
                  <c:v>3</c:v>
                </c:pt>
                <c:pt idx="414">
                  <c:v>3</c:v>
                </c:pt>
                <c:pt idx="415">
                  <c:v>3</c:v>
                </c:pt>
                <c:pt idx="417">
                  <c:v>2</c:v>
                </c:pt>
                <c:pt idx="418">
                  <c:v>2</c:v>
                </c:pt>
                <c:pt idx="419">
                  <c:v>2</c:v>
                </c:pt>
                <c:pt idx="421">
                  <c:v>3</c:v>
                </c:pt>
                <c:pt idx="422">
                  <c:v>3</c:v>
                </c:pt>
                <c:pt idx="423">
                  <c:v>2</c:v>
                </c:pt>
                <c:pt idx="424">
                  <c:v>2</c:v>
                </c:pt>
                <c:pt idx="425">
                  <c:v>2</c:v>
                </c:pt>
                <c:pt idx="426">
                  <c:v>2</c:v>
                </c:pt>
                <c:pt idx="427">
                  <c:v>2</c:v>
                </c:pt>
                <c:pt idx="429">
                  <c:v>2</c:v>
                </c:pt>
                <c:pt idx="430">
                  <c:v>5</c:v>
                </c:pt>
                <c:pt idx="431">
                  <c:v>5</c:v>
                </c:pt>
                <c:pt idx="432">
                  <c:v>5</c:v>
                </c:pt>
                <c:pt idx="433">
                  <c:v>5</c:v>
                </c:pt>
                <c:pt idx="434">
                  <c:v>5</c:v>
                </c:pt>
                <c:pt idx="435">
                  <c:v>5</c:v>
                </c:pt>
                <c:pt idx="436">
                  <c:v>5</c:v>
                </c:pt>
                <c:pt idx="437">
                  <c:v>5</c:v>
                </c:pt>
                <c:pt idx="438">
                  <c:v>5</c:v>
                </c:pt>
                <c:pt idx="439">
                  <c:v>5</c:v>
                </c:pt>
                <c:pt idx="440">
                  <c:v>5</c:v>
                </c:pt>
                <c:pt idx="441">
                  <c:v>5</c:v>
                </c:pt>
                <c:pt idx="442">
                  <c:v>5</c:v>
                </c:pt>
                <c:pt idx="447">
                  <c:v>0</c:v>
                </c:pt>
                <c:pt idx="449">
                  <c:v>2</c:v>
                </c:pt>
                <c:pt idx="451">
                  <c:v>2</c:v>
                </c:pt>
                <c:pt idx="452">
                  <c:v>4</c:v>
                </c:pt>
                <c:pt idx="454">
                  <c:v>2</c:v>
                </c:pt>
                <c:pt idx="455">
                  <c:v>8</c:v>
                </c:pt>
                <c:pt idx="456">
                  <c:v>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C8A-46C6-99AE-52071130BB56}"/>
            </c:ext>
          </c:extLst>
        </c:ser>
        <c:ser>
          <c:idx val="2"/>
          <c:order val="2"/>
          <c:tx>
            <c:strRef>
              <c:f>Sheet1!$J$3</c:f>
              <c:strCache>
                <c:ptCount val="1"/>
                <c:pt idx="0">
                  <c:v>Qж ТМ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4"/>
            <c:spPr>
              <a:solidFill>
                <a:srgbClr val="00B0F0"/>
              </a:solidFill>
              <a:ln w="3175">
                <a:solidFill>
                  <a:srgbClr val="000000"/>
                </a:solidFill>
              </a:ln>
            </c:spPr>
          </c:marker>
          <c:xVal>
            <c:numRef>
              <c:f>Sheet1!$A$195:$A$5000</c:f>
              <c:numCache>
                <c:formatCode>General</c:formatCode>
                <c:ptCount val="480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</c:numCache>
            </c:numRef>
          </c:xVal>
          <c:yVal>
            <c:numRef>
              <c:f>Sheet1!$J$195:$J$5000</c:f>
              <c:numCache>
                <c:formatCode>General</c:formatCode>
                <c:ptCount val="4806"/>
                <c:pt idx="3">
                  <c:v>64.400000000000006</c:v>
                </c:pt>
                <c:pt idx="4">
                  <c:v>63.63</c:v>
                </c:pt>
                <c:pt idx="5">
                  <c:v>57.17</c:v>
                </c:pt>
                <c:pt idx="6">
                  <c:v>51.3</c:v>
                </c:pt>
                <c:pt idx="7">
                  <c:v>50.1</c:v>
                </c:pt>
                <c:pt idx="8">
                  <c:v>48.15</c:v>
                </c:pt>
                <c:pt idx="9">
                  <c:v>40.869999999999997</c:v>
                </c:pt>
                <c:pt idx="10">
                  <c:v>39.799999999999997</c:v>
                </c:pt>
                <c:pt idx="11">
                  <c:v>39.799999999999997</c:v>
                </c:pt>
                <c:pt idx="12">
                  <c:v>40.1</c:v>
                </c:pt>
                <c:pt idx="13">
                  <c:v>40.1</c:v>
                </c:pt>
                <c:pt idx="14">
                  <c:v>40.1</c:v>
                </c:pt>
                <c:pt idx="15">
                  <c:v>38.4</c:v>
                </c:pt>
                <c:pt idx="16">
                  <c:v>38.4</c:v>
                </c:pt>
                <c:pt idx="17">
                  <c:v>37.450000000000003</c:v>
                </c:pt>
                <c:pt idx="18">
                  <c:v>37.6</c:v>
                </c:pt>
                <c:pt idx="19">
                  <c:v>35.9</c:v>
                </c:pt>
                <c:pt idx="20">
                  <c:v>37</c:v>
                </c:pt>
                <c:pt idx="21">
                  <c:v>33.6</c:v>
                </c:pt>
                <c:pt idx="22">
                  <c:v>35.4</c:v>
                </c:pt>
                <c:pt idx="23">
                  <c:v>33.9</c:v>
                </c:pt>
                <c:pt idx="24">
                  <c:v>33.9</c:v>
                </c:pt>
                <c:pt idx="25">
                  <c:v>33.9</c:v>
                </c:pt>
                <c:pt idx="26">
                  <c:v>33.9</c:v>
                </c:pt>
                <c:pt idx="27">
                  <c:v>33.9</c:v>
                </c:pt>
                <c:pt idx="28">
                  <c:v>33.9</c:v>
                </c:pt>
                <c:pt idx="29">
                  <c:v>30.2</c:v>
                </c:pt>
                <c:pt idx="30">
                  <c:v>31.3</c:v>
                </c:pt>
                <c:pt idx="31">
                  <c:v>31.2</c:v>
                </c:pt>
                <c:pt idx="32">
                  <c:v>28.6</c:v>
                </c:pt>
                <c:pt idx="33">
                  <c:v>29.2</c:v>
                </c:pt>
                <c:pt idx="34">
                  <c:v>27.8</c:v>
                </c:pt>
                <c:pt idx="35">
                  <c:v>27.5</c:v>
                </c:pt>
                <c:pt idx="36">
                  <c:v>27.4</c:v>
                </c:pt>
                <c:pt idx="37">
                  <c:v>27</c:v>
                </c:pt>
                <c:pt idx="38">
                  <c:v>26.8</c:v>
                </c:pt>
                <c:pt idx="39">
                  <c:v>26.8</c:v>
                </c:pt>
                <c:pt idx="40">
                  <c:v>31.7</c:v>
                </c:pt>
                <c:pt idx="41">
                  <c:v>26.7</c:v>
                </c:pt>
                <c:pt idx="42">
                  <c:v>24.6</c:v>
                </c:pt>
                <c:pt idx="43">
                  <c:v>23.4</c:v>
                </c:pt>
                <c:pt idx="44">
                  <c:v>24</c:v>
                </c:pt>
                <c:pt idx="45">
                  <c:v>24</c:v>
                </c:pt>
                <c:pt idx="46">
                  <c:v>23.9</c:v>
                </c:pt>
                <c:pt idx="47">
                  <c:v>23.2</c:v>
                </c:pt>
                <c:pt idx="48">
                  <c:v>19.899999999999999</c:v>
                </c:pt>
                <c:pt idx="49">
                  <c:v>30</c:v>
                </c:pt>
                <c:pt idx="50">
                  <c:v>24.3</c:v>
                </c:pt>
                <c:pt idx="51">
                  <c:v>22.4</c:v>
                </c:pt>
                <c:pt idx="52">
                  <c:v>21.8</c:v>
                </c:pt>
                <c:pt idx="53">
                  <c:v>22.9</c:v>
                </c:pt>
                <c:pt idx="54">
                  <c:v>21.8</c:v>
                </c:pt>
                <c:pt idx="55">
                  <c:v>22.5</c:v>
                </c:pt>
                <c:pt idx="56">
                  <c:v>22</c:v>
                </c:pt>
                <c:pt idx="57">
                  <c:v>21.5</c:v>
                </c:pt>
                <c:pt idx="58">
                  <c:v>23.6</c:v>
                </c:pt>
                <c:pt idx="59">
                  <c:v>18.7</c:v>
                </c:pt>
                <c:pt idx="60">
                  <c:v>23.4</c:v>
                </c:pt>
                <c:pt idx="61">
                  <c:v>23.45</c:v>
                </c:pt>
                <c:pt idx="62">
                  <c:v>16.3</c:v>
                </c:pt>
                <c:pt idx="63">
                  <c:v>22.9</c:v>
                </c:pt>
                <c:pt idx="64">
                  <c:v>25.1</c:v>
                </c:pt>
                <c:pt idx="65">
                  <c:v>22.6</c:v>
                </c:pt>
                <c:pt idx="66">
                  <c:v>26.3</c:v>
                </c:pt>
                <c:pt idx="67">
                  <c:v>22.9</c:v>
                </c:pt>
                <c:pt idx="68">
                  <c:v>22.9</c:v>
                </c:pt>
                <c:pt idx="69">
                  <c:v>22.9</c:v>
                </c:pt>
                <c:pt idx="70">
                  <c:v>20.5</c:v>
                </c:pt>
                <c:pt idx="71">
                  <c:v>15.4</c:v>
                </c:pt>
                <c:pt idx="72">
                  <c:v>18.399999999999999</c:v>
                </c:pt>
                <c:pt idx="73">
                  <c:v>18.399999999999999</c:v>
                </c:pt>
                <c:pt idx="74">
                  <c:v>18.600000000000001</c:v>
                </c:pt>
                <c:pt idx="75">
                  <c:v>18.600000000000001</c:v>
                </c:pt>
                <c:pt idx="76">
                  <c:v>21.2</c:v>
                </c:pt>
                <c:pt idx="77">
                  <c:v>21.8</c:v>
                </c:pt>
                <c:pt idx="78">
                  <c:v>21.8</c:v>
                </c:pt>
                <c:pt idx="79">
                  <c:v>14.6</c:v>
                </c:pt>
                <c:pt idx="80">
                  <c:v>14.6</c:v>
                </c:pt>
                <c:pt idx="81">
                  <c:v>21.7</c:v>
                </c:pt>
                <c:pt idx="82">
                  <c:v>17.100000000000001</c:v>
                </c:pt>
                <c:pt idx="83">
                  <c:v>15.1</c:v>
                </c:pt>
                <c:pt idx="84">
                  <c:v>15.1</c:v>
                </c:pt>
                <c:pt idx="85">
                  <c:v>16.899999999999999</c:v>
                </c:pt>
                <c:pt idx="86">
                  <c:v>15.9</c:v>
                </c:pt>
                <c:pt idx="87">
                  <c:v>20.45</c:v>
                </c:pt>
                <c:pt idx="88">
                  <c:v>18.7</c:v>
                </c:pt>
                <c:pt idx="89">
                  <c:v>19.25</c:v>
                </c:pt>
                <c:pt idx="90">
                  <c:v>31.53</c:v>
                </c:pt>
                <c:pt idx="91">
                  <c:v>19.63</c:v>
                </c:pt>
                <c:pt idx="92">
                  <c:v>15.6</c:v>
                </c:pt>
                <c:pt idx="93">
                  <c:v>17.2</c:v>
                </c:pt>
                <c:pt idx="94">
                  <c:v>22.6</c:v>
                </c:pt>
                <c:pt idx="96">
                  <c:v>15.35</c:v>
                </c:pt>
                <c:pt idx="97">
                  <c:v>23.03</c:v>
                </c:pt>
                <c:pt idx="98">
                  <c:v>13.7</c:v>
                </c:pt>
                <c:pt idx="99">
                  <c:v>13.7</c:v>
                </c:pt>
                <c:pt idx="100">
                  <c:v>13.75</c:v>
                </c:pt>
                <c:pt idx="101">
                  <c:v>16.399999999999999</c:v>
                </c:pt>
                <c:pt idx="102">
                  <c:v>9.1</c:v>
                </c:pt>
                <c:pt idx="103">
                  <c:v>30.7</c:v>
                </c:pt>
                <c:pt idx="104">
                  <c:v>8.8000000000000007</c:v>
                </c:pt>
                <c:pt idx="105">
                  <c:v>15.7</c:v>
                </c:pt>
                <c:pt idx="106">
                  <c:v>11.8</c:v>
                </c:pt>
                <c:pt idx="107">
                  <c:v>46.1</c:v>
                </c:pt>
                <c:pt idx="108">
                  <c:v>23.5</c:v>
                </c:pt>
                <c:pt idx="109">
                  <c:v>11.6</c:v>
                </c:pt>
                <c:pt idx="110">
                  <c:v>20.7</c:v>
                </c:pt>
                <c:pt idx="111">
                  <c:v>17.8</c:v>
                </c:pt>
                <c:pt idx="112">
                  <c:v>17.8</c:v>
                </c:pt>
                <c:pt idx="113">
                  <c:v>18.2</c:v>
                </c:pt>
                <c:pt idx="114">
                  <c:v>9.6</c:v>
                </c:pt>
                <c:pt idx="115">
                  <c:v>12.5</c:v>
                </c:pt>
                <c:pt idx="116">
                  <c:v>8.9</c:v>
                </c:pt>
                <c:pt idx="117">
                  <c:v>9.8000000000000007</c:v>
                </c:pt>
                <c:pt idx="118">
                  <c:v>15.4</c:v>
                </c:pt>
                <c:pt idx="119">
                  <c:v>67</c:v>
                </c:pt>
                <c:pt idx="120">
                  <c:v>23.2</c:v>
                </c:pt>
                <c:pt idx="121">
                  <c:v>18.2</c:v>
                </c:pt>
                <c:pt idx="122">
                  <c:v>15.2</c:v>
                </c:pt>
                <c:pt idx="123">
                  <c:v>12.7</c:v>
                </c:pt>
                <c:pt idx="125">
                  <c:v>7.5</c:v>
                </c:pt>
                <c:pt idx="126">
                  <c:v>13</c:v>
                </c:pt>
                <c:pt idx="127">
                  <c:v>14.5</c:v>
                </c:pt>
                <c:pt idx="128">
                  <c:v>52.8</c:v>
                </c:pt>
                <c:pt idx="129">
                  <c:v>11.5</c:v>
                </c:pt>
                <c:pt idx="130">
                  <c:v>5.8</c:v>
                </c:pt>
                <c:pt idx="132">
                  <c:v>12.6</c:v>
                </c:pt>
                <c:pt idx="133">
                  <c:v>13.5</c:v>
                </c:pt>
                <c:pt idx="134">
                  <c:v>52.4</c:v>
                </c:pt>
                <c:pt idx="135">
                  <c:v>9.4</c:v>
                </c:pt>
                <c:pt idx="136">
                  <c:v>14.3</c:v>
                </c:pt>
                <c:pt idx="137">
                  <c:v>13.8</c:v>
                </c:pt>
                <c:pt idx="138">
                  <c:v>32.200000000000003</c:v>
                </c:pt>
                <c:pt idx="140">
                  <c:v>11.4</c:v>
                </c:pt>
                <c:pt idx="142">
                  <c:v>8.1999999999999993</c:v>
                </c:pt>
                <c:pt idx="143">
                  <c:v>10.35</c:v>
                </c:pt>
                <c:pt idx="144">
                  <c:v>4.05</c:v>
                </c:pt>
                <c:pt idx="145">
                  <c:v>6.8</c:v>
                </c:pt>
                <c:pt idx="146">
                  <c:v>10.15</c:v>
                </c:pt>
                <c:pt idx="148">
                  <c:v>5.2</c:v>
                </c:pt>
                <c:pt idx="150">
                  <c:v>4.9000000000000004</c:v>
                </c:pt>
                <c:pt idx="151">
                  <c:v>15.78</c:v>
                </c:pt>
                <c:pt idx="152">
                  <c:v>15.87</c:v>
                </c:pt>
                <c:pt idx="153">
                  <c:v>10.4</c:v>
                </c:pt>
                <c:pt idx="154">
                  <c:v>3.83</c:v>
                </c:pt>
                <c:pt idx="155">
                  <c:v>6.17</c:v>
                </c:pt>
                <c:pt idx="156">
                  <c:v>17.899999999999999</c:v>
                </c:pt>
                <c:pt idx="157">
                  <c:v>12.8</c:v>
                </c:pt>
                <c:pt idx="159">
                  <c:v>7.6</c:v>
                </c:pt>
                <c:pt idx="160">
                  <c:v>22</c:v>
                </c:pt>
                <c:pt idx="161">
                  <c:v>7.2</c:v>
                </c:pt>
                <c:pt idx="162">
                  <c:v>17.600000000000001</c:v>
                </c:pt>
                <c:pt idx="163">
                  <c:v>5.2</c:v>
                </c:pt>
                <c:pt idx="164">
                  <c:v>11.6</c:v>
                </c:pt>
                <c:pt idx="165">
                  <c:v>7.1</c:v>
                </c:pt>
                <c:pt idx="166">
                  <c:v>5.7</c:v>
                </c:pt>
                <c:pt idx="176">
                  <c:v>26.95</c:v>
                </c:pt>
                <c:pt idx="177">
                  <c:v>14.43</c:v>
                </c:pt>
                <c:pt idx="178">
                  <c:v>26.07</c:v>
                </c:pt>
                <c:pt idx="179">
                  <c:v>10</c:v>
                </c:pt>
                <c:pt idx="181">
                  <c:v>7.6</c:v>
                </c:pt>
                <c:pt idx="182">
                  <c:v>3.7</c:v>
                </c:pt>
                <c:pt idx="183">
                  <c:v>17.3</c:v>
                </c:pt>
                <c:pt idx="185">
                  <c:v>6</c:v>
                </c:pt>
                <c:pt idx="186">
                  <c:v>13.3</c:v>
                </c:pt>
                <c:pt idx="188">
                  <c:v>13.2</c:v>
                </c:pt>
                <c:pt idx="189">
                  <c:v>43.5</c:v>
                </c:pt>
                <c:pt idx="190">
                  <c:v>11.35</c:v>
                </c:pt>
                <c:pt idx="191">
                  <c:v>9</c:v>
                </c:pt>
                <c:pt idx="192">
                  <c:v>11.2</c:v>
                </c:pt>
                <c:pt idx="193">
                  <c:v>8.6999999999999993</c:v>
                </c:pt>
                <c:pt idx="194">
                  <c:v>8.1999999999999993</c:v>
                </c:pt>
                <c:pt idx="196">
                  <c:v>8.1</c:v>
                </c:pt>
                <c:pt idx="197">
                  <c:v>6.5</c:v>
                </c:pt>
                <c:pt idx="199">
                  <c:v>7.03</c:v>
                </c:pt>
                <c:pt idx="200">
                  <c:v>9</c:v>
                </c:pt>
                <c:pt idx="201">
                  <c:v>33.1</c:v>
                </c:pt>
                <c:pt idx="202">
                  <c:v>10.4</c:v>
                </c:pt>
                <c:pt idx="203">
                  <c:v>5.3</c:v>
                </c:pt>
                <c:pt idx="204">
                  <c:v>5.7</c:v>
                </c:pt>
                <c:pt idx="205">
                  <c:v>5.2</c:v>
                </c:pt>
                <c:pt idx="207">
                  <c:v>13.2</c:v>
                </c:pt>
                <c:pt idx="208">
                  <c:v>12.75</c:v>
                </c:pt>
                <c:pt idx="209">
                  <c:v>12.5</c:v>
                </c:pt>
                <c:pt idx="210">
                  <c:v>14.8</c:v>
                </c:pt>
                <c:pt idx="211">
                  <c:v>8.3000000000000007</c:v>
                </c:pt>
                <c:pt idx="213">
                  <c:v>9.5</c:v>
                </c:pt>
                <c:pt idx="215">
                  <c:v>6.8</c:v>
                </c:pt>
                <c:pt idx="217">
                  <c:v>18.57</c:v>
                </c:pt>
                <c:pt idx="219">
                  <c:v>16.2</c:v>
                </c:pt>
                <c:pt idx="221">
                  <c:v>10.1</c:v>
                </c:pt>
                <c:pt idx="223">
                  <c:v>7.6</c:v>
                </c:pt>
                <c:pt idx="224">
                  <c:v>19.3</c:v>
                </c:pt>
                <c:pt idx="226">
                  <c:v>8.4</c:v>
                </c:pt>
                <c:pt idx="228">
                  <c:v>3.8</c:v>
                </c:pt>
                <c:pt idx="230">
                  <c:v>12.7</c:v>
                </c:pt>
                <c:pt idx="231">
                  <c:v>14</c:v>
                </c:pt>
                <c:pt idx="233">
                  <c:v>10.4</c:v>
                </c:pt>
                <c:pt idx="235">
                  <c:v>8.1999999999999993</c:v>
                </c:pt>
                <c:pt idx="236">
                  <c:v>33.700000000000003</c:v>
                </c:pt>
                <c:pt idx="237">
                  <c:v>26.65</c:v>
                </c:pt>
                <c:pt idx="239">
                  <c:v>6.35</c:v>
                </c:pt>
                <c:pt idx="241">
                  <c:v>77.5</c:v>
                </c:pt>
                <c:pt idx="242">
                  <c:v>9.5</c:v>
                </c:pt>
                <c:pt idx="243">
                  <c:v>3.5</c:v>
                </c:pt>
                <c:pt idx="244">
                  <c:v>11.2</c:v>
                </c:pt>
                <c:pt idx="246">
                  <c:v>9</c:v>
                </c:pt>
                <c:pt idx="247">
                  <c:v>7.6</c:v>
                </c:pt>
                <c:pt idx="248">
                  <c:v>40.200000000000003</c:v>
                </c:pt>
                <c:pt idx="250">
                  <c:v>9.9</c:v>
                </c:pt>
                <c:pt idx="252">
                  <c:v>9</c:v>
                </c:pt>
                <c:pt idx="253">
                  <c:v>3.2</c:v>
                </c:pt>
                <c:pt idx="254">
                  <c:v>10.75</c:v>
                </c:pt>
                <c:pt idx="255">
                  <c:v>5.5</c:v>
                </c:pt>
                <c:pt idx="256">
                  <c:v>7</c:v>
                </c:pt>
                <c:pt idx="257">
                  <c:v>19.32</c:v>
                </c:pt>
                <c:pt idx="258">
                  <c:v>23.85</c:v>
                </c:pt>
                <c:pt idx="259">
                  <c:v>8</c:v>
                </c:pt>
                <c:pt idx="261">
                  <c:v>7.6</c:v>
                </c:pt>
                <c:pt idx="262">
                  <c:v>20.87</c:v>
                </c:pt>
                <c:pt idx="263">
                  <c:v>24.43</c:v>
                </c:pt>
                <c:pt idx="264">
                  <c:v>9.6</c:v>
                </c:pt>
                <c:pt idx="267">
                  <c:v>10.1</c:v>
                </c:pt>
                <c:pt idx="268">
                  <c:v>5.7</c:v>
                </c:pt>
                <c:pt idx="269">
                  <c:v>16.8</c:v>
                </c:pt>
                <c:pt idx="270">
                  <c:v>10.7</c:v>
                </c:pt>
                <c:pt idx="272">
                  <c:v>8.1999999999999993</c:v>
                </c:pt>
                <c:pt idx="274">
                  <c:v>5.8</c:v>
                </c:pt>
                <c:pt idx="275">
                  <c:v>16.5</c:v>
                </c:pt>
                <c:pt idx="277">
                  <c:v>8.8000000000000007</c:v>
                </c:pt>
                <c:pt idx="279">
                  <c:v>8.8000000000000007</c:v>
                </c:pt>
                <c:pt idx="281">
                  <c:v>7.1</c:v>
                </c:pt>
                <c:pt idx="283">
                  <c:v>8.3000000000000007</c:v>
                </c:pt>
                <c:pt idx="285">
                  <c:v>9.8000000000000007</c:v>
                </c:pt>
                <c:pt idx="286">
                  <c:v>7.1</c:v>
                </c:pt>
                <c:pt idx="288">
                  <c:v>8.3000000000000007</c:v>
                </c:pt>
                <c:pt idx="290">
                  <c:v>9.9</c:v>
                </c:pt>
                <c:pt idx="291">
                  <c:v>8</c:v>
                </c:pt>
                <c:pt idx="292">
                  <c:v>7.1</c:v>
                </c:pt>
                <c:pt idx="294">
                  <c:v>4.9000000000000004</c:v>
                </c:pt>
                <c:pt idx="296">
                  <c:v>16.7</c:v>
                </c:pt>
                <c:pt idx="297">
                  <c:v>6.7</c:v>
                </c:pt>
                <c:pt idx="298">
                  <c:v>7.3</c:v>
                </c:pt>
                <c:pt idx="299">
                  <c:v>7.8</c:v>
                </c:pt>
                <c:pt idx="300">
                  <c:v>7.1</c:v>
                </c:pt>
                <c:pt idx="301">
                  <c:v>18.399999999999999</c:v>
                </c:pt>
                <c:pt idx="303">
                  <c:v>9.8000000000000007</c:v>
                </c:pt>
                <c:pt idx="304">
                  <c:v>6.5</c:v>
                </c:pt>
                <c:pt idx="305">
                  <c:v>7.6</c:v>
                </c:pt>
                <c:pt idx="306">
                  <c:v>7.2</c:v>
                </c:pt>
                <c:pt idx="307">
                  <c:v>7.7</c:v>
                </c:pt>
                <c:pt idx="308">
                  <c:v>13.7</c:v>
                </c:pt>
                <c:pt idx="309">
                  <c:v>9.9</c:v>
                </c:pt>
                <c:pt idx="310">
                  <c:v>10.5</c:v>
                </c:pt>
                <c:pt idx="311">
                  <c:v>9.9</c:v>
                </c:pt>
                <c:pt idx="312">
                  <c:v>6.6</c:v>
                </c:pt>
                <c:pt idx="313">
                  <c:v>7.5</c:v>
                </c:pt>
                <c:pt idx="315">
                  <c:v>12.95</c:v>
                </c:pt>
                <c:pt idx="316">
                  <c:v>9.8000000000000007</c:v>
                </c:pt>
                <c:pt idx="317">
                  <c:v>10</c:v>
                </c:pt>
                <c:pt idx="318">
                  <c:v>7.7</c:v>
                </c:pt>
                <c:pt idx="320">
                  <c:v>8.3000000000000007</c:v>
                </c:pt>
                <c:pt idx="321">
                  <c:v>3.95</c:v>
                </c:pt>
                <c:pt idx="322">
                  <c:v>10.85</c:v>
                </c:pt>
                <c:pt idx="324">
                  <c:v>7.1</c:v>
                </c:pt>
                <c:pt idx="326">
                  <c:v>7.1</c:v>
                </c:pt>
                <c:pt idx="327">
                  <c:v>7.9</c:v>
                </c:pt>
                <c:pt idx="328">
                  <c:v>7.2</c:v>
                </c:pt>
                <c:pt idx="329">
                  <c:v>4.7</c:v>
                </c:pt>
                <c:pt idx="330">
                  <c:v>19</c:v>
                </c:pt>
                <c:pt idx="331">
                  <c:v>8.6</c:v>
                </c:pt>
                <c:pt idx="332">
                  <c:v>6.8</c:v>
                </c:pt>
                <c:pt idx="333">
                  <c:v>10.6</c:v>
                </c:pt>
                <c:pt idx="334">
                  <c:v>6.8</c:v>
                </c:pt>
                <c:pt idx="335">
                  <c:v>5.0999999999999996</c:v>
                </c:pt>
                <c:pt idx="336">
                  <c:v>5.8</c:v>
                </c:pt>
                <c:pt idx="337">
                  <c:v>1.1000000000000001</c:v>
                </c:pt>
                <c:pt idx="338">
                  <c:v>9.6999999999999993</c:v>
                </c:pt>
                <c:pt idx="339">
                  <c:v>8.9</c:v>
                </c:pt>
                <c:pt idx="340">
                  <c:v>7.1</c:v>
                </c:pt>
                <c:pt idx="341">
                  <c:v>7.2</c:v>
                </c:pt>
                <c:pt idx="343">
                  <c:v>7.2</c:v>
                </c:pt>
                <c:pt idx="344">
                  <c:v>16.399999999999999</c:v>
                </c:pt>
                <c:pt idx="345">
                  <c:v>8.5</c:v>
                </c:pt>
                <c:pt idx="346">
                  <c:v>6</c:v>
                </c:pt>
                <c:pt idx="347">
                  <c:v>6.1</c:v>
                </c:pt>
                <c:pt idx="348">
                  <c:v>0.6</c:v>
                </c:pt>
                <c:pt idx="349">
                  <c:v>12</c:v>
                </c:pt>
                <c:pt idx="350">
                  <c:v>8.3000000000000007</c:v>
                </c:pt>
                <c:pt idx="351">
                  <c:v>7.4</c:v>
                </c:pt>
                <c:pt idx="352">
                  <c:v>16.399999999999999</c:v>
                </c:pt>
                <c:pt idx="354">
                  <c:v>9.5</c:v>
                </c:pt>
                <c:pt idx="355">
                  <c:v>9.8000000000000007</c:v>
                </c:pt>
                <c:pt idx="356">
                  <c:v>10.9</c:v>
                </c:pt>
                <c:pt idx="357">
                  <c:v>14.8</c:v>
                </c:pt>
                <c:pt idx="358">
                  <c:v>16.5</c:v>
                </c:pt>
                <c:pt idx="359">
                  <c:v>17.399999999999999</c:v>
                </c:pt>
                <c:pt idx="360">
                  <c:v>15</c:v>
                </c:pt>
                <c:pt idx="362">
                  <c:v>14.9</c:v>
                </c:pt>
                <c:pt idx="363">
                  <c:v>12.1</c:v>
                </c:pt>
                <c:pt idx="364">
                  <c:v>1.5</c:v>
                </c:pt>
                <c:pt idx="368">
                  <c:v>3.6</c:v>
                </c:pt>
                <c:pt idx="369">
                  <c:v>4.5</c:v>
                </c:pt>
                <c:pt idx="370">
                  <c:v>0.7</c:v>
                </c:pt>
                <c:pt idx="371">
                  <c:v>5.4</c:v>
                </c:pt>
                <c:pt idx="372">
                  <c:v>1.7</c:v>
                </c:pt>
                <c:pt idx="373">
                  <c:v>4.4000000000000004</c:v>
                </c:pt>
                <c:pt idx="375">
                  <c:v>8.9499999999999993</c:v>
                </c:pt>
                <c:pt idx="377">
                  <c:v>2.8</c:v>
                </c:pt>
                <c:pt idx="378">
                  <c:v>3.9</c:v>
                </c:pt>
                <c:pt idx="379">
                  <c:v>8.3000000000000007</c:v>
                </c:pt>
                <c:pt idx="380">
                  <c:v>7.2</c:v>
                </c:pt>
                <c:pt idx="381">
                  <c:v>4.5</c:v>
                </c:pt>
                <c:pt idx="382">
                  <c:v>4.8</c:v>
                </c:pt>
                <c:pt idx="383">
                  <c:v>3.3</c:v>
                </c:pt>
                <c:pt idx="384">
                  <c:v>2.5499999999999998</c:v>
                </c:pt>
                <c:pt idx="385">
                  <c:v>14.7</c:v>
                </c:pt>
                <c:pt idx="387">
                  <c:v>10.35</c:v>
                </c:pt>
                <c:pt idx="388">
                  <c:v>10</c:v>
                </c:pt>
                <c:pt idx="389">
                  <c:v>8.1999999999999993</c:v>
                </c:pt>
                <c:pt idx="390">
                  <c:v>4.8</c:v>
                </c:pt>
                <c:pt idx="391">
                  <c:v>3.5</c:v>
                </c:pt>
                <c:pt idx="392">
                  <c:v>4.8</c:v>
                </c:pt>
                <c:pt idx="393">
                  <c:v>4.0999999999999996</c:v>
                </c:pt>
                <c:pt idx="394">
                  <c:v>3.3</c:v>
                </c:pt>
                <c:pt idx="395">
                  <c:v>9.15</c:v>
                </c:pt>
                <c:pt idx="396">
                  <c:v>4.7</c:v>
                </c:pt>
                <c:pt idx="397">
                  <c:v>21.8</c:v>
                </c:pt>
                <c:pt idx="398">
                  <c:v>13.7</c:v>
                </c:pt>
                <c:pt idx="399">
                  <c:v>8.4499999999999993</c:v>
                </c:pt>
                <c:pt idx="400">
                  <c:v>7.3</c:v>
                </c:pt>
                <c:pt idx="401">
                  <c:v>6.6</c:v>
                </c:pt>
                <c:pt idx="402">
                  <c:v>1.4</c:v>
                </c:pt>
                <c:pt idx="404">
                  <c:v>8.1999999999999993</c:v>
                </c:pt>
                <c:pt idx="405">
                  <c:v>8.9</c:v>
                </c:pt>
                <c:pt idx="406">
                  <c:v>6.8</c:v>
                </c:pt>
                <c:pt idx="407">
                  <c:v>5</c:v>
                </c:pt>
                <c:pt idx="409">
                  <c:v>7.7</c:v>
                </c:pt>
                <c:pt idx="410">
                  <c:v>5.9</c:v>
                </c:pt>
                <c:pt idx="411">
                  <c:v>9.6999999999999993</c:v>
                </c:pt>
                <c:pt idx="413">
                  <c:v>9</c:v>
                </c:pt>
                <c:pt idx="414">
                  <c:v>5.5</c:v>
                </c:pt>
                <c:pt idx="415">
                  <c:v>9.6</c:v>
                </c:pt>
                <c:pt idx="417">
                  <c:v>10.4</c:v>
                </c:pt>
                <c:pt idx="418">
                  <c:v>6.3</c:v>
                </c:pt>
                <c:pt idx="420">
                  <c:v>1</c:v>
                </c:pt>
                <c:pt idx="421">
                  <c:v>12.9</c:v>
                </c:pt>
                <c:pt idx="422">
                  <c:v>10.5</c:v>
                </c:pt>
                <c:pt idx="423">
                  <c:v>11.1</c:v>
                </c:pt>
                <c:pt idx="424">
                  <c:v>15.1</c:v>
                </c:pt>
                <c:pt idx="425">
                  <c:v>16</c:v>
                </c:pt>
                <c:pt idx="426">
                  <c:v>10.07</c:v>
                </c:pt>
                <c:pt idx="427">
                  <c:v>3.57</c:v>
                </c:pt>
                <c:pt idx="429">
                  <c:v>9.65</c:v>
                </c:pt>
                <c:pt idx="430">
                  <c:v>8.5</c:v>
                </c:pt>
                <c:pt idx="431">
                  <c:v>18.5</c:v>
                </c:pt>
                <c:pt idx="432">
                  <c:v>4.2</c:v>
                </c:pt>
                <c:pt idx="434">
                  <c:v>7.95</c:v>
                </c:pt>
                <c:pt idx="435">
                  <c:v>6.7</c:v>
                </c:pt>
                <c:pt idx="436">
                  <c:v>0.8</c:v>
                </c:pt>
                <c:pt idx="437">
                  <c:v>3.65</c:v>
                </c:pt>
                <c:pt idx="438">
                  <c:v>8.9</c:v>
                </c:pt>
                <c:pt idx="439">
                  <c:v>3.4</c:v>
                </c:pt>
                <c:pt idx="440">
                  <c:v>5.7</c:v>
                </c:pt>
                <c:pt idx="441">
                  <c:v>7</c:v>
                </c:pt>
                <c:pt idx="442">
                  <c:v>7.6</c:v>
                </c:pt>
                <c:pt idx="443">
                  <c:v>13.5</c:v>
                </c:pt>
                <c:pt idx="444">
                  <c:v>11.6</c:v>
                </c:pt>
                <c:pt idx="445">
                  <c:v>9.6999999999999993</c:v>
                </c:pt>
                <c:pt idx="447">
                  <c:v>4.4000000000000004</c:v>
                </c:pt>
                <c:pt idx="448">
                  <c:v>19.8</c:v>
                </c:pt>
                <c:pt idx="449">
                  <c:v>9.1999999999999993</c:v>
                </c:pt>
                <c:pt idx="450">
                  <c:v>5.5</c:v>
                </c:pt>
                <c:pt idx="451">
                  <c:v>10.9</c:v>
                </c:pt>
                <c:pt idx="452">
                  <c:v>6.5</c:v>
                </c:pt>
                <c:pt idx="453">
                  <c:v>1.8</c:v>
                </c:pt>
                <c:pt idx="454">
                  <c:v>8.6</c:v>
                </c:pt>
                <c:pt idx="455">
                  <c:v>9.9</c:v>
                </c:pt>
                <c:pt idx="456">
                  <c:v>3.1</c:v>
                </c:pt>
                <c:pt idx="457">
                  <c:v>18.1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C8A-46C6-99AE-52071130BB56}"/>
            </c:ext>
          </c:extLst>
        </c:ser>
        <c:ser>
          <c:idx val="3"/>
          <c:order val="3"/>
          <c:tx>
            <c:strRef>
              <c:f>Sheet1!$I$3</c:f>
              <c:strCache>
                <c:ptCount val="1"/>
                <c:pt idx="0">
                  <c:v>Qгаз ТМ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4"/>
            <c:spPr>
              <a:solidFill>
                <a:srgbClr val="FFC000"/>
              </a:solidFill>
              <a:ln w="3175">
                <a:solidFill>
                  <a:srgbClr val="000000"/>
                </a:solidFill>
              </a:ln>
            </c:spPr>
          </c:marker>
          <c:xVal>
            <c:numRef>
              <c:f>Sheet1!$A$195:$A$5000</c:f>
              <c:numCache>
                <c:formatCode>General</c:formatCode>
                <c:ptCount val="480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</c:numCache>
            </c:numRef>
          </c:xVal>
          <c:yVal>
            <c:numRef>
              <c:f>Sheet1!$H$195:$H$5000</c:f>
              <c:numCache>
                <c:formatCode>General</c:formatCode>
                <c:ptCount val="4806"/>
                <c:pt idx="3">
                  <c:v>9.8800000000000008</c:v>
                </c:pt>
                <c:pt idx="4">
                  <c:v>10.542</c:v>
                </c:pt>
                <c:pt idx="5">
                  <c:v>10.303000000000001</c:v>
                </c:pt>
                <c:pt idx="6">
                  <c:v>9.3000000000000007</c:v>
                </c:pt>
                <c:pt idx="7">
                  <c:v>9.5869999999999997</c:v>
                </c:pt>
                <c:pt idx="8">
                  <c:v>8.6449999999999996</c:v>
                </c:pt>
                <c:pt idx="9">
                  <c:v>7.9249999999999998</c:v>
                </c:pt>
                <c:pt idx="10">
                  <c:v>7.6459999999999999</c:v>
                </c:pt>
                <c:pt idx="11">
                  <c:v>7.6459999999999999</c:v>
                </c:pt>
                <c:pt idx="12">
                  <c:v>8.1839999999999993</c:v>
                </c:pt>
                <c:pt idx="13">
                  <c:v>8.1839999999999993</c:v>
                </c:pt>
                <c:pt idx="14">
                  <c:v>8.1839999999999993</c:v>
                </c:pt>
                <c:pt idx="15">
                  <c:v>8.0679999999999996</c:v>
                </c:pt>
                <c:pt idx="16">
                  <c:v>8.0679999999999996</c:v>
                </c:pt>
                <c:pt idx="17">
                  <c:v>8.109</c:v>
                </c:pt>
                <c:pt idx="18">
                  <c:v>8.1370000000000005</c:v>
                </c:pt>
                <c:pt idx="19">
                  <c:v>7.984</c:v>
                </c:pt>
                <c:pt idx="20">
                  <c:v>7.8529999999999998</c:v>
                </c:pt>
                <c:pt idx="21">
                  <c:v>7.8090000000000002</c:v>
                </c:pt>
                <c:pt idx="22">
                  <c:v>7.7069999999999999</c:v>
                </c:pt>
                <c:pt idx="23">
                  <c:v>7.9180000000000001</c:v>
                </c:pt>
                <c:pt idx="24">
                  <c:v>7.9180000000000001</c:v>
                </c:pt>
                <c:pt idx="25">
                  <c:v>7.9180000000000001</c:v>
                </c:pt>
                <c:pt idx="26">
                  <c:v>7.9180000000000001</c:v>
                </c:pt>
                <c:pt idx="27">
                  <c:v>7.9180000000000001</c:v>
                </c:pt>
                <c:pt idx="28">
                  <c:v>7.9180000000000001</c:v>
                </c:pt>
                <c:pt idx="29">
                  <c:v>7.3239999999999998</c:v>
                </c:pt>
                <c:pt idx="30">
                  <c:v>8.3010000000000002</c:v>
                </c:pt>
                <c:pt idx="31">
                  <c:v>7.4189999999999996</c:v>
                </c:pt>
                <c:pt idx="32">
                  <c:v>7.0039999999999996</c:v>
                </c:pt>
                <c:pt idx="33">
                  <c:v>6.9379999999999997</c:v>
                </c:pt>
                <c:pt idx="34">
                  <c:v>6.867</c:v>
                </c:pt>
                <c:pt idx="35">
                  <c:v>6.8710000000000004</c:v>
                </c:pt>
                <c:pt idx="36">
                  <c:v>6.8789999999999996</c:v>
                </c:pt>
                <c:pt idx="37">
                  <c:v>6.6120000000000001</c:v>
                </c:pt>
                <c:pt idx="38">
                  <c:v>6.6609999999999996</c:v>
                </c:pt>
                <c:pt idx="39">
                  <c:v>6.6589999999999998</c:v>
                </c:pt>
                <c:pt idx="40">
                  <c:v>7.7919999999999998</c:v>
                </c:pt>
                <c:pt idx="41">
                  <c:v>7.202</c:v>
                </c:pt>
                <c:pt idx="42">
                  <c:v>6.3330000000000002</c:v>
                </c:pt>
                <c:pt idx="43">
                  <c:v>6.4050000000000002</c:v>
                </c:pt>
                <c:pt idx="44">
                  <c:v>6.5190000000000001</c:v>
                </c:pt>
                <c:pt idx="45">
                  <c:v>6.3630000000000004</c:v>
                </c:pt>
                <c:pt idx="46">
                  <c:v>6.43</c:v>
                </c:pt>
                <c:pt idx="47">
                  <c:v>6.4059999999999997</c:v>
                </c:pt>
                <c:pt idx="48">
                  <c:v>5.9029999999999996</c:v>
                </c:pt>
                <c:pt idx="49">
                  <c:v>7.8360000000000003</c:v>
                </c:pt>
                <c:pt idx="50">
                  <c:v>7.1609999999999996</c:v>
                </c:pt>
                <c:pt idx="51">
                  <c:v>6.617</c:v>
                </c:pt>
                <c:pt idx="52">
                  <c:v>6.5720000000000001</c:v>
                </c:pt>
                <c:pt idx="53">
                  <c:v>6.7320000000000002</c:v>
                </c:pt>
                <c:pt idx="54">
                  <c:v>6.7409999999999997</c:v>
                </c:pt>
                <c:pt idx="55">
                  <c:v>6.8470000000000004</c:v>
                </c:pt>
                <c:pt idx="56">
                  <c:v>6.9139999999999997</c:v>
                </c:pt>
                <c:pt idx="57">
                  <c:v>6.8979999999999997</c:v>
                </c:pt>
                <c:pt idx="58">
                  <c:v>8.35</c:v>
                </c:pt>
                <c:pt idx="59">
                  <c:v>7.39</c:v>
                </c:pt>
                <c:pt idx="60">
                  <c:v>6.7370000000000001</c:v>
                </c:pt>
                <c:pt idx="61">
                  <c:v>7.31</c:v>
                </c:pt>
                <c:pt idx="62">
                  <c:v>6.5810000000000004</c:v>
                </c:pt>
                <c:pt idx="63">
                  <c:v>7.1390000000000002</c:v>
                </c:pt>
                <c:pt idx="64">
                  <c:v>7.7160000000000002</c:v>
                </c:pt>
                <c:pt idx="65">
                  <c:v>7.12</c:v>
                </c:pt>
                <c:pt idx="66">
                  <c:v>7.617</c:v>
                </c:pt>
                <c:pt idx="67">
                  <c:v>7.3819999999999997</c:v>
                </c:pt>
                <c:pt idx="68">
                  <c:v>7.3819999999999997</c:v>
                </c:pt>
                <c:pt idx="69">
                  <c:v>7.3819999999999997</c:v>
                </c:pt>
                <c:pt idx="70">
                  <c:v>7.6440000000000001</c:v>
                </c:pt>
                <c:pt idx="71">
                  <c:v>6.8419999999999996</c:v>
                </c:pt>
                <c:pt idx="72">
                  <c:v>6.9710000000000001</c:v>
                </c:pt>
                <c:pt idx="73">
                  <c:v>6.9710000000000001</c:v>
                </c:pt>
                <c:pt idx="74">
                  <c:v>5.0540000000000003</c:v>
                </c:pt>
                <c:pt idx="75">
                  <c:v>5.0540000000000003</c:v>
                </c:pt>
                <c:pt idx="76">
                  <c:v>6.8280000000000003</c:v>
                </c:pt>
                <c:pt idx="77">
                  <c:v>7.53</c:v>
                </c:pt>
                <c:pt idx="78">
                  <c:v>7.53</c:v>
                </c:pt>
                <c:pt idx="79">
                  <c:v>6.2530000000000001</c:v>
                </c:pt>
                <c:pt idx="80">
                  <c:v>6.2530000000000001</c:v>
                </c:pt>
                <c:pt idx="81">
                  <c:v>7.5940000000000003</c:v>
                </c:pt>
                <c:pt idx="82">
                  <c:v>6.5309999999999997</c:v>
                </c:pt>
                <c:pt idx="83">
                  <c:v>6.5069999999999997</c:v>
                </c:pt>
                <c:pt idx="84">
                  <c:v>6.5069999999999997</c:v>
                </c:pt>
                <c:pt idx="85">
                  <c:v>6.3289999999999997</c:v>
                </c:pt>
                <c:pt idx="86">
                  <c:v>6.4359999999999999</c:v>
                </c:pt>
                <c:pt idx="87">
                  <c:v>6.6829999999999998</c:v>
                </c:pt>
                <c:pt idx="88">
                  <c:v>6.2510000000000003</c:v>
                </c:pt>
                <c:pt idx="89">
                  <c:v>7.4189999999999996</c:v>
                </c:pt>
                <c:pt idx="90">
                  <c:v>6.32</c:v>
                </c:pt>
                <c:pt idx="91">
                  <c:v>5.883</c:v>
                </c:pt>
                <c:pt idx="92">
                  <c:v>7.0119999999999996</c:v>
                </c:pt>
                <c:pt idx="93">
                  <c:v>5.9770000000000003</c:v>
                </c:pt>
                <c:pt idx="94">
                  <c:v>6.7359999999999998</c:v>
                </c:pt>
                <c:pt idx="96">
                  <c:v>7.4509999999999996</c:v>
                </c:pt>
                <c:pt idx="97">
                  <c:v>5.1109999999999998</c:v>
                </c:pt>
                <c:pt idx="98">
                  <c:v>4.665</c:v>
                </c:pt>
                <c:pt idx="99">
                  <c:v>4.665</c:v>
                </c:pt>
                <c:pt idx="100">
                  <c:v>4.8890000000000002</c:v>
                </c:pt>
                <c:pt idx="101">
                  <c:v>4.758</c:v>
                </c:pt>
                <c:pt idx="102">
                  <c:v>4.4119999999999999</c:v>
                </c:pt>
                <c:pt idx="103">
                  <c:v>6.6130000000000004</c:v>
                </c:pt>
                <c:pt idx="104">
                  <c:v>4.968</c:v>
                </c:pt>
                <c:pt idx="105">
                  <c:v>5.4790000000000001</c:v>
                </c:pt>
                <c:pt idx="106">
                  <c:v>5.4889999999999999</c:v>
                </c:pt>
                <c:pt idx="107">
                  <c:v>5.4379999999999997</c:v>
                </c:pt>
                <c:pt idx="108">
                  <c:v>4.3419999999999996</c:v>
                </c:pt>
                <c:pt idx="109">
                  <c:v>5.492</c:v>
                </c:pt>
                <c:pt idx="110">
                  <c:v>5.8479999999999999</c:v>
                </c:pt>
                <c:pt idx="111">
                  <c:v>6.5460000000000003</c:v>
                </c:pt>
                <c:pt idx="112">
                  <c:v>6.5460000000000003</c:v>
                </c:pt>
                <c:pt idx="113">
                  <c:v>4.3209999999999997</c:v>
                </c:pt>
                <c:pt idx="114">
                  <c:v>4.9829999999999997</c:v>
                </c:pt>
                <c:pt idx="115">
                  <c:v>5.165</c:v>
                </c:pt>
                <c:pt idx="116">
                  <c:v>4.7</c:v>
                </c:pt>
                <c:pt idx="117">
                  <c:v>3.661</c:v>
                </c:pt>
                <c:pt idx="118">
                  <c:v>6.31</c:v>
                </c:pt>
                <c:pt idx="119">
                  <c:v>8.0050000000000008</c:v>
                </c:pt>
                <c:pt idx="120">
                  <c:v>5.9429999999999996</c:v>
                </c:pt>
                <c:pt idx="121">
                  <c:v>5.9950000000000001</c:v>
                </c:pt>
                <c:pt idx="122">
                  <c:v>5.548</c:v>
                </c:pt>
                <c:pt idx="123">
                  <c:v>5.1539999999999999</c:v>
                </c:pt>
                <c:pt idx="125">
                  <c:v>3.6760000000000002</c:v>
                </c:pt>
                <c:pt idx="126">
                  <c:v>5.1130000000000004</c:v>
                </c:pt>
                <c:pt idx="127">
                  <c:v>5.9180000000000001</c:v>
                </c:pt>
                <c:pt idx="128">
                  <c:v>5.5549999999999997</c:v>
                </c:pt>
                <c:pt idx="129">
                  <c:v>4.9909999999999997</c:v>
                </c:pt>
                <c:pt idx="130">
                  <c:v>3.391</c:v>
                </c:pt>
                <c:pt idx="132">
                  <c:v>4.6870000000000003</c:v>
                </c:pt>
                <c:pt idx="133">
                  <c:v>3.0939999999999999</c:v>
                </c:pt>
                <c:pt idx="134">
                  <c:v>2.742</c:v>
                </c:pt>
                <c:pt idx="135">
                  <c:v>4.4130000000000003</c:v>
                </c:pt>
                <c:pt idx="136">
                  <c:v>3.8460000000000001</c:v>
                </c:pt>
                <c:pt idx="137">
                  <c:v>3.7440000000000002</c:v>
                </c:pt>
                <c:pt idx="138">
                  <c:v>4.2110000000000003</c:v>
                </c:pt>
                <c:pt idx="140">
                  <c:v>4.4509999999999996</c:v>
                </c:pt>
                <c:pt idx="142">
                  <c:v>3.8319999999999999</c:v>
                </c:pt>
                <c:pt idx="143">
                  <c:v>3.9239999999999999</c:v>
                </c:pt>
                <c:pt idx="144">
                  <c:v>3.54</c:v>
                </c:pt>
                <c:pt idx="145">
                  <c:v>3.3919999999999999</c:v>
                </c:pt>
                <c:pt idx="146">
                  <c:v>3.093</c:v>
                </c:pt>
                <c:pt idx="148">
                  <c:v>2.798</c:v>
                </c:pt>
                <c:pt idx="150">
                  <c:v>2.673</c:v>
                </c:pt>
                <c:pt idx="151">
                  <c:v>7.734</c:v>
                </c:pt>
                <c:pt idx="152">
                  <c:v>5.1970000000000001</c:v>
                </c:pt>
                <c:pt idx="153">
                  <c:v>5.1950000000000003</c:v>
                </c:pt>
                <c:pt idx="154">
                  <c:v>4.5220000000000002</c:v>
                </c:pt>
                <c:pt idx="155">
                  <c:v>3.415</c:v>
                </c:pt>
                <c:pt idx="156">
                  <c:v>3.548</c:v>
                </c:pt>
                <c:pt idx="157">
                  <c:v>4.1020000000000003</c:v>
                </c:pt>
                <c:pt idx="159">
                  <c:v>3.02</c:v>
                </c:pt>
                <c:pt idx="160">
                  <c:v>1.804</c:v>
                </c:pt>
                <c:pt idx="161">
                  <c:v>2.78</c:v>
                </c:pt>
                <c:pt idx="162">
                  <c:v>3.1190000000000002</c:v>
                </c:pt>
                <c:pt idx="163">
                  <c:v>2.1040000000000001</c:v>
                </c:pt>
                <c:pt idx="164">
                  <c:v>2.706</c:v>
                </c:pt>
                <c:pt idx="165">
                  <c:v>1.8460000000000001</c:v>
                </c:pt>
                <c:pt idx="166">
                  <c:v>1.7969999999999999</c:v>
                </c:pt>
                <c:pt idx="176">
                  <c:v>11.364000000000001</c:v>
                </c:pt>
                <c:pt idx="177">
                  <c:v>5.8289999999999997</c:v>
                </c:pt>
                <c:pt idx="178">
                  <c:v>5.9329999999999998</c:v>
                </c:pt>
                <c:pt idx="179">
                  <c:v>4.9050000000000002</c:v>
                </c:pt>
                <c:pt idx="181">
                  <c:v>3.2149999999999999</c:v>
                </c:pt>
                <c:pt idx="182">
                  <c:v>1.7689999999999999</c:v>
                </c:pt>
                <c:pt idx="183">
                  <c:v>4.1310000000000002</c:v>
                </c:pt>
                <c:pt idx="185">
                  <c:v>2.7</c:v>
                </c:pt>
                <c:pt idx="186">
                  <c:v>4.3529999999999998</c:v>
                </c:pt>
                <c:pt idx="188">
                  <c:v>4.4459999999999997</c:v>
                </c:pt>
                <c:pt idx="189">
                  <c:v>5.2389999999999999</c:v>
                </c:pt>
                <c:pt idx="190">
                  <c:v>3.972</c:v>
                </c:pt>
                <c:pt idx="191">
                  <c:v>3.9790000000000001</c:v>
                </c:pt>
                <c:pt idx="192">
                  <c:v>4.9349999999999996</c:v>
                </c:pt>
                <c:pt idx="193">
                  <c:v>3.9</c:v>
                </c:pt>
                <c:pt idx="194">
                  <c:v>3.5</c:v>
                </c:pt>
                <c:pt idx="196">
                  <c:v>3.3260000000000001</c:v>
                </c:pt>
                <c:pt idx="197">
                  <c:v>2.887</c:v>
                </c:pt>
                <c:pt idx="199">
                  <c:v>3.4039999999999999</c:v>
                </c:pt>
                <c:pt idx="200">
                  <c:v>3.2080000000000002</c:v>
                </c:pt>
                <c:pt idx="201">
                  <c:v>3.3849999999999998</c:v>
                </c:pt>
                <c:pt idx="202">
                  <c:v>2.9140000000000001</c:v>
                </c:pt>
                <c:pt idx="203">
                  <c:v>2.3250000000000002</c:v>
                </c:pt>
                <c:pt idx="204">
                  <c:v>2.31</c:v>
                </c:pt>
                <c:pt idx="205">
                  <c:v>2.1030000000000002</c:v>
                </c:pt>
                <c:pt idx="207">
                  <c:v>5.6340000000000003</c:v>
                </c:pt>
                <c:pt idx="208">
                  <c:v>5.1479999999999997</c:v>
                </c:pt>
                <c:pt idx="209">
                  <c:v>3.6070000000000002</c:v>
                </c:pt>
                <c:pt idx="210">
                  <c:v>4.6189999999999998</c:v>
                </c:pt>
                <c:pt idx="211">
                  <c:v>2.8410000000000002</c:v>
                </c:pt>
                <c:pt idx="213">
                  <c:v>2.5579999999999998</c:v>
                </c:pt>
                <c:pt idx="215">
                  <c:v>1.881</c:v>
                </c:pt>
                <c:pt idx="217">
                  <c:v>4.7270000000000003</c:v>
                </c:pt>
                <c:pt idx="219">
                  <c:v>5.5449999999999999</c:v>
                </c:pt>
                <c:pt idx="221">
                  <c:v>3.351</c:v>
                </c:pt>
                <c:pt idx="223">
                  <c:v>2.8929999999999998</c:v>
                </c:pt>
                <c:pt idx="224">
                  <c:v>6.1289999999999996</c:v>
                </c:pt>
                <c:pt idx="226">
                  <c:v>3.3679999999999999</c:v>
                </c:pt>
                <c:pt idx="228">
                  <c:v>2.698</c:v>
                </c:pt>
                <c:pt idx="230">
                  <c:v>4.79</c:v>
                </c:pt>
                <c:pt idx="231">
                  <c:v>7.1040000000000001</c:v>
                </c:pt>
                <c:pt idx="233">
                  <c:v>5.1429999999999998</c:v>
                </c:pt>
                <c:pt idx="235">
                  <c:v>4.7300000000000004</c:v>
                </c:pt>
                <c:pt idx="236">
                  <c:v>2.3679999999999999</c:v>
                </c:pt>
                <c:pt idx="237">
                  <c:v>3.9710000000000001</c:v>
                </c:pt>
                <c:pt idx="239">
                  <c:v>4.2850000000000001</c:v>
                </c:pt>
                <c:pt idx="241">
                  <c:v>4.1349999999999998</c:v>
                </c:pt>
                <c:pt idx="242">
                  <c:v>4.88</c:v>
                </c:pt>
                <c:pt idx="243">
                  <c:v>9.1349999999999998</c:v>
                </c:pt>
                <c:pt idx="244">
                  <c:v>5.8109999999999999</c:v>
                </c:pt>
                <c:pt idx="246">
                  <c:v>4.8129999999999997</c:v>
                </c:pt>
                <c:pt idx="247">
                  <c:v>3.8690000000000002</c:v>
                </c:pt>
                <c:pt idx="248">
                  <c:v>3.81</c:v>
                </c:pt>
                <c:pt idx="250">
                  <c:v>4.327</c:v>
                </c:pt>
                <c:pt idx="252">
                  <c:v>4.1900000000000004</c:v>
                </c:pt>
                <c:pt idx="253">
                  <c:v>3.9820000000000002</c:v>
                </c:pt>
                <c:pt idx="254">
                  <c:v>4.4340000000000002</c:v>
                </c:pt>
                <c:pt idx="255">
                  <c:v>3.9220000000000002</c:v>
                </c:pt>
                <c:pt idx="256">
                  <c:v>3.4630000000000001</c:v>
                </c:pt>
                <c:pt idx="257">
                  <c:v>6.8170000000000002</c:v>
                </c:pt>
                <c:pt idx="258">
                  <c:v>4.923</c:v>
                </c:pt>
                <c:pt idx="259">
                  <c:v>5.343</c:v>
                </c:pt>
                <c:pt idx="261">
                  <c:v>4.1890000000000001</c:v>
                </c:pt>
                <c:pt idx="262">
                  <c:v>4.5860000000000003</c:v>
                </c:pt>
                <c:pt idx="263">
                  <c:v>6.5860000000000003</c:v>
                </c:pt>
                <c:pt idx="264">
                  <c:v>5.016</c:v>
                </c:pt>
                <c:pt idx="267">
                  <c:v>3.7559999999999998</c:v>
                </c:pt>
                <c:pt idx="268">
                  <c:v>2.3140000000000001</c:v>
                </c:pt>
                <c:pt idx="269">
                  <c:v>6.7850000000000001</c:v>
                </c:pt>
                <c:pt idx="270">
                  <c:v>4.6040000000000001</c:v>
                </c:pt>
                <c:pt idx="272">
                  <c:v>3.4350000000000001</c:v>
                </c:pt>
                <c:pt idx="274">
                  <c:v>2.4910000000000001</c:v>
                </c:pt>
                <c:pt idx="275">
                  <c:v>6.4189999999999996</c:v>
                </c:pt>
                <c:pt idx="277">
                  <c:v>3.6589999999999998</c:v>
                </c:pt>
                <c:pt idx="279">
                  <c:v>3.29</c:v>
                </c:pt>
                <c:pt idx="281">
                  <c:v>2.8719999999999999</c:v>
                </c:pt>
                <c:pt idx="283">
                  <c:v>3.0569999999999999</c:v>
                </c:pt>
                <c:pt idx="285">
                  <c:v>4.194</c:v>
                </c:pt>
                <c:pt idx="286">
                  <c:v>3.286</c:v>
                </c:pt>
                <c:pt idx="288">
                  <c:v>4.1040000000000001</c:v>
                </c:pt>
                <c:pt idx="290">
                  <c:v>3.0939999999999999</c:v>
                </c:pt>
                <c:pt idx="291">
                  <c:v>3.01</c:v>
                </c:pt>
                <c:pt idx="292">
                  <c:v>2.722</c:v>
                </c:pt>
                <c:pt idx="294">
                  <c:v>1.294</c:v>
                </c:pt>
                <c:pt idx="296">
                  <c:v>7.4809999999999999</c:v>
                </c:pt>
                <c:pt idx="297">
                  <c:v>3.4260000000000002</c:v>
                </c:pt>
                <c:pt idx="298">
                  <c:v>3.18</c:v>
                </c:pt>
                <c:pt idx="299">
                  <c:v>2.88</c:v>
                </c:pt>
                <c:pt idx="300">
                  <c:v>2.8109999999999999</c:v>
                </c:pt>
                <c:pt idx="301">
                  <c:v>7.7439999999999998</c:v>
                </c:pt>
                <c:pt idx="303">
                  <c:v>4.0449999999999999</c:v>
                </c:pt>
                <c:pt idx="304">
                  <c:v>3.206</c:v>
                </c:pt>
                <c:pt idx="305">
                  <c:v>3.3940000000000001</c:v>
                </c:pt>
                <c:pt idx="306">
                  <c:v>3.1669999999999998</c:v>
                </c:pt>
                <c:pt idx="307">
                  <c:v>2.69</c:v>
                </c:pt>
                <c:pt idx="308">
                  <c:v>5.6189999999999998</c:v>
                </c:pt>
                <c:pt idx="309">
                  <c:v>4.1280000000000001</c:v>
                </c:pt>
                <c:pt idx="310">
                  <c:v>3.464</c:v>
                </c:pt>
                <c:pt idx="311">
                  <c:v>3.133</c:v>
                </c:pt>
                <c:pt idx="312">
                  <c:v>3.1619999999999999</c:v>
                </c:pt>
                <c:pt idx="313">
                  <c:v>2.96</c:v>
                </c:pt>
                <c:pt idx="315">
                  <c:v>4.6239999999999997</c:v>
                </c:pt>
                <c:pt idx="316">
                  <c:v>4.492</c:v>
                </c:pt>
                <c:pt idx="317">
                  <c:v>3.5710000000000002</c:v>
                </c:pt>
                <c:pt idx="318">
                  <c:v>3.391</c:v>
                </c:pt>
                <c:pt idx="320">
                  <c:v>3.2570000000000001</c:v>
                </c:pt>
                <c:pt idx="321">
                  <c:v>2.165</c:v>
                </c:pt>
                <c:pt idx="322">
                  <c:v>5.6950000000000003</c:v>
                </c:pt>
                <c:pt idx="324">
                  <c:v>3.613</c:v>
                </c:pt>
                <c:pt idx="326">
                  <c:v>2.8319999999999999</c:v>
                </c:pt>
                <c:pt idx="327">
                  <c:v>2.9209999999999998</c:v>
                </c:pt>
                <c:pt idx="328">
                  <c:v>2.855</c:v>
                </c:pt>
                <c:pt idx="329">
                  <c:v>7.7220000000000004</c:v>
                </c:pt>
                <c:pt idx="330">
                  <c:v>6.4260000000000002</c:v>
                </c:pt>
                <c:pt idx="331">
                  <c:v>3.3410000000000002</c:v>
                </c:pt>
                <c:pt idx="332">
                  <c:v>3.0350000000000001</c:v>
                </c:pt>
                <c:pt idx="333">
                  <c:v>2.9460000000000002</c:v>
                </c:pt>
                <c:pt idx="334">
                  <c:v>2.7959999999999998</c:v>
                </c:pt>
                <c:pt idx="335">
                  <c:v>2.42</c:v>
                </c:pt>
                <c:pt idx="336">
                  <c:v>2.3849999999999998</c:v>
                </c:pt>
                <c:pt idx="337">
                  <c:v>8.2579999999999991</c:v>
                </c:pt>
                <c:pt idx="338">
                  <c:v>4.8380000000000001</c:v>
                </c:pt>
                <c:pt idx="339">
                  <c:v>3.4780000000000002</c:v>
                </c:pt>
                <c:pt idx="340">
                  <c:v>3.278</c:v>
                </c:pt>
                <c:pt idx="341">
                  <c:v>2.9710000000000001</c:v>
                </c:pt>
                <c:pt idx="343">
                  <c:v>3.0819999999999999</c:v>
                </c:pt>
                <c:pt idx="344">
                  <c:v>6.5359999999999996</c:v>
                </c:pt>
                <c:pt idx="345">
                  <c:v>3.4620000000000002</c:v>
                </c:pt>
                <c:pt idx="346">
                  <c:v>2.738</c:v>
                </c:pt>
                <c:pt idx="347">
                  <c:v>2.5590000000000002</c:v>
                </c:pt>
                <c:pt idx="348">
                  <c:v>2.5049999999999999</c:v>
                </c:pt>
                <c:pt idx="349">
                  <c:v>4.5119999999999996</c:v>
                </c:pt>
                <c:pt idx="350">
                  <c:v>3.4470000000000001</c:v>
                </c:pt>
                <c:pt idx="351">
                  <c:v>3.3540000000000001</c:v>
                </c:pt>
                <c:pt idx="352">
                  <c:v>4.7590000000000003</c:v>
                </c:pt>
                <c:pt idx="354">
                  <c:v>3.1850000000000001</c:v>
                </c:pt>
                <c:pt idx="355">
                  <c:v>3.16</c:v>
                </c:pt>
                <c:pt idx="356">
                  <c:v>2.8010000000000002</c:v>
                </c:pt>
                <c:pt idx="357">
                  <c:v>5.2530000000000001</c:v>
                </c:pt>
                <c:pt idx="358">
                  <c:v>3.7869999999999999</c:v>
                </c:pt>
                <c:pt idx="359">
                  <c:v>3.3530000000000002</c:v>
                </c:pt>
                <c:pt idx="360">
                  <c:v>2.9359999999999999</c:v>
                </c:pt>
                <c:pt idx="362">
                  <c:v>3.5150000000000001</c:v>
                </c:pt>
                <c:pt idx="363">
                  <c:v>2.73</c:v>
                </c:pt>
                <c:pt idx="364">
                  <c:v>1.464</c:v>
                </c:pt>
                <c:pt idx="366">
                  <c:v>1.024</c:v>
                </c:pt>
                <c:pt idx="368">
                  <c:v>4.4059999999999997</c:v>
                </c:pt>
                <c:pt idx="369">
                  <c:v>2.1829999999999998</c:v>
                </c:pt>
                <c:pt idx="370">
                  <c:v>2.0579999999999998</c:v>
                </c:pt>
                <c:pt idx="371">
                  <c:v>2.2530000000000001</c:v>
                </c:pt>
                <c:pt idx="372">
                  <c:v>1.4330000000000001</c:v>
                </c:pt>
                <c:pt idx="373">
                  <c:v>2.42</c:v>
                </c:pt>
                <c:pt idx="375">
                  <c:v>2.5950000000000002</c:v>
                </c:pt>
                <c:pt idx="377">
                  <c:v>1.712</c:v>
                </c:pt>
                <c:pt idx="378">
                  <c:v>3.4969999999999999</c:v>
                </c:pt>
                <c:pt idx="379">
                  <c:v>2.7789999999999999</c:v>
                </c:pt>
                <c:pt idx="380">
                  <c:v>2.722</c:v>
                </c:pt>
                <c:pt idx="381">
                  <c:v>2.1619999999999999</c:v>
                </c:pt>
                <c:pt idx="382">
                  <c:v>2.3889999999999998</c:v>
                </c:pt>
                <c:pt idx="383">
                  <c:v>1.8160000000000001</c:v>
                </c:pt>
                <c:pt idx="384">
                  <c:v>1.4810000000000001</c:v>
                </c:pt>
                <c:pt idx="385">
                  <c:v>4.6790000000000003</c:v>
                </c:pt>
                <c:pt idx="387">
                  <c:v>3.593</c:v>
                </c:pt>
                <c:pt idx="388">
                  <c:v>2.9830000000000001</c:v>
                </c:pt>
                <c:pt idx="389">
                  <c:v>2.64</c:v>
                </c:pt>
                <c:pt idx="390">
                  <c:v>2.004</c:v>
                </c:pt>
                <c:pt idx="391">
                  <c:v>1.9330000000000001</c:v>
                </c:pt>
                <c:pt idx="392">
                  <c:v>2.0390000000000001</c:v>
                </c:pt>
                <c:pt idx="393">
                  <c:v>1.77</c:v>
                </c:pt>
                <c:pt idx="394">
                  <c:v>1.492</c:v>
                </c:pt>
                <c:pt idx="395">
                  <c:v>1.61</c:v>
                </c:pt>
                <c:pt idx="396">
                  <c:v>1.54</c:v>
                </c:pt>
                <c:pt idx="397">
                  <c:v>5.641</c:v>
                </c:pt>
                <c:pt idx="398">
                  <c:v>3.33</c:v>
                </c:pt>
                <c:pt idx="399">
                  <c:v>1.9370000000000001</c:v>
                </c:pt>
                <c:pt idx="400">
                  <c:v>2.9340000000000002</c:v>
                </c:pt>
                <c:pt idx="401">
                  <c:v>2.702</c:v>
                </c:pt>
                <c:pt idx="402">
                  <c:v>0.439</c:v>
                </c:pt>
                <c:pt idx="404">
                  <c:v>3.351</c:v>
                </c:pt>
                <c:pt idx="405">
                  <c:v>2.895</c:v>
                </c:pt>
                <c:pt idx="406">
                  <c:v>2.84</c:v>
                </c:pt>
                <c:pt idx="407">
                  <c:v>2.484</c:v>
                </c:pt>
                <c:pt idx="409">
                  <c:v>2.9009999999999998</c:v>
                </c:pt>
                <c:pt idx="410">
                  <c:v>2.4420000000000002</c:v>
                </c:pt>
                <c:pt idx="411">
                  <c:v>5.5289999999999999</c:v>
                </c:pt>
                <c:pt idx="413">
                  <c:v>3.5670000000000002</c:v>
                </c:pt>
                <c:pt idx="414">
                  <c:v>2.9350000000000001</c:v>
                </c:pt>
                <c:pt idx="415">
                  <c:v>2.7850000000000001</c:v>
                </c:pt>
                <c:pt idx="417">
                  <c:v>4.0369999999999999</c:v>
                </c:pt>
                <c:pt idx="418">
                  <c:v>3.2440000000000002</c:v>
                </c:pt>
                <c:pt idx="420">
                  <c:v>0.495</c:v>
                </c:pt>
                <c:pt idx="421">
                  <c:v>4.1689999999999996</c:v>
                </c:pt>
                <c:pt idx="422">
                  <c:v>3.246</c:v>
                </c:pt>
                <c:pt idx="423">
                  <c:v>3.0649999999999999</c:v>
                </c:pt>
                <c:pt idx="424">
                  <c:v>3.7559999999999998</c:v>
                </c:pt>
                <c:pt idx="425">
                  <c:v>2.9980000000000002</c:v>
                </c:pt>
                <c:pt idx="426">
                  <c:v>2.387</c:v>
                </c:pt>
                <c:pt idx="427">
                  <c:v>2.097</c:v>
                </c:pt>
                <c:pt idx="429">
                  <c:v>3.0230000000000001</c:v>
                </c:pt>
                <c:pt idx="430">
                  <c:v>4.4269999999999996</c:v>
                </c:pt>
                <c:pt idx="431">
                  <c:v>3.194</c:v>
                </c:pt>
                <c:pt idx="432">
                  <c:v>2.3719999999999999</c:v>
                </c:pt>
                <c:pt idx="433">
                  <c:v>5.7489999999999997</c:v>
                </c:pt>
                <c:pt idx="434">
                  <c:v>3.34</c:v>
                </c:pt>
                <c:pt idx="435">
                  <c:v>2.7429999999999999</c:v>
                </c:pt>
                <c:pt idx="436">
                  <c:v>0.217</c:v>
                </c:pt>
                <c:pt idx="437">
                  <c:v>2.964</c:v>
                </c:pt>
                <c:pt idx="438">
                  <c:v>3.1549999999999998</c:v>
                </c:pt>
                <c:pt idx="439">
                  <c:v>2.327</c:v>
                </c:pt>
                <c:pt idx="440">
                  <c:v>1.7509999999999999</c:v>
                </c:pt>
                <c:pt idx="441">
                  <c:v>5.12</c:v>
                </c:pt>
                <c:pt idx="442">
                  <c:v>3.07</c:v>
                </c:pt>
                <c:pt idx="443">
                  <c:v>2.738</c:v>
                </c:pt>
                <c:pt idx="444">
                  <c:v>2.5859999999999999</c:v>
                </c:pt>
                <c:pt idx="445">
                  <c:v>3.407</c:v>
                </c:pt>
                <c:pt idx="447">
                  <c:v>3.718</c:v>
                </c:pt>
                <c:pt idx="448">
                  <c:v>5.1189999999999998</c:v>
                </c:pt>
                <c:pt idx="449">
                  <c:v>3.3479999999999999</c:v>
                </c:pt>
                <c:pt idx="450">
                  <c:v>2.4453100000000001</c:v>
                </c:pt>
                <c:pt idx="451">
                  <c:v>3.319</c:v>
                </c:pt>
                <c:pt idx="452">
                  <c:v>2.698</c:v>
                </c:pt>
                <c:pt idx="453">
                  <c:v>1.0449999999999999</c:v>
                </c:pt>
                <c:pt idx="454">
                  <c:v>3.621</c:v>
                </c:pt>
                <c:pt idx="455">
                  <c:v>3.4529999999999998</c:v>
                </c:pt>
                <c:pt idx="456">
                  <c:v>3.294</c:v>
                </c:pt>
                <c:pt idx="457">
                  <c:v>7.395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C8A-46C6-99AE-52071130BB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7552512"/>
        <c:axId val="527745408"/>
      </c:scatterChart>
      <c:scatterChart>
        <c:scatterStyle val="lineMarker"/>
        <c:varyColors val="0"/>
        <c:ser>
          <c:idx val="4"/>
          <c:order val="4"/>
          <c:tx>
            <c:strRef>
              <c:f>Sheet1!$P$3</c:f>
              <c:strCache>
                <c:ptCount val="1"/>
                <c:pt idx="0">
                  <c:v>Pзаб</c:v>
                </c:pt>
              </c:strCache>
            </c:strRef>
          </c:tx>
          <c:spPr>
            <a:ln w="19050">
              <a:noFill/>
            </a:ln>
          </c:spPr>
          <c:marker>
            <c:spPr>
              <a:noFill/>
              <a:ln>
                <a:solidFill>
                  <a:srgbClr val="AEBD15">
                    <a:lumMod val="75000"/>
                  </a:srgbClr>
                </a:solidFill>
              </a:ln>
            </c:spPr>
          </c:marker>
          <c:xVal>
            <c:numRef>
              <c:f>Sheet1!$A$195:$A$5000</c:f>
              <c:numCache>
                <c:formatCode>General</c:formatCode>
                <c:ptCount val="480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  <c:pt idx="192">
                  <c:v>193</c:v>
                </c:pt>
                <c:pt idx="193">
                  <c:v>194</c:v>
                </c:pt>
                <c:pt idx="194">
                  <c:v>195</c:v>
                </c:pt>
                <c:pt idx="195">
                  <c:v>196</c:v>
                </c:pt>
                <c:pt idx="196">
                  <c:v>197</c:v>
                </c:pt>
                <c:pt idx="197">
                  <c:v>198</c:v>
                </c:pt>
                <c:pt idx="198">
                  <c:v>199</c:v>
                </c:pt>
                <c:pt idx="199">
                  <c:v>200</c:v>
                </c:pt>
                <c:pt idx="200">
                  <c:v>201</c:v>
                </c:pt>
                <c:pt idx="201">
                  <c:v>202</c:v>
                </c:pt>
                <c:pt idx="202">
                  <c:v>203</c:v>
                </c:pt>
                <c:pt idx="203">
                  <c:v>204</c:v>
                </c:pt>
                <c:pt idx="204">
                  <c:v>205</c:v>
                </c:pt>
                <c:pt idx="205">
                  <c:v>206</c:v>
                </c:pt>
                <c:pt idx="206">
                  <c:v>207</c:v>
                </c:pt>
                <c:pt idx="207">
                  <c:v>208</c:v>
                </c:pt>
                <c:pt idx="208">
                  <c:v>209</c:v>
                </c:pt>
                <c:pt idx="209">
                  <c:v>210</c:v>
                </c:pt>
                <c:pt idx="210">
                  <c:v>211</c:v>
                </c:pt>
                <c:pt idx="211">
                  <c:v>212</c:v>
                </c:pt>
                <c:pt idx="212">
                  <c:v>213</c:v>
                </c:pt>
                <c:pt idx="213">
                  <c:v>214</c:v>
                </c:pt>
                <c:pt idx="214">
                  <c:v>215</c:v>
                </c:pt>
                <c:pt idx="215">
                  <c:v>216</c:v>
                </c:pt>
                <c:pt idx="216">
                  <c:v>217</c:v>
                </c:pt>
                <c:pt idx="217">
                  <c:v>218</c:v>
                </c:pt>
                <c:pt idx="218">
                  <c:v>219</c:v>
                </c:pt>
                <c:pt idx="219">
                  <c:v>220</c:v>
                </c:pt>
                <c:pt idx="220">
                  <c:v>221</c:v>
                </c:pt>
                <c:pt idx="221">
                  <c:v>222</c:v>
                </c:pt>
                <c:pt idx="222">
                  <c:v>223</c:v>
                </c:pt>
                <c:pt idx="223">
                  <c:v>224</c:v>
                </c:pt>
                <c:pt idx="224">
                  <c:v>225</c:v>
                </c:pt>
                <c:pt idx="225">
                  <c:v>226</c:v>
                </c:pt>
                <c:pt idx="226">
                  <c:v>227</c:v>
                </c:pt>
                <c:pt idx="227">
                  <c:v>228</c:v>
                </c:pt>
                <c:pt idx="228">
                  <c:v>229</c:v>
                </c:pt>
                <c:pt idx="229">
                  <c:v>230</c:v>
                </c:pt>
                <c:pt idx="230">
                  <c:v>231</c:v>
                </c:pt>
                <c:pt idx="231">
                  <c:v>232</c:v>
                </c:pt>
                <c:pt idx="232">
                  <c:v>233</c:v>
                </c:pt>
                <c:pt idx="233">
                  <c:v>234</c:v>
                </c:pt>
                <c:pt idx="234">
                  <c:v>235</c:v>
                </c:pt>
                <c:pt idx="235">
                  <c:v>236</c:v>
                </c:pt>
                <c:pt idx="236">
                  <c:v>237</c:v>
                </c:pt>
                <c:pt idx="237">
                  <c:v>238</c:v>
                </c:pt>
                <c:pt idx="238">
                  <c:v>239</c:v>
                </c:pt>
                <c:pt idx="239">
                  <c:v>240</c:v>
                </c:pt>
                <c:pt idx="240">
                  <c:v>241</c:v>
                </c:pt>
                <c:pt idx="241">
                  <c:v>242</c:v>
                </c:pt>
                <c:pt idx="242">
                  <c:v>243</c:v>
                </c:pt>
                <c:pt idx="243">
                  <c:v>244</c:v>
                </c:pt>
                <c:pt idx="244">
                  <c:v>245</c:v>
                </c:pt>
                <c:pt idx="245">
                  <c:v>246</c:v>
                </c:pt>
                <c:pt idx="246">
                  <c:v>247</c:v>
                </c:pt>
                <c:pt idx="247">
                  <c:v>248</c:v>
                </c:pt>
                <c:pt idx="248">
                  <c:v>249</c:v>
                </c:pt>
                <c:pt idx="249">
                  <c:v>250</c:v>
                </c:pt>
                <c:pt idx="250">
                  <c:v>251</c:v>
                </c:pt>
                <c:pt idx="251">
                  <c:v>252</c:v>
                </c:pt>
                <c:pt idx="252">
                  <c:v>253</c:v>
                </c:pt>
                <c:pt idx="253">
                  <c:v>254</c:v>
                </c:pt>
                <c:pt idx="254">
                  <c:v>255</c:v>
                </c:pt>
                <c:pt idx="255">
                  <c:v>256</c:v>
                </c:pt>
                <c:pt idx="256">
                  <c:v>257</c:v>
                </c:pt>
                <c:pt idx="257">
                  <c:v>258</c:v>
                </c:pt>
                <c:pt idx="258">
                  <c:v>259</c:v>
                </c:pt>
                <c:pt idx="259">
                  <c:v>260</c:v>
                </c:pt>
                <c:pt idx="260">
                  <c:v>261</c:v>
                </c:pt>
                <c:pt idx="261">
                  <c:v>262</c:v>
                </c:pt>
                <c:pt idx="262">
                  <c:v>263</c:v>
                </c:pt>
                <c:pt idx="263">
                  <c:v>264</c:v>
                </c:pt>
                <c:pt idx="264">
                  <c:v>265</c:v>
                </c:pt>
                <c:pt idx="265">
                  <c:v>266</c:v>
                </c:pt>
                <c:pt idx="266">
                  <c:v>267</c:v>
                </c:pt>
                <c:pt idx="267">
                  <c:v>268</c:v>
                </c:pt>
                <c:pt idx="268">
                  <c:v>269</c:v>
                </c:pt>
                <c:pt idx="269">
                  <c:v>270</c:v>
                </c:pt>
                <c:pt idx="270">
                  <c:v>271</c:v>
                </c:pt>
                <c:pt idx="271">
                  <c:v>272</c:v>
                </c:pt>
                <c:pt idx="272">
                  <c:v>273</c:v>
                </c:pt>
                <c:pt idx="273">
                  <c:v>274</c:v>
                </c:pt>
                <c:pt idx="274">
                  <c:v>275</c:v>
                </c:pt>
                <c:pt idx="275">
                  <c:v>276</c:v>
                </c:pt>
                <c:pt idx="276">
                  <c:v>277</c:v>
                </c:pt>
                <c:pt idx="277">
                  <c:v>278</c:v>
                </c:pt>
                <c:pt idx="278">
                  <c:v>279</c:v>
                </c:pt>
                <c:pt idx="279">
                  <c:v>280</c:v>
                </c:pt>
                <c:pt idx="280">
                  <c:v>281</c:v>
                </c:pt>
                <c:pt idx="281">
                  <c:v>282</c:v>
                </c:pt>
                <c:pt idx="282">
                  <c:v>283</c:v>
                </c:pt>
                <c:pt idx="283">
                  <c:v>284</c:v>
                </c:pt>
                <c:pt idx="284">
                  <c:v>285</c:v>
                </c:pt>
                <c:pt idx="285">
                  <c:v>286</c:v>
                </c:pt>
                <c:pt idx="286">
                  <c:v>287</c:v>
                </c:pt>
                <c:pt idx="287">
                  <c:v>288</c:v>
                </c:pt>
                <c:pt idx="288">
                  <c:v>289</c:v>
                </c:pt>
                <c:pt idx="289">
                  <c:v>290</c:v>
                </c:pt>
                <c:pt idx="290">
                  <c:v>291</c:v>
                </c:pt>
                <c:pt idx="291">
                  <c:v>292</c:v>
                </c:pt>
                <c:pt idx="292">
                  <c:v>293</c:v>
                </c:pt>
                <c:pt idx="293">
                  <c:v>294</c:v>
                </c:pt>
                <c:pt idx="294">
                  <c:v>295</c:v>
                </c:pt>
                <c:pt idx="295">
                  <c:v>296</c:v>
                </c:pt>
                <c:pt idx="296">
                  <c:v>297</c:v>
                </c:pt>
                <c:pt idx="297">
                  <c:v>298</c:v>
                </c:pt>
                <c:pt idx="298">
                  <c:v>299</c:v>
                </c:pt>
                <c:pt idx="299">
                  <c:v>300</c:v>
                </c:pt>
                <c:pt idx="300">
                  <c:v>301</c:v>
                </c:pt>
                <c:pt idx="301">
                  <c:v>302</c:v>
                </c:pt>
                <c:pt idx="302">
                  <c:v>303</c:v>
                </c:pt>
                <c:pt idx="303">
                  <c:v>304</c:v>
                </c:pt>
                <c:pt idx="304">
                  <c:v>305</c:v>
                </c:pt>
                <c:pt idx="305">
                  <c:v>306</c:v>
                </c:pt>
                <c:pt idx="306">
                  <c:v>307</c:v>
                </c:pt>
                <c:pt idx="307">
                  <c:v>308</c:v>
                </c:pt>
                <c:pt idx="308">
                  <c:v>309</c:v>
                </c:pt>
                <c:pt idx="309">
                  <c:v>310</c:v>
                </c:pt>
                <c:pt idx="310">
                  <c:v>311</c:v>
                </c:pt>
                <c:pt idx="311">
                  <c:v>312</c:v>
                </c:pt>
                <c:pt idx="312">
                  <c:v>313</c:v>
                </c:pt>
                <c:pt idx="313">
                  <c:v>314</c:v>
                </c:pt>
                <c:pt idx="314">
                  <c:v>315</c:v>
                </c:pt>
                <c:pt idx="315">
                  <c:v>316</c:v>
                </c:pt>
                <c:pt idx="316">
                  <c:v>317</c:v>
                </c:pt>
                <c:pt idx="317">
                  <c:v>318</c:v>
                </c:pt>
                <c:pt idx="318">
                  <c:v>319</c:v>
                </c:pt>
                <c:pt idx="319">
                  <c:v>320</c:v>
                </c:pt>
                <c:pt idx="320">
                  <c:v>321</c:v>
                </c:pt>
                <c:pt idx="321">
                  <c:v>322</c:v>
                </c:pt>
                <c:pt idx="322">
                  <c:v>323</c:v>
                </c:pt>
                <c:pt idx="323">
                  <c:v>324</c:v>
                </c:pt>
                <c:pt idx="324">
                  <c:v>325</c:v>
                </c:pt>
                <c:pt idx="325">
                  <c:v>326</c:v>
                </c:pt>
                <c:pt idx="326">
                  <c:v>327</c:v>
                </c:pt>
                <c:pt idx="327">
                  <c:v>328</c:v>
                </c:pt>
                <c:pt idx="328">
                  <c:v>329</c:v>
                </c:pt>
                <c:pt idx="329">
                  <c:v>330</c:v>
                </c:pt>
                <c:pt idx="330">
                  <c:v>331</c:v>
                </c:pt>
                <c:pt idx="331">
                  <c:v>332</c:v>
                </c:pt>
                <c:pt idx="332">
                  <c:v>333</c:v>
                </c:pt>
                <c:pt idx="333">
                  <c:v>334</c:v>
                </c:pt>
                <c:pt idx="334">
                  <c:v>335</c:v>
                </c:pt>
                <c:pt idx="335">
                  <c:v>336</c:v>
                </c:pt>
                <c:pt idx="336">
                  <c:v>337</c:v>
                </c:pt>
                <c:pt idx="337">
                  <c:v>338</c:v>
                </c:pt>
                <c:pt idx="338">
                  <c:v>339</c:v>
                </c:pt>
                <c:pt idx="339">
                  <c:v>340</c:v>
                </c:pt>
                <c:pt idx="340">
                  <c:v>341</c:v>
                </c:pt>
                <c:pt idx="341">
                  <c:v>342</c:v>
                </c:pt>
                <c:pt idx="342">
                  <c:v>343</c:v>
                </c:pt>
                <c:pt idx="343">
                  <c:v>344</c:v>
                </c:pt>
                <c:pt idx="344">
                  <c:v>345</c:v>
                </c:pt>
                <c:pt idx="345">
                  <c:v>346</c:v>
                </c:pt>
                <c:pt idx="346">
                  <c:v>347</c:v>
                </c:pt>
                <c:pt idx="347">
                  <c:v>348</c:v>
                </c:pt>
                <c:pt idx="348">
                  <c:v>349</c:v>
                </c:pt>
                <c:pt idx="349">
                  <c:v>350</c:v>
                </c:pt>
                <c:pt idx="350">
                  <c:v>351</c:v>
                </c:pt>
                <c:pt idx="351">
                  <c:v>352</c:v>
                </c:pt>
                <c:pt idx="352">
                  <c:v>353</c:v>
                </c:pt>
                <c:pt idx="353">
                  <c:v>354</c:v>
                </c:pt>
                <c:pt idx="354">
                  <c:v>355</c:v>
                </c:pt>
                <c:pt idx="355">
                  <c:v>356</c:v>
                </c:pt>
                <c:pt idx="356">
                  <c:v>357</c:v>
                </c:pt>
                <c:pt idx="357">
                  <c:v>358</c:v>
                </c:pt>
                <c:pt idx="358">
                  <c:v>359</c:v>
                </c:pt>
                <c:pt idx="359">
                  <c:v>360</c:v>
                </c:pt>
                <c:pt idx="360">
                  <c:v>361</c:v>
                </c:pt>
                <c:pt idx="361">
                  <c:v>362</c:v>
                </c:pt>
                <c:pt idx="362">
                  <c:v>363</c:v>
                </c:pt>
                <c:pt idx="363">
                  <c:v>364</c:v>
                </c:pt>
                <c:pt idx="364">
                  <c:v>365</c:v>
                </c:pt>
                <c:pt idx="365">
                  <c:v>366</c:v>
                </c:pt>
                <c:pt idx="366">
                  <c:v>367</c:v>
                </c:pt>
                <c:pt idx="367">
                  <c:v>368</c:v>
                </c:pt>
                <c:pt idx="368">
                  <c:v>369</c:v>
                </c:pt>
                <c:pt idx="369">
                  <c:v>370</c:v>
                </c:pt>
                <c:pt idx="370">
                  <c:v>371</c:v>
                </c:pt>
                <c:pt idx="371">
                  <c:v>372</c:v>
                </c:pt>
                <c:pt idx="372">
                  <c:v>373</c:v>
                </c:pt>
                <c:pt idx="373">
                  <c:v>374</c:v>
                </c:pt>
                <c:pt idx="374">
                  <c:v>375</c:v>
                </c:pt>
                <c:pt idx="375">
                  <c:v>376</c:v>
                </c:pt>
                <c:pt idx="376">
                  <c:v>377</c:v>
                </c:pt>
                <c:pt idx="377">
                  <c:v>378</c:v>
                </c:pt>
                <c:pt idx="378">
                  <c:v>379</c:v>
                </c:pt>
                <c:pt idx="379">
                  <c:v>380</c:v>
                </c:pt>
                <c:pt idx="380">
                  <c:v>381</c:v>
                </c:pt>
                <c:pt idx="381">
                  <c:v>382</c:v>
                </c:pt>
                <c:pt idx="382">
                  <c:v>383</c:v>
                </c:pt>
                <c:pt idx="383">
                  <c:v>384</c:v>
                </c:pt>
                <c:pt idx="384">
                  <c:v>385</c:v>
                </c:pt>
                <c:pt idx="385">
                  <c:v>386</c:v>
                </c:pt>
                <c:pt idx="386">
                  <c:v>387</c:v>
                </c:pt>
                <c:pt idx="387">
                  <c:v>388</c:v>
                </c:pt>
                <c:pt idx="388">
                  <c:v>389</c:v>
                </c:pt>
                <c:pt idx="389">
                  <c:v>390</c:v>
                </c:pt>
                <c:pt idx="390">
                  <c:v>391</c:v>
                </c:pt>
                <c:pt idx="391">
                  <c:v>392</c:v>
                </c:pt>
                <c:pt idx="392">
                  <c:v>393</c:v>
                </c:pt>
                <c:pt idx="393">
                  <c:v>394</c:v>
                </c:pt>
                <c:pt idx="394">
                  <c:v>395</c:v>
                </c:pt>
                <c:pt idx="395">
                  <c:v>396</c:v>
                </c:pt>
                <c:pt idx="396">
                  <c:v>397</c:v>
                </c:pt>
                <c:pt idx="397">
                  <c:v>398</c:v>
                </c:pt>
                <c:pt idx="398">
                  <c:v>399</c:v>
                </c:pt>
                <c:pt idx="399">
                  <c:v>400</c:v>
                </c:pt>
                <c:pt idx="400">
                  <c:v>401</c:v>
                </c:pt>
                <c:pt idx="401">
                  <c:v>402</c:v>
                </c:pt>
                <c:pt idx="402">
                  <c:v>403</c:v>
                </c:pt>
                <c:pt idx="403">
                  <c:v>404</c:v>
                </c:pt>
                <c:pt idx="404">
                  <c:v>405</c:v>
                </c:pt>
                <c:pt idx="405">
                  <c:v>406</c:v>
                </c:pt>
                <c:pt idx="406">
                  <c:v>407</c:v>
                </c:pt>
                <c:pt idx="407">
                  <c:v>408</c:v>
                </c:pt>
                <c:pt idx="408">
                  <c:v>409</c:v>
                </c:pt>
                <c:pt idx="409">
                  <c:v>410</c:v>
                </c:pt>
                <c:pt idx="410">
                  <c:v>411</c:v>
                </c:pt>
                <c:pt idx="411">
                  <c:v>412</c:v>
                </c:pt>
                <c:pt idx="412">
                  <c:v>413</c:v>
                </c:pt>
                <c:pt idx="413">
                  <c:v>414</c:v>
                </c:pt>
                <c:pt idx="414">
                  <c:v>415</c:v>
                </c:pt>
                <c:pt idx="415">
                  <c:v>416</c:v>
                </c:pt>
                <c:pt idx="416">
                  <c:v>417</c:v>
                </c:pt>
                <c:pt idx="417">
                  <c:v>418</c:v>
                </c:pt>
                <c:pt idx="418">
                  <c:v>419</c:v>
                </c:pt>
                <c:pt idx="419">
                  <c:v>420</c:v>
                </c:pt>
                <c:pt idx="420">
                  <c:v>421</c:v>
                </c:pt>
                <c:pt idx="421">
                  <c:v>422</c:v>
                </c:pt>
                <c:pt idx="422">
                  <c:v>423</c:v>
                </c:pt>
                <c:pt idx="423">
                  <c:v>424</c:v>
                </c:pt>
                <c:pt idx="424">
                  <c:v>425</c:v>
                </c:pt>
                <c:pt idx="425">
                  <c:v>426</c:v>
                </c:pt>
                <c:pt idx="426">
                  <c:v>427</c:v>
                </c:pt>
                <c:pt idx="427">
                  <c:v>428</c:v>
                </c:pt>
                <c:pt idx="428">
                  <c:v>429</c:v>
                </c:pt>
                <c:pt idx="429">
                  <c:v>430</c:v>
                </c:pt>
                <c:pt idx="430">
                  <c:v>431</c:v>
                </c:pt>
                <c:pt idx="431">
                  <c:v>432</c:v>
                </c:pt>
                <c:pt idx="432">
                  <c:v>433</c:v>
                </c:pt>
                <c:pt idx="433">
                  <c:v>434</c:v>
                </c:pt>
                <c:pt idx="434">
                  <c:v>435</c:v>
                </c:pt>
                <c:pt idx="435">
                  <c:v>436</c:v>
                </c:pt>
                <c:pt idx="436">
                  <c:v>437</c:v>
                </c:pt>
                <c:pt idx="437">
                  <c:v>438</c:v>
                </c:pt>
                <c:pt idx="438">
                  <c:v>439</c:v>
                </c:pt>
                <c:pt idx="439">
                  <c:v>440</c:v>
                </c:pt>
                <c:pt idx="440">
                  <c:v>441</c:v>
                </c:pt>
                <c:pt idx="441">
                  <c:v>442</c:v>
                </c:pt>
                <c:pt idx="442">
                  <c:v>443</c:v>
                </c:pt>
                <c:pt idx="443">
                  <c:v>444</c:v>
                </c:pt>
                <c:pt idx="444">
                  <c:v>445</c:v>
                </c:pt>
                <c:pt idx="445">
                  <c:v>446</c:v>
                </c:pt>
                <c:pt idx="446">
                  <c:v>447</c:v>
                </c:pt>
                <c:pt idx="447">
                  <c:v>448</c:v>
                </c:pt>
                <c:pt idx="448">
                  <c:v>449</c:v>
                </c:pt>
                <c:pt idx="449">
                  <c:v>450</c:v>
                </c:pt>
                <c:pt idx="450">
                  <c:v>451</c:v>
                </c:pt>
                <c:pt idx="451">
                  <c:v>452</c:v>
                </c:pt>
                <c:pt idx="452">
                  <c:v>453</c:v>
                </c:pt>
                <c:pt idx="453">
                  <c:v>454</c:v>
                </c:pt>
                <c:pt idx="454">
                  <c:v>455</c:v>
                </c:pt>
                <c:pt idx="455">
                  <c:v>456</c:v>
                </c:pt>
                <c:pt idx="456">
                  <c:v>457</c:v>
                </c:pt>
                <c:pt idx="457">
                  <c:v>458</c:v>
                </c:pt>
                <c:pt idx="458">
                  <c:v>459</c:v>
                </c:pt>
                <c:pt idx="459">
                  <c:v>460</c:v>
                </c:pt>
                <c:pt idx="460">
                  <c:v>461</c:v>
                </c:pt>
                <c:pt idx="461">
                  <c:v>462</c:v>
                </c:pt>
                <c:pt idx="462">
                  <c:v>463</c:v>
                </c:pt>
                <c:pt idx="463">
                  <c:v>464</c:v>
                </c:pt>
                <c:pt idx="464">
                  <c:v>465</c:v>
                </c:pt>
                <c:pt idx="465">
                  <c:v>466</c:v>
                </c:pt>
                <c:pt idx="466">
                  <c:v>467</c:v>
                </c:pt>
                <c:pt idx="467">
                  <c:v>468</c:v>
                </c:pt>
                <c:pt idx="468">
                  <c:v>469</c:v>
                </c:pt>
                <c:pt idx="469">
                  <c:v>470</c:v>
                </c:pt>
                <c:pt idx="470">
                  <c:v>471</c:v>
                </c:pt>
                <c:pt idx="471">
                  <c:v>472</c:v>
                </c:pt>
              </c:numCache>
            </c:numRef>
          </c:xVal>
          <c:yVal>
            <c:numRef>
              <c:f>Sheet1!$P$195:$P$5000</c:f>
              <c:numCache>
                <c:formatCode>General</c:formatCode>
                <c:ptCount val="4806"/>
                <c:pt idx="76">
                  <c:v>188</c:v>
                </c:pt>
                <c:pt idx="77">
                  <c:v>196</c:v>
                </c:pt>
                <c:pt idx="78">
                  <c:v>196</c:v>
                </c:pt>
                <c:pt idx="79">
                  <c:v>196</c:v>
                </c:pt>
                <c:pt idx="80">
                  <c:v>196</c:v>
                </c:pt>
                <c:pt idx="81">
                  <c:v>196</c:v>
                </c:pt>
                <c:pt idx="82">
                  <c:v>194</c:v>
                </c:pt>
                <c:pt idx="83">
                  <c:v>194</c:v>
                </c:pt>
                <c:pt idx="84">
                  <c:v>193</c:v>
                </c:pt>
                <c:pt idx="85">
                  <c:v>193</c:v>
                </c:pt>
                <c:pt idx="86">
                  <c:v>193</c:v>
                </c:pt>
                <c:pt idx="87">
                  <c:v>193</c:v>
                </c:pt>
                <c:pt idx="88">
                  <c:v>192</c:v>
                </c:pt>
                <c:pt idx="89">
                  <c:v>186</c:v>
                </c:pt>
                <c:pt idx="90">
                  <c:v>186</c:v>
                </c:pt>
                <c:pt idx="91">
                  <c:v>186</c:v>
                </c:pt>
                <c:pt idx="92">
                  <c:v>186</c:v>
                </c:pt>
                <c:pt idx="93">
                  <c:v>186</c:v>
                </c:pt>
                <c:pt idx="94">
                  <c:v>186</c:v>
                </c:pt>
                <c:pt idx="95">
                  <c:v>186</c:v>
                </c:pt>
                <c:pt idx="96">
                  <c:v>186</c:v>
                </c:pt>
                <c:pt idx="97">
                  <c:v>186</c:v>
                </c:pt>
                <c:pt idx="98">
                  <c:v>185</c:v>
                </c:pt>
                <c:pt idx="99">
                  <c:v>186</c:v>
                </c:pt>
                <c:pt idx="100">
                  <c:v>185</c:v>
                </c:pt>
                <c:pt idx="101">
                  <c:v>186</c:v>
                </c:pt>
                <c:pt idx="102">
                  <c:v>185</c:v>
                </c:pt>
                <c:pt idx="103">
                  <c:v>192</c:v>
                </c:pt>
                <c:pt idx="104">
                  <c:v>193</c:v>
                </c:pt>
                <c:pt idx="105">
                  <c:v>192</c:v>
                </c:pt>
                <c:pt idx="106">
                  <c:v>191</c:v>
                </c:pt>
                <c:pt idx="107">
                  <c:v>191</c:v>
                </c:pt>
                <c:pt idx="108">
                  <c:v>191</c:v>
                </c:pt>
                <c:pt idx="109">
                  <c:v>185</c:v>
                </c:pt>
                <c:pt idx="110">
                  <c:v>185</c:v>
                </c:pt>
                <c:pt idx="111">
                  <c:v>185</c:v>
                </c:pt>
                <c:pt idx="112">
                  <c:v>185</c:v>
                </c:pt>
                <c:pt idx="113">
                  <c:v>193</c:v>
                </c:pt>
                <c:pt idx="114">
                  <c:v>193</c:v>
                </c:pt>
                <c:pt idx="115">
                  <c:v>189</c:v>
                </c:pt>
                <c:pt idx="116">
                  <c:v>189</c:v>
                </c:pt>
                <c:pt idx="117">
                  <c:v>190</c:v>
                </c:pt>
                <c:pt idx="118">
                  <c:v>191</c:v>
                </c:pt>
                <c:pt idx="119">
                  <c:v>189</c:v>
                </c:pt>
                <c:pt idx="120">
                  <c:v>191</c:v>
                </c:pt>
                <c:pt idx="121">
                  <c:v>195</c:v>
                </c:pt>
                <c:pt idx="122">
                  <c:v>192</c:v>
                </c:pt>
                <c:pt idx="123">
                  <c:v>189</c:v>
                </c:pt>
                <c:pt idx="124">
                  <c:v>189</c:v>
                </c:pt>
                <c:pt idx="125">
                  <c:v>188</c:v>
                </c:pt>
                <c:pt idx="126">
                  <c:v>191</c:v>
                </c:pt>
                <c:pt idx="127">
                  <c:v>187</c:v>
                </c:pt>
                <c:pt idx="128">
                  <c:v>187</c:v>
                </c:pt>
                <c:pt idx="129">
                  <c:v>185</c:v>
                </c:pt>
                <c:pt idx="130">
                  <c:v>185</c:v>
                </c:pt>
                <c:pt idx="131">
                  <c:v>185</c:v>
                </c:pt>
                <c:pt idx="132">
                  <c:v>185</c:v>
                </c:pt>
                <c:pt idx="133">
                  <c:v>185</c:v>
                </c:pt>
                <c:pt idx="134">
                  <c:v>185</c:v>
                </c:pt>
                <c:pt idx="135">
                  <c:v>185</c:v>
                </c:pt>
                <c:pt idx="136">
                  <c:v>182</c:v>
                </c:pt>
                <c:pt idx="137">
                  <c:v>182</c:v>
                </c:pt>
                <c:pt idx="138">
                  <c:v>182</c:v>
                </c:pt>
                <c:pt idx="139">
                  <c:v>182</c:v>
                </c:pt>
                <c:pt idx="140">
                  <c:v>182</c:v>
                </c:pt>
                <c:pt idx="141">
                  <c:v>182</c:v>
                </c:pt>
                <c:pt idx="142">
                  <c:v>182</c:v>
                </c:pt>
                <c:pt idx="143">
                  <c:v>182</c:v>
                </c:pt>
                <c:pt idx="144">
                  <c:v>180</c:v>
                </c:pt>
                <c:pt idx="145">
                  <c:v>180</c:v>
                </c:pt>
                <c:pt idx="146">
                  <c:v>180</c:v>
                </c:pt>
                <c:pt idx="147">
                  <c:v>180</c:v>
                </c:pt>
                <c:pt idx="148">
                  <c:v>180</c:v>
                </c:pt>
                <c:pt idx="149">
                  <c:v>180</c:v>
                </c:pt>
                <c:pt idx="150">
                  <c:v>180</c:v>
                </c:pt>
                <c:pt idx="151">
                  <c:v>182</c:v>
                </c:pt>
                <c:pt idx="152">
                  <c:v>181</c:v>
                </c:pt>
                <c:pt idx="153">
                  <c:v>181</c:v>
                </c:pt>
                <c:pt idx="154">
                  <c:v>181</c:v>
                </c:pt>
                <c:pt idx="155">
                  <c:v>181</c:v>
                </c:pt>
                <c:pt idx="156">
                  <c:v>181</c:v>
                </c:pt>
                <c:pt idx="157">
                  <c:v>182</c:v>
                </c:pt>
                <c:pt idx="158">
                  <c:v>182</c:v>
                </c:pt>
                <c:pt idx="159">
                  <c:v>182</c:v>
                </c:pt>
                <c:pt idx="160">
                  <c:v>182</c:v>
                </c:pt>
                <c:pt idx="161">
                  <c:v>182</c:v>
                </c:pt>
                <c:pt idx="162">
                  <c:v>179</c:v>
                </c:pt>
                <c:pt idx="163">
                  <c:v>181</c:v>
                </c:pt>
                <c:pt idx="164">
                  <c:v>179</c:v>
                </c:pt>
                <c:pt idx="165">
                  <c:v>178</c:v>
                </c:pt>
                <c:pt idx="166">
                  <c:v>178</c:v>
                </c:pt>
                <c:pt idx="167">
                  <c:v>178</c:v>
                </c:pt>
                <c:pt idx="168">
                  <c:v>178</c:v>
                </c:pt>
                <c:pt idx="169">
                  <c:v>178</c:v>
                </c:pt>
                <c:pt idx="170">
                  <c:v>178</c:v>
                </c:pt>
                <c:pt idx="171">
                  <c:v>178</c:v>
                </c:pt>
                <c:pt idx="172">
                  <c:v>178</c:v>
                </c:pt>
                <c:pt idx="173">
                  <c:v>178</c:v>
                </c:pt>
                <c:pt idx="174">
                  <c:v>178</c:v>
                </c:pt>
                <c:pt idx="175">
                  <c:v>178</c:v>
                </c:pt>
                <c:pt idx="176">
                  <c:v>190</c:v>
                </c:pt>
                <c:pt idx="177">
                  <c:v>173</c:v>
                </c:pt>
                <c:pt idx="178">
                  <c:v>173</c:v>
                </c:pt>
                <c:pt idx="179">
                  <c:v>180</c:v>
                </c:pt>
                <c:pt idx="180">
                  <c:v>175</c:v>
                </c:pt>
                <c:pt idx="181">
                  <c:v>174</c:v>
                </c:pt>
                <c:pt idx="182">
                  <c:v>181</c:v>
                </c:pt>
                <c:pt idx="183">
                  <c:v>179</c:v>
                </c:pt>
                <c:pt idx="184">
                  <c:v>174</c:v>
                </c:pt>
                <c:pt idx="185">
                  <c:v>174</c:v>
                </c:pt>
                <c:pt idx="186">
                  <c:v>176</c:v>
                </c:pt>
                <c:pt idx="187">
                  <c:v>175</c:v>
                </c:pt>
                <c:pt idx="188">
                  <c:v>175</c:v>
                </c:pt>
                <c:pt idx="189">
                  <c:v>181</c:v>
                </c:pt>
                <c:pt idx="190">
                  <c:v>181</c:v>
                </c:pt>
                <c:pt idx="191">
                  <c:v>178</c:v>
                </c:pt>
                <c:pt idx="192">
                  <c:v>178</c:v>
                </c:pt>
                <c:pt idx="193">
                  <c:v>178</c:v>
                </c:pt>
                <c:pt idx="194">
                  <c:v>176</c:v>
                </c:pt>
                <c:pt idx="195">
                  <c:v>176</c:v>
                </c:pt>
                <c:pt idx="196">
                  <c:v>176</c:v>
                </c:pt>
                <c:pt idx="197">
                  <c:v>176</c:v>
                </c:pt>
                <c:pt idx="198">
                  <c:v>176</c:v>
                </c:pt>
                <c:pt idx="199">
                  <c:v>176</c:v>
                </c:pt>
                <c:pt idx="200">
                  <c:v>176</c:v>
                </c:pt>
                <c:pt idx="201">
                  <c:v>176</c:v>
                </c:pt>
                <c:pt idx="202">
                  <c:v>176</c:v>
                </c:pt>
                <c:pt idx="203">
                  <c:v>176</c:v>
                </c:pt>
                <c:pt idx="204">
                  <c:v>175</c:v>
                </c:pt>
                <c:pt idx="205">
                  <c:v>174</c:v>
                </c:pt>
                <c:pt idx="206">
                  <c:v>174</c:v>
                </c:pt>
                <c:pt idx="207">
                  <c:v>174</c:v>
                </c:pt>
                <c:pt idx="208">
                  <c:v>174</c:v>
                </c:pt>
                <c:pt idx="209">
                  <c:v>174</c:v>
                </c:pt>
                <c:pt idx="210">
                  <c:v>174</c:v>
                </c:pt>
                <c:pt idx="211">
                  <c:v>174</c:v>
                </c:pt>
                <c:pt idx="212">
                  <c:v>175</c:v>
                </c:pt>
                <c:pt idx="213">
                  <c:v>175</c:v>
                </c:pt>
                <c:pt idx="214">
                  <c:v>174</c:v>
                </c:pt>
                <c:pt idx="215">
                  <c:v>174</c:v>
                </c:pt>
                <c:pt idx="216">
                  <c:v>174</c:v>
                </c:pt>
                <c:pt idx="217">
                  <c:v>180</c:v>
                </c:pt>
                <c:pt idx="218">
                  <c:v>180</c:v>
                </c:pt>
                <c:pt idx="219">
                  <c:v>175</c:v>
                </c:pt>
                <c:pt idx="220">
                  <c:v>175</c:v>
                </c:pt>
                <c:pt idx="221">
                  <c:v>175</c:v>
                </c:pt>
                <c:pt idx="222">
                  <c:v>175</c:v>
                </c:pt>
                <c:pt idx="223">
                  <c:v>175</c:v>
                </c:pt>
                <c:pt idx="224">
                  <c:v>180</c:v>
                </c:pt>
                <c:pt idx="225">
                  <c:v>180</c:v>
                </c:pt>
                <c:pt idx="226">
                  <c:v>180</c:v>
                </c:pt>
                <c:pt idx="227">
                  <c:v>180</c:v>
                </c:pt>
                <c:pt idx="228">
                  <c:v>180</c:v>
                </c:pt>
                <c:pt idx="229">
                  <c:v>180</c:v>
                </c:pt>
                <c:pt idx="230">
                  <c:v>180</c:v>
                </c:pt>
                <c:pt idx="231">
                  <c:v>180</c:v>
                </c:pt>
                <c:pt idx="232">
                  <c:v>180</c:v>
                </c:pt>
                <c:pt idx="233">
                  <c:v>180</c:v>
                </c:pt>
                <c:pt idx="234">
                  <c:v>179.76</c:v>
                </c:pt>
                <c:pt idx="235">
                  <c:v>181.5</c:v>
                </c:pt>
                <c:pt idx="236">
                  <c:v>179.43</c:v>
                </c:pt>
                <c:pt idx="237">
                  <c:v>178.85</c:v>
                </c:pt>
                <c:pt idx="238">
                  <c:v>181.41</c:v>
                </c:pt>
                <c:pt idx="239">
                  <c:v>180.97</c:v>
                </c:pt>
                <c:pt idx="240">
                  <c:v>180.97</c:v>
                </c:pt>
                <c:pt idx="241">
                  <c:v>180.97</c:v>
                </c:pt>
                <c:pt idx="242">
                  <c:v>180.16</c:v>
                </c:pt>
                <c:pt idx="243">
                  <c:v>180.16</c:v>
                </c:pt>
                <c:pt idx="244">
                  <c:v>180.16</c:v>
                </c:pt>
                <c:pt idx="245">
                  <c:v>180.08</c:v>
                </c:pt>
                <c:pt idx="246">
                  <c:v>180.08</c:v>
                </c:pt>
                <c:pt idx="247">
                  <c:v>180.08</c:v>
                </c:pt>
                <c:pt idx="248">
                  <c:v>180.08</c:v>
                </c:pt>
                <c:pt idx="249">
                  <c:v>180.08</c:v>
                </c:pt>
                <c:pt idx="250">
                  <c:v>175.62</c:v>
                </c:pt>
                <c:pt idx="251">
                  <c:v>175.62</c:v>
                </c:pt>
                <c:pt idx="252">
                  <c:v>175.62</c:v>
                </c:pt>
                <c:pt idx="253">
                  <c:v>175.62</c:v>
                </c:pt>
                <c:pt idx="254">
                  <c:v>175.62</c:v>
                </c:pt>
                <c:pt idx="255">
                  <c:v>175.62</c:v>
                </c:pt>
                <c:pt idx="256">
                  <c:v>175.62</c:v>
                </c:pt>
                <c:pt idx="257">
                  <c:v>178.1</c:v>
                </c:pt>
                <c:pt idx="258">
                  <c:v>178.1</c:v>
                </c:pt>
                <c:pt idx="259">
                  <c:v>178.1</c:v>
                </c:pt>
                <c:pt idx="260">
                  <c:v>178.1</c:v>
                </c:pt>
                <c:pt idx="261">
                  <c:v>176.03</c:v>
                </c:pt>
                <c:pt idx="262">
                  <c:v>176.03</c:v>
                </c:pt>
                <c:pt idx="263">
                  <c:v>176.03</c:v>
                </c:pt>
                <c:pt idx="264">
                  <c:v>176.03</c:v>
                </c:pt>
                <c:pt idx="265">
                  <c:v>176.03</c:v>
                </c:pt>
                <c:pt idx="266">
                  <c:v>176.03</c:v>
                </c:pt>
                <c:pt idx="267">
                  <c:v>174.62</c:v>
                </c:pt>
                <c:pt idx="268">
                  <c:v>174.63</c:v>
                </c:pt>
                <c:pt idx="269">
                  <c:v>174.63</c:v>
                </c:pt>
                <c:pt idx="270">
                  <c:v>174.63</c:v>
                </c:pt>
                <c:pt idx="271">
                  <c:v>174.63</c:v>
                </c:pt>
                <c:pt idx="272">
                  <c:v>174.62</c:v>
                </c:pt>
                <c:pt idx="273">
                  <c:v>174.62</c:v>
                </c:pt>
                <c:pt idx="274">
                  <c:v>174.62</c:v>
                </c:pt>
                <c:pt idx="275">
                  <c:v>175.61</c:v>
                </c:pt>
                <c:pt idx="276">
                  <c:v>175.61</c:v>
                </c:pt>
                <c:pt idx="277">
                  <c:v>175.61</c:v>
                </c:pt>
                <c:pt idx="278">
                  <c:v>175.61</c:v>
                </c:pt>
                <c:pt idx="279">
                  <c:v>174.79</c:v>
                </c:pt>
                <c:pt idx="280">
                  <c:v>174.79</c:v>
                </c:pt>
                <c:pt idx="281">
                  <c:v>173.03</c:v>
                </c:pt>
                <c:pt idx="282">
                  <c:v>173.03</c:v>
                </c:pt>
                <c:pt idx="283">
                  <c:v>174.27</c:v>
                </c:pt>
                <c:pt idx="284">
                  <c:v>173.86</c:v>
                </c:pt>
                <c:pt idx="285">
                  <c:v>173.86</c:v>
                </c:pt>
                <c:pt idx="286">
                  <c:v>174.29</c:v>
                </c:pt>
                <c:pt idx="287">
                  <c:v>174.29</c:v>
                </c:pt>
                <c:pt idx="288">
                  <c:v>176.03</c:v>
                </c:pt>
                <c:pt idx="289">
                  <c:v>176.03</c:v>
                </c:pt>
                <c:pt idx="290">
                  <c:v>176.03</c:v>
                </c:pt>
                <c:pt idx="291">
                  <c:v>175.15</c:v>
                </c:pt>
                <c:pt idx="292">
                  <c:v>174.71</c:v>
                </c:pt>
                <c:pt idx="293">
                  <c:v>174.71</c:v>
                </c:pt>
                <c:pt idx="294">
                  <c:v>174.7</c:v>
                </c:pt>
                <c:pt idx="295">
                  <c:v>174.7</c:v>
                </c:pt>
                <c:pt idx="296">
                  <c:v>174.7</c:v>
                </c:pt>
                <c:pt idx="297">
                  <c:v>174.7</c:v>
                </c:pt>
                <c:pt idx="298">
                  <c:v>176.03</c:v>
                </c:pt>
                <c:pt idx="299">
                  <c:v>176.03</c:v>
                </c:pt>
                <c:pt idx="300">
                  <c:v>175.15</c:v>
                </c:pt>
                <c:pt idx="301">
                  <c:v>175.15</c:v>
                </c:pt>
                <c:pt idx="302">
                  <c:v>175.15</c:v>
                </c:pt>
                <c:pt idx="303">
                  <c:v>175.15</c:v>
                </c:pt>
                <c:pt idx="304">
                  <c:v>174.71</c:v>
                </c:pt>
                <c:pt idx="305">
                  <c:v>175.15</c:v>
                </c:pt>
                <c:pt idx="306">
                  <c:v>174.71</c:v>
                </c:pt>
                <c:pt idx="307">
                  <c:v>175.15</c:v>
                </c:pt>
                <c:pt idx="308">
                  <c:v>175.15</c:v>
                </c:pt>
                <c:pt idx="309">
                  <c:v>175.15</c:v>
                </c:pt>
                <c:pt idx="310">
                  <c:v>175.15</c:v>
                </c:pt>
                <c:pt idx="311">
                  <c:v>175.15</c:v>
                </c:pt>
                <c:pt idx="312">
                  <c:v>173.24</c:v>
                </c:pt>
                <c:pt idx="313">
                  <c:v>173.24</c:v>
                </c:pt>
                <c:pt idx="314">
                  <c:v>173.24</c:v>
                </c:pt>
                <c:pt idx="315">
                  <c:v>173.24</c:v>
                </c:pt>
                <c:pt idx="316">
                  <c:v>173.24</c:v>
                </c:pt>
                <c:pt idx="317">
                  <c:v>173.24</c:v>
                </c:pt>
                <c:pt idx="318">
                  <c:v>173.24</c:v>
                </c:pt>
                <c:pt idx="319">
                  <c:v>173.24</c:v>
                </c:pt>
                <c:pt idx="320">
                  <c:v>173.24</c:v>
                </c:pt>
                <c:pt idx="321">
                  <c:v>173.16</c:v>
                </c:pt>
                <c:pt idx="322">
                  <c:v>173.16</c:v>
                </c:pt>
                <c:pt idx="323">
                  <c:v>173.16</c:v>
                </c:pt>
                <c:pt idx="324">
                  <c:v>173.16</c:v>
                </c:pt>
                <c:pt idx="326">
                  <c:v>175.15</c:v>
                </c:pt>
                <c:pt idx="327">
                  <c:v>173.24</c:v>
                </c:pt>
                <c:pt idx="328">
                  <c:v>175.15</c:v>
                </c:pt>
                <c:pt idx="329">
                  <c:v>175.15</c:v>
                </c:pt>
                <c:pt idx="330">
                  <c:v>174.73</c:v>
                </c:pt>
                <c:pt idx="331">
                  <c:v>174.73</c:v>
                </c:pt>
                <c:pt idx="332">
                  <c:v>174.73</c:v>
                </c:pt>
                <c:pt idx="333">
                  <c:v>173.24</c:v>
                </c:pt>
                <c:pt idx="334">
                  <c:v>173.24</c:v>
                </c:pt>
                <c:pt idx="335">
                  <c:v>173.24</c:v>
                </c:pt>
                <c:pt idx="336">
                  <c:v>173.24</c:v>
                </c:pt>
                <c:pt idx="337">
                  <c:v>176.39</c:v>
                </c:pt>
                <c:pt idx="338">
                  <c:v>173.91</c:v>
                </c:pt>
                <c:pt idx="339">
                  <c:v>173.49</c:v>
                </c:pt>
                <c:pt idx="340">
                  <c:v>173.08</c:v>
                </c:pt>
                <c:pt idx="341">
                  <c:v>175.15</c:v>
                </c:pt>
                <c:pt idx="342">
                  <c:v>175.15</c:v>
                </c:pt>
                <c:pt idx="343">
                  <c:v>176.39</c:v>
                </c:pt>
                <c:pt idx="344">
                  <c:v>176.39</c:v>
                </c:pt>
                <c:pt idx="345">
                  <c:v>176.39</c:v>
                </c:pt>
                <c:pt idx="346">
                  <c:v>176.39</c:v>
                </c:pt>
                <c:pt idx="347">
                  <c:v>176.39</c:v>
                </c:pt>
                <c:pt idx="348">
                  <c:v>176.39</c:v>
                </c:pt>
                <c:pt idx="349">
                  <c:v>176.39</c:v>
                </c:pt>
                <c:pt idx="350">
                  <c:v>176.39</c:v>
                </c:pt>
                <c:pt idx="351">
                  <c:v>177.27</c:v>
                </c:pt>
                <c:pt idx="352">
                  <c:v>177.27</c:v>
                </c:pt>
                <c:pt idx="353">
                  <c:v>177.27</c:v>
                </c:pt>
                <c:pt idx="354">
                  <c:v>177.27</c:v>
                </c:pt>
                <c:pt idx="355">
                  <c:v>177.27</c:v>
                </c:pt>
                <c:pt idx="356">
                  <c:v>177.27</c:v>
                </c:pt>
                <c:pt idx="357">
                  <c:v>177.27</c:v>
                </c:pt>
                <c:pt idx="358">
                  <c:v>177.27</c:v>
                </c:pt>
                <c:pt idx="359">
                  <c:v>177.27</c:v>
                </c:pt>
                <c:pt idx="360">
                  <c:v>177.27</c:v>
                </c:pt>
                <c:pt idx="361">
                  <c:v>177.27</c:v>
                </c:pt>
                <c:pt idx="362">
                  <c:v>177.27</c:v>
                </c:pt>
                <c:pt idx="363">
                  <c:v>177.28</c:v>
                </c:pt>
                <c:pt idx="364">
                  <c:v>177.28</c:v>
                </c:pt>
                <c:pt idx="365">
                  <c:v>177.28</c:v>
                </c:pt>
                <c:pt idx="366">
                  <c:v>177.28</c:v>
                </c:pt>
                <c:pt idx="367">
                  <c:v>177.28</c:v>
                </c:pt>
                <c:pt idx="368">
                  <c:v>177.28</c:v>
                </c:pt>
                <c:pt idx="369">
                  <c:v>177.28</c:v>
                </c:pt>
                <c:pt idx="370">
                  <c:v>176.38</c:v>
                </c:pt>
                <c:pt idx="371">
                  <c:v>173.07</c:v>
                </c:pt>
                <c:pt idx="372">
                  <c:v>172.91</c:v>
                </c:pt>
                <c:pt idx="373">
                  <c:v>172.91</c:v>
                </c:pt>
                <c:pt idx="374">
                  <c:v>172.91</c:v>
                </c:pt>
                <c:pt idx="375">
                  <c:v>172.91</c:v>
                </c:pt>
                <c:pt idx="376">
                  <c:v>172.91</c:v>
                </c:pt>
                <c:pt idx="377">
                  <c:v>172.74</c:v>
                </c:pt>
                <c:pt idx="378">
                  <c:v>176.38</c:v>
                </c:pt>
                <c:pt idx="379">
                  <c:v>173.32</c:v>
                </c:pt>
                <c:pt idx="380">
                  <c:v>174.07</c:v>
                </c:pt>
                <c:pt idx="381">
                  <c:v>172.49</c:v>
                </c:pt>
                <c:pt idx="382">
                  <c:v>173.07</c:v>
                </c:pt>
                <c:pt idx="383">
                  <c:v>173.07</c:v>
                </c:pt>
                <c:pt idx="384">
                  <c:v>172.91</c:v>
                </c:pt>
                <c:pt idx="385">
                  <c:v>172.91</c:v>
                </c:pt>
                <c:pt idx="386">
                  <c:v>172.91</c:v>
                </c:pt>
                <c:pt idx="387">
                  <c:v>172.91</c:v>
                </c:pt>
                <c:pt idx="388">
                  <c:v>172.74</c:v>
                </c:pt>
                <c:pt idx="389">
                  <c:v>172.74</c:v>
                </c:pt>
                <c:pt idx="390">
                  <c:v>172.66</c:v>
                </c:pt>
                <c:pt idx="391">
                  <c:v>172.66</c:v>
                </c:pt>
                <c:pt idx="392">
                  <c:v>172.66</c:v>
                </c:pt>
                <c:pt idx="393">
                  <c:v>172.66</c:v>
                </c:pt>
                <c:pt idx="394">
                  <c:v>172.66</c:v>
                </c:pt>
                <c:pt idx="395">
                  <c:v>172.66</c:v>
                </c:pt>
                <c:pt idx="396">
                  <c:v>172.66</c:v>
                </c:pt>
                <c:pt idx="397">
                  <c:v>172.66</c:v>
                </c:pt>
                <c:pt idx="398">
                  <c:v>172.66</c:v>
                </c:pt>
                <c:pt idx="399">
                  <c:v>172.66</c:v>
                </c:pt>
                <c:pt idx="400">
                  <c:v>172.66</c:v>
                </c:pt>
                <c:pt idx="401">
                  <c:v>172.22</c:v>
                </c:pt>
                <c:pt idx="402">
                  <c:v>172.3</c:v>
                </c:pt>
                <c:pt idx="403">
                  <c:v>172.3</c:v>
                </c:pt>
                <c:pt idx="404">
                  <c:v>172.3</c:v>
                </c:pt>
                <c:pt idx="405">
                  <c:v>172.3</c:v>
                </c:pt>
                <c:pt idx="406">
                  <c:v>172.74</c:v>
                </c:pt>
                <c:pt idx="407">
                  <c:v>172.74</c:v>
                </c:pt>
                <c:pt idx="408">
                  <c:v>172.74</c:v>
                </c:pt>
                <c:pt idx="409">
                  <c:v>173.54</c:v>
                </c:pt>
                <c:pt idx="410">
                  <c:v>173.62</c:v>
                </c:pt>
                <c:pt idx="411">
                  <c:v>173.62</c:v>
                </c:pt>
                <c:pt idx="412">
                  <c:v>173.62</c:v>
                </c:pt>
                <c:pt idx="413">
                  <c:v>172.75</c:v>
                </c:pt>
                <c:pt idx="414">
                  <c:v>172.75</c:v>
                </c:pt>
                <c:pt idx="415">
                  <c:v>172.91</c:v>
                </c:pt>
                <c:pt idx="416">
                  <c:v>173.49</c:v>
                </c:pt>
                <c:pt idx="417">
                  <c:v>173.06</c:v>
                </c:pt>
                <c:pt idx="418">
                  <c:v>173.06</c:v>
                </c:pt>
                <c:pt idx="419">
                  <c:v>173.05</c:v>
                </c:pt>
                <c:pt idx="420">
                  <c:v>173.05</c:v>
                </c:pt>
                <c:pt idx="421">
                  <c:v>173.55</c:v>
                </c:pt>
                <c:pt idx="422">
                  <c:v>174.29</c:v>
                </c:pt>
                <c:pt idx="423">
                  <c:v>174.29</c:v>
                </c:pt>
                <c:pt idx="424">
                  <c:v>174.29</c:v>
                </c:pt>
                <c:pt idx="425">
                  <c:v>174.29</c:v>
                </c:pt>
                <c:pt idx="426">
                  <c:v>172.72</c:v>
                </c:pt>
                <c:pt idx="427">
                  <c:v>172.72</c:v>
                </c:pt>
                <c:pt idx="428">
                  <c:v>172.72</c:v>
                </c:pt>
                <c:pt idx="429">
                  <c:v>172.72</c:v>
                </c:pt>
                <c:pt idx="430">
                  <c:v>172.72</c:v>
                </c:pt>
                <c:pt idx="431">
                  <c:v>172.72</c:v>
                </c:pt>
                <c:pt idx="432">
                  <c:v>172.72</c:v>
                </c:pt>
                <c:pt idx="433">
                  <c:v>172.72</c:v>
                </c:pt>
                <c:pt idx="434">
                  <c:v>172.72</c:v>
                </c:pt>
                <c:pt idx="435">
                  <c:v>173.95</c:v>
                </c:pt>
                <c:pt idx="436">
                  <c:v>173.95</c:v>
                </c:pt>
                <c:pt idx="437">
                  <c:v>173.95</c:v>
                </c:pt>
                <c:pt idx="438">
                  <c:v>173.95</c:v>
                </c:pt>
                <c:pt idx="439">
                  <c:v>173.95</c:v>
                </c:pt>
                <c:pt idx="440">
                  <c:v>173.95</c:v>
                </c:pt>
                <c:pt idx="441">
                  <c:v>173.95</c:v>
                </c:pt>
                <c:pt idx="442">
                  <c:v>173.95</c:v>
                </c:pt>
                <c:pt idx="443">
                  <c:v>173.95</c:v>
                </c:pt>
                <c:pt idx="444">
                  <c:v>173.95</c:v>
                </c:pt>
                <c:pt idx="445">
                  <c:v>173.95</c:v>
                </c:pt>
                <c:pt idx="446">
                  <c:v>173.95</c:v>
                </c:pt>
                <c:pt idx="447">
                  <c:v>173.95</c:v>
                </c:pt>
                <c:pt idx="448">
                  <c:v>173.95</c:v>
                </c:pt>
                <c:pt idx="449">
                  <c:v>173.95</c:v>
                </c:pt>
                <c:pt idx="450">
                  <c:v>173.95</c:v>
                </c:pt>
                <c:pt idx="451">
                  <c:v>173.95</c:v>
                </c:pt>
                <c:pt idx="452">
                  <c:v>173.51</c:v>
                </c:pt>
                <c:pt idx="453">
                  <c:v>173.51</c:v>
                </c:pt>
                <c:pt idx="454">
                  <c:v>173.51</c:v>
                </c:pt>
                <c:pt idx="455">
                  <c:v>173.51</c:v>
                </c:pt>
                <c:pt idx="456">
                  <c:v>173.68</c:v>
                </c:pt>
                <c:pt idx="457">
                  <c:v>173.68</c:v>
                </c:pt>
                <c:pt idx="458">
                  <c:v>173.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C8A-46C6-99AE-52071130BB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4860256"/>
        <c:axId val="201324048"/>
      </c:scatterChart>
      <c:valAx>
        <c:axId val="527552512"/>
        <c:scaling>
          <c:orientation val="minMax"/>
          <c:max val="470"/>
          <c:min val="0"/>
        </c:scaling>
        <c:delete val="0"/>
        <c:axPos val="b"/>
        <c:title>
          <c:tx>
            <c:rich>
              <a:bodyPr/>
              <a:lstStyle/>
              <a:p>
                <a:pPr>
                  <a:defRPr sz="1000" i="0"/>
                </a:pPr>
                <a:r>
                  <a:rPr lang="ru-RU" sz="800" b="0" i="0" u="none" strike="noStrike" baseline="0" dirty="0" smtClean="0">
                    <a:effectLst/>
                  </a:rPr>
                  <a:t>Отработка, сут</a:t>
                </a:r>
                <a:r>
                  <a:rPr lang="ru-RU" sz="1000" b="0" i="0" u="none" strike="noStrike" baseline="0" dirty="0" smtClean="0">
                    <a:effectLst/>
                  </a:rPr>
                  <a:t>.</a:t>
                </a:r>
                <a:endParaRPr lang="ru-RU" sz="1000" b="1" i="0" dirty="0"/>
              </a:p>
            </c:rich>
          </c:tx>
          <c:layout>
            <c:manualLayout>
              <c:xMode val="edge"/>
              <c:yMode val="edge"/>
              <c:x val="0.38910601879306211"/>
              <c:y val="0.8883335347130395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527745408"/>
        <c:crosses val="autoZero"/>
        <c:crossBetween val="midCat"/>
        <c:majorUnit val="50"/>
        <c:minorUnit val="50"/>
      </c:valAx>
      <c:valAx>
        <c:axId val="527745408"/>
        <c:scaling>
          <c:orientation val="minMax"/>
          <c:max val="50"/>
          <c:min val="0"/>
        </c:scaling>
        <c:delete val="0"/>
        <c:axPos val="l"/>
        <c:minorGridlines>
          <c:spPr>
            <a:ln>
              <a:solidFill>
                <a:sysClr val="window" lastClr="FFFFFF">
                  <a:lumMod val="50000"/>
                </a:sysClr>
              </a:solidFill>
              <a:prstDash val="dash"/>
            </a:ln>
          </c:spPr>
        </c:min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527552512"/>
        <c:crosses val="autoZero"/>
        <c:crossBetween val="midCat"/>
        <c:majorUnit val="10"/>
        <c:minorUnit val="5"/>
      </c:valAx>
      <c:valAx>
        <c:axId val="201324048"/>
        <c:scaling>
          <c:orientation val="minMax"/>
          <c:min val="10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374860256"/>
        <c:crosses val="max"/>
        <c:crossBetween val="midCat"/>
        <c:minorUnit val="20"/>
      </c:valAx>
      <c:valAx>
        <c:axId val="374860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324048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7.7400574737777242E-2"/>
          <c:y val="2.716979590674061E-2"/>
          <c:w val="0.84757290264692686"/>
          <c:h val="6.0180194996709388E-2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spPr>
    <a:ln>
      <a:solidFill>
        <a:srgbClr val="000000"/>
      </a:solidFill>
    </a:ln>
  </c:spPr>
  <c:txPr>
    <a:bodyPr/>
    <a:lstStyle/>
    <a:p>
      <a:pPr>
        <a:defRPr sz="800">
          <a:latin typeface="Arial (Основной текст)"/>
        </a:defRPr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2578741250972134E-2"/>
          <c:y val="0.20247976075199758"/>
          <c:w val="0.91069658447911916"/>
          <c:h val="0.74055721334044755"/>
        </c:manualLayout>
      </c:layout>
      <c:barChart>
        <c:barDir val="col"/>
        <c:grouping val="stacked"/>
        <c:varyColors val="0"/>
        <c:ser>
          <c:idx val="1"/>
          <c:order val="0"/>
          <c:spPr>
            <a:noFill/>
            <a:effectLst>
              <a:outerShdw blurRad="40000" dist="23000" dir="5400000" rotWithShape="0">
                <a:srgbClr val="000000">
                  <a:alpha val="0"/>
                </a:srgbClr>
              </a:outerShdw>
            </a:effectLst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995-4727-B599-6B29F13914D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995-4727-B599-6B29F13914D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995-4727-B599-6B29F13914D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995-4727-B599-6B29F13914D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995-4727-B599-6B29F13914DD}"/>
              </c:ext>
            </c:extLst>
          </c:dPt>
          <c:cat>
            <c:strRef>
              <c:f>'1000 м (3)'!$B$1:$B$6</c:f>
              <c:strCache>
                <c:ptCount val="5"/>
                <c:pt idx="0">
                  <c:v>Среднестатистический профиль</c:v>
                </c:pt>
                <c:pt idx="1">
                  <c:v>Увеличение числа трещин</c:v>
                </c:pt>
                <c:pt idx="3">
                  <c:v>Применение кластерного ГРП</c:v>
                </c:pt>
                <c:pt idx="4">
                  <c:v>Увеличение длины ГС</c:v>
                </c:pt>
              </c:strCache>
            </c:strRef>
          </c:cat>
          <c:val>
            <c:numRef>
              <c:f>'1000 м (3)'!$C$1:$C$6</c:f>
              <c:numCache>
                <c:formatCode>0</c:formatCode>
                <c:ptCount val="6"/>
                <c:pt idx="1">
                  <c:v>3</c:v>
                </c:pt>
                <c:pt idx="3">
                  <c:v>15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995-4727-B599-6B29F13914DD}"/>
            </c:ext>
          </c:extLst>
        </c:ser>
        <c:ser>
          <c:idx val="0"/>
          <c:order val="1"/>
          <c:spPr>
            <a:solidFill>
              <a:srgbClr val="FFFFFF">
                <a:lumMod val="85000"/>
              </a:srgbClr>
            </a:solidFill>
            <a:ln w="3175">
              <a:solidFill>
                <a:srgbClr val="FFFFFF">
                  <a:lumMod val="65000"/>
                </a:srgbClr>
              </a:solidFill>
            </a:ln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0">
                    <a:latin typeface="Arial (Основной текст)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1000 м (3)'!$B$1:$B$6</c:f>
              <c:strCache>
                <c:ptCount val="5"/>
                <c:pt idx="0">
                  <c:v>Среднестатистический профиль</c:v>
                </c:pt>
                <c:pt idx="1">
                  <c:v>Увеличение числа трещин</c:v>
                </c:pt>
                <c:pt idx="3">
                  <c:v>Применение кластерного ГРП</c:v>
                </c:pt>
                <c:pt idx="4">
                  <c:v>Увеличение длины ГС</c:v>
                </c:pt>
              </c:strCache>
            </c:strRef>
          </c:cat>
          <c:val>
            <c:numRef>
              <c:f>'1000 м (3)'!$D$1:$D$6</c:f>
              <c:numCache>
                <c:formatCode>0</c:formatCode>
                <c:ptCount val="6"/>
                <c:pt idx="0">
                  <c:v>3</c:v>
                </c:pt>
                <c:pt idx="1">
                  <c:v>12</c:v>
                </c:pt>
                <c:pt idx="3">
                  <c:v>8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995-4727-B599-6B29F13914DD}"/>
            </c:ext>
          </c:extLst>
        </c:ser>
        <c:ser>
          <c:idx val="2"/>
          <c:order val="2"/>
          <c:tx>
            <c:strRef>
              <c:f>'1000 м (3)'!$B$1:$B$6</c:f>
              <c:strCache>
                <c:ptCount val="1"/>
                <c:pt idx="0">
                  <c:v>Среднестатистический профиль Увеличение числа трещин Применение кластерного ГРП Увеличение длины ГС</c:v>
                </c:pt>
              </c:strCache>
            </c:strRef>
          </c:tx>
          <c:spPr>
            <a:solidFill>
              <a:srgbClr val="004077">
                <a:lumMod val="75000"/>
              </a:srgbClr>
            </a:solidFill>
            <a:ln w="3175">
              <a:noFill/>
            </a:ln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Pt>
            <c:idx val="4"/>
            <c:invertIfNegative val="0"/>
            <c:bubble3D val="0"/>
            <c:spPr>
              <a:solidFill>
                <a:srgbClr val="004077">
                  <a:lumMod val="75000"/>
                </a:srgbClr>
              </a:solidFill>
              <a:ln w="3175">
                <a:solidFill>
                  <a:srgbClr val="3C3C3C"/>
                </a:solidFill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c:spPr>
            <c:extLst>
              <c:ext xmlns:c16="http://schemas.microsoft.com/office/drawing/2014/chart" uri="{C3380CC4-5D6E-409C-BE32-E72D297353CC}">
                <c16:uniqueId val="{00000008-3995-4727-B599-6B29F13914DD}"/>
              </c:ext>
            </c:extLst>
          </c:dPt>
          <c:dPt>
            <c:idx val="7"/>
            <c:invertIfNegative val="0"/>
            <c:bubble3D val="0"/>
            <c:spPr>
              <a:solidFill>
                <a:srgbClr val="004077">
                  <a:lumMod val="75000"/>
                </a:srgbClr>
              </a:solidFill>
              <a:ln w="3175">
                <a:solidFill>
                  <a:srgbClr val="3C3C3C"/>
                </a:solidFill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/>
            </c:spPr>
            <c:extLst>
              <c:ext xmlns:c16="http://schemas.microsoft.com/office/drawing/2014/chart" uri="{C3380CC4-5D6E-409C-BE32-E72D297353CC}">
                <c16:uniqueId val="{0000000A-3995-4727-B599-6B29F13914DD}"/>
              </c:ext>
            </c:extLst>
          </c:dPt>
          <c:dLbls>
            <c:dLbl>
              <c:idx val="4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995-4727-B599-6B29F13914DD}"/>
                </c:ext>
              </c:extLst>
            </c:dLbl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995-4727-B599-6B29F13914DD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995-4727-B599-6B29F13914DD}"/>
                </c:ext>
              </c:extLst>
            </c:dLbl>
            <c:dLbl>
              <c:idx val="1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995-4727-B599-6B29F13914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 b="1">
                    <a:solidFill>
                      <a:schemeClr val="bg1"/>
                    </a:solidFill>
                    <a:latin typeface="'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1000 м (3)'!$B$1:$B$6</c:f>
              <c:strCache>
                <c:ptCount val="5"/>
                <c:pt idx="0">
                  <c:v>Среднестатистический профиль</c:v>
                </c:pt>
                <c:pt idx="1">
                  <c:v>Увеличение числа трещин</c:v>
                </c:pt>
                <c:pt idx="3">
                  <c:v>Применение кластерного ГРП</c:v>
                </c:pt>
                <c:pt idx="4">
                  <c:v>Увеличение длины ГС</c:v>
                </c:pt>
              </c:strCache>
            </c:strRef>
          </c:cat>
          <c:val>
            <c:numRef>
              <c:f>'1000 м (3)'!$E$1:$E$6</c:f>
              <c:numCache>
                <c:formatCode>General</c:formatCode>
                <c:ptCount val="6"/>
                <c:pt idx="2" formatCode="0">
                  <c:v>15</c:v>
                </c:pt>
                <c:pt idx="5" formatCode="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995-4727-B599-6B29F13914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100"/>
        <c:axId val="336744448"/>
        <c:axId val="336745984"/>
      </c:barChart>
      <c:catAx>
        <c:axId val="33674444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336745984"/>
        <c:crosses val="autoZero"/>
        <c:auto val="1"/>
        <c:lblAlgn val="ctr"/>
        <c:lblOffset val="100"/>
        <c:noMultiLvlLbl val="0"/>
      </c:catAx>
      <c:valAx>
        <c:axId val="336745984"/>
        <c:scaling>
          <c:orientation val="minMax"/>
          <c:max val="50"/>
          <c:min val="0"/>
        </c:scaling>
        <c:delete val="0"/>
        <c:axPos val="l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336744448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0"/>
    <c:dispBlanksAs val="gap"/>
    <c:showDLblsOverMax val="0"/>
  </c:chart>
  <c:spPr>
    <a:ln>
      <a:noFill/>
    </a:ln>
  </c:spPr>
  <c:txPr>
    <a:bodyPr/>
    <a:lstStyle/>
    <a:p>
      <a:pPr>
        <a:defRPr sz="600"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ru-RU" sz="700" dirty="0"/>
              <a:t>Набор компетенций по бурению и ВСР</a:t>
            </a:r>
          </a:p>
        </c:rich>
      </c:tx>
      <c:layout>
        <c:manualLayout>
          <c:xMode val="edge"/>
          <c:yMode val="edge"/>
          <c:x val="0.28878383069845059"/>
          <c:y val="0.167494578381118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136733986521379"/>
          <c:y val="0.1936450881541148"/>
          <c:w val="0.8637474641434123"/>
          <c:h val="0.44508381212565012"/>
        </c:manualLayout>
      </c:layout>
      <c:barChart>
        <c:barDir val="col"/>
        <c:grouping val="stack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ysClr val="window" lastClr="FFFFFF"/>
              </a:solidFill>
            </c:spPr>
            <c:extLst>
              <c:ext xmlns:c16="http://schemas.microsoft.com/office/drawing/2014/chart" uri="{C3380CC4-5D6E-409C-BE32-E72D297353CC}">
                <c16:uniqueId val="{00000001-2900-4732-A0D1-56EDDAEBBEDA}"/>
              </c:ext>
            </c:extLst>
          </c:dPt>
          <c:dPt>
            <c:idx val="2"/>
            <c:invertIfNegative val="0"/>
            <c:bubble3D val="0"/>
            <c:spPr>
              <a:solidFill>
                <a:sysClr val="window" lastClr="FFFFFF"/>
              </a:solidFill>
            </c:spPr>
            <c:extLst>
              <c:ext xmlns:c16="http://schemas.microsoft.com/office/drawing/2014/chart" uri="{C3380CC4-5D6E-409C-BE32-E72D297353CC}">
                <c16:uniqueId val="{00000003-2900-4732-A0D1-56EDDAEBBEDA}"/>
              </c:ext>
            </c:extLst>
          </c:dPt>
          <c:dPt>
            <c:idx val="3"/>
            <c:invertIfNegative val="0"/>
            <c:bubble3D val="0"/>
            <c:spPr>
              <a:solidFill>
                <a:sysClr val="window" lastClr="FFFFFF"/>
              </a:solidFill>
            </c:spPr>
            <c:extLst>
              <c:ext xmlns:c16="http://schemas.microsoft.com/office/drawing/2014/chart" uri="{C3380CC4-5D6E-409C-BE32-E72D297353CC}">
                <c16:uniqueId val="{00000005-2900-4732-A0D1-56EDDAEBBEDA}"/>
              </c:ext>
            </c:extLst>
          </c:dPt>
          <c:dPt>
            <c:idx val="4"/>
            <c:invertIfNegative val="0"/>
            <c:bubble3D val="0"/>
            <c:spPr>
              <a:solidFill>
                <a:sysClr val="window" lastClr="FFFFFF"/>
              </a:solidFill>
            </c:spPr>
            <c:extLst>
              <c:ext xmlns:c16="http://schemas.microsoft.com/office/drawing/2014/chart" uri="{C3380CC4-5D6E-409C-BE32-E72D297353CC}">
                <c16:uniqueId val="{00000007-2900-4732-A0D1-56EDDAEBBEDA}"/>
              </c:ext>
            </c:extLst>
          </c:dPt>
          <c:dPt>
            <c:idx val="5"/>
            <c:invertIfNegative val="0"/>
            <c:bubble3D val="0"/>
            <c:spPr>
              <a:solidFill>
                <a:sysClr val="window" lastClr="FFFFFF"/>
              </a:solidFill>
            </c:spPr>
            <c:extLst>
              <c:ext xmlns:c16="http://schemas.microsoft.com/office/drawing/2014/chart" uri="{C3380CC4-5D6E-409C-BE32-E72D297353CC}">
                <c16:uniqueId val="{00000009-2900-4732-A0D1-56EDDAEBBEDA}"/>
              </c:ext>
            </c:extLst>
          </c:dPt>
          <c:dPt>
            <c:idx val="6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0B-2900-4732-A0D1-56EDDAEBBEDA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D-2900-4732-A0D1-56EDDAEBBEDA}"/>
              </c:ext>
            </c:extLst>
          </c:dPt>
          <c:dPt>
            <c:idx val="8"/>
            <c:invertIfNegative val="0"/>
            <c:bubble3D val="0"/>
            <c:spPr>
              <a:solidFill>
                <a:sysClr val="window" lastClr="FFFFFF"/>
              </a:solidFill>
            </c:spPr>
            <c:extLst>
              <c:ext xmlns:c16="http://schemas.microsoft.com/office/drawing/2014/chart" uri="{C3380CC4-5D6E-409C-BE32-E72D297353CC}">
                <c16:uniqueId val="{0000000F-2900-4732-A0D1-56EDDAEBBEDA}"/>
              </c:ext>
            </c:extLst>
          </c:dPt>
          <c:dPt>
            <c:idx val="9"/>
            <c:invertIfNegative val="0"/>
            <c:bubble3D val="0"/>
            <c:spPr>
              <a:noFill/>
            </c:spPr>
            <c:extLst>
              <c:ext xmlns:c16="http://schemas.microsoft.com/office/drawing/2014/chart" uri="{C3380CC4-5D6E-409C-BE32-E72D297353CC}">
                <c16:uniqueId val="{00000011-2900-4732-A0D1-56EDDAEBBEDA}"/>
              </c:ext>
            </c:extLst>
          </c:dPt>
          <c:dLbls>
            <c:dLbl>
              <c:idx val="0"/>
              <c:layout>
                <c:manualLayout>
                  <c:x val="-3.7050759540570581E-3"/>
                  <c:y val="-6.8307305940624369E-17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600" b="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2900-4732-A0D1-56EDDAEBBE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00-4732-A0D1-56EDDAEBBED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900-4732-A0D1-56EDDAEBBED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900-4732-A0D1-56EDDAEBBED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00-4732-A0D1-56EDDAEBBED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900-4732-A0D1-56EDDAEBBED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900-4732-A0D1-56EDDAEBBED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900-4732-A0D1-56EDDAEBBEDA}"/>
                </c:ext>
              </c:extLst>
            </c:dLbl>
            <c:dLbl>
              <c:idx val="10"/>
              <c:numFmt formatCode="#,##0" sourceLinked="0"/>
              <c:spPr/>
              <c:txPr>
                <a:bodyPr/>
                <a:lstStyle/>
                <a:p>
                  <a:pPr>
                    <a:defRPr sz="600" b="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3-2900-4732-A0D1-56EDDAEBBE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Стоим.скв.!$O$24:$Y$24</c:f>
              <c:strCache>
                <c:ptCount val="11"/>
                <c:pt idx="0">
                  <c:v>Традиц.скв.</c:v>
                </c:pt>
                <c:pt idx="1">
                  <c:v>СКОРОСТЬ</c:v>
                </c:pt>
                <c:pt idx="2">
                  <c:v>ВЯЗКОСТЬ</c:v>
                </c:pt>
                <c:pt idx="3">
                  <c:v>СОВМЕСТИМОСТЬ</c:v>
                </c:pt>
                <c:pt idx="4">
                  <c:v>ПЛОТНОСТЬ</c:v>
                </c:pt>
                <c:pt idx="5">
                  <c:v>ДЛИНА СТАДИИ</c:v>
                </c:pt>
                <c:pt idx="6">
                  <c:v>ДЛИНА ГС</c:v>
                </c:pt>
                <c:pt idx="7">
                  <c:v>МАКС</c:v>
                </c:pt>
                <c:pt idx="8">
                  <c:v>Марк.страт.</c:v>
                </c:pt>
                <c:pt idx="9">
                  <c:v>Опт.техн.</c:v>
                </c:pt>
                <c:pt idx="10">
                  <c:v>Цел.скв.</c:v>
                </c:pt>
              </c:strCache>
            </c:strRef>
          </c:cat>
          <c:val>
            <c:numRef>
              <c:f>Стоим.скв.!$O$25:$Y$25</c:f>
              <c:numCache>
                <c:formatCode>General</c:formatCode>
                <c:ptCount val="11"/>
                <c:pt idx="0">
                  <c:v>135</c:v>
                </c:pt>
                <c:pt idx="1">
                  <c:v>135</c:v>
                </c:pt>
                <c:pt idx="2">
                  <c:v>300</c:v>
                </c:pt>
                <c:pt idx="3">
                  <c:v>350</c:v>
                </c:pt>
                <c:pt idx="4">
                  <c:v>400</c:v>
                </c:pt>
                <c:pt idx="5">
                  <c:v>450</c:v>
                </c:pt>
                <c:pt idx="6">
                  <c:v>500</c:v>
                </c:pt>
                <c:pt idx="7">
                  <c:v>550</c:v>
                </c:pt>
                <c:pt idx="8">
                  <c:v>430</c:v>
                </c:pt>
                <c:pt idx="9">
                  <c:v>300</c:v>
                </c:pt>
                <c:pt idx="10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2900-4732-A0D1-56EDDAEBBEDA}"/>
            </c:ext>
          </c:extLst>
        </c:ser>
        <c:ser>
          <c:idx val="1"/>
          <c:order val="1"/>
          <c:spPr>
            <a:solidFill>
              <a:srgbClr val="0070C0"/>
            </a:solidFill>
          </c:spPr>
          <c:invertIfNegative val="0"/>
          <c:dLbls>
            <c:dLbl>
              <c:idx val="2"/>
              <c:layout>
                <c:manualLayout>
                  <c:x val="0"/>
                  <c:y val="-2.2355376556075029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600" b="0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2900-4732-A0D1-56EDDAEBBEDA}"/>
                </c:ext>
              </c:extLst>
            </c:dLbl>
            <c:dLbl>
              <c:idx val="3"/>
              <c:layout>
                <c:manualLayout>
                  <c:x val="0"/>
                  <c:y val="-5.2162545297508404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600" b="0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2900-4732-A0D1-56EDDAEBBEDA}"/>
                </c:ext>
              </c:extLst>
            </c:dLbl>
            <c:dLbl>
              <c:idx val="4"/>
              <c:layout>
                <c:manualLayout>
                  <c:x val="3.7050759540570581E-3"/>
                  <c:y val="-5.9614337482866743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600" b="0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7-2900-4732-A0D1-56EDDAEBBEDA}"/>
                </c:ext>
              </c:extLst>
            </c:dLbl>
            <c:dLbl>
              <c:idx val="5"/>
              <c:layout>
                <c:manualLayout>
                  <c:x val="3.7050759540570581E-3"/>
                  <c:y val="-5.2162545297508404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sz="600" b="0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8-2900-4732-A0D1-56EDDAEBBED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Стоим.скв.!$O$24:$Y$24</c:f>
              <c:strCache>
                <c:ptCount val="11"/>
                <c:pt idx="0">
                  <c:v>Традиц.скв.</c:v>
                </c:pt>
                <c:pt idx="1">
                  <c:v>СКОРОСТЬ</c:v>
                </c:pt>
                <c:pt idx="2">
                  <c:v>ВЯЗКОСТЬ</c:v>
                </c:pt>
                <c:pt idx="3">
                  <c:v>СОВМЕСТИМОСТЬ</c:v>
                </c:pt>
                <c:pt idx="4">
                  <c:v>ПЛОТНОСТЬ</c:v>
                </c:pt>
                <c:pt idx="5">
                  <c:v>ДЛИНА СТАДИИ</c:v>
                </c:pt>
                <c:pt idx="6">
                  <c:v>ДЛИНА ГС</c:v>
                </c:pt>
                <c:pt idx="7">
                  <c:v>МАКС</c:v>
                </c:pt>
                <c:pt idx="8">
                  <c:v>Марк.страт.</c:v>
                </c:pt>
                <c:pt idx="9">
                  <c:v>Опт.техн.</c:v>
                </c:pt>
                <c:pt idx="10">
                  <c:v>Цел.скв.</c:v>
                </c:pt>
              </c:strCache>
            </c:strRef>
          </c:cat>
          <c:val>
            <c:numRef>
              <c:f>Стоим.скв.!$O$26:$Y$26</c:f>
              <c:numCache>
                <c:formatCode>General</c:formatCode>
                <c:ptCount val="11"/>
                <c:pt idx="1">
                  <c:v>165</c:v>
                </c:pt>
                <c:pt idx="2">
                  <c:v>1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90</c:v>
                </c:pt>
                <c:pt idx="8">
                  <c:v>120</c:v>
                </c:pt>
                <c:pt idx="9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900-4732-A0D1-56EDDAEBBE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overlap val="100"/>
        <c:axId val="336598144"/>
        <c:axId val="336599680"/>
      </c:barChart>
      <c:catAx>
        <c:axId val="33659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500"/>
            </a:pPr>
            <a:endParaRPr lang="ru-RU"/>
          </a:p>
        </c:txPr>
        <c:crossAx val="336599680"/>
        <c:crosses val="autoZero"/>
        <c:auto val="1"/>
        <c:lblAlgn val="ctr"/>
        <c:lblOffset val="100"/>
        <c:noMultiLvlLbl val="0"/>
      </c:catAx>
      <c:valAx>
        <c:axId val="3365996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365981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425160939629051E-2"/>
          <c:y val="8.5978096386160205E-2"/>
          <c:w val="0.80483742514117362"/>
          <c:h val="0.6892425485921671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начения Y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xVal>
            <c:numRef>
              <c:f>Лист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xVal>
          <c:yVal>
            <c:numRef>
              <c:f>Лист1!$B$2:$B$11</c:f>
              <c:numCache>
                <c:formatCode>General</c:formatCode>
                <c:ptCount val="10"/>
                <c:pt idx="0">
                  <c:v>0.96210000000000129</c:v>
                </c:pt>
                <c:pt idx="1">
                  <c:v>6.1483000000000008</c:v>
                </c:pt>
                <c:pt idx="2">
                  <c:v>8.5236999999999998</c:v>
                </c:pt>
                <c:pt idx="3">
                  <c:v>9.1119000000000003</c:v>
                </c:pt>
                <c:pt idx="4">
                  <c:v>8.7061000000000046</c:v>
                </c:pt>
                <c:pt idx="5">
                  <c:v>7.8690999999999942</c:v>
                </c:pt>
                <c:pt idx="6">
                  <c:v>6.9332999999999867</c:v>
                </c:pt>
                <c:pt idx="7">
                  <c:v>6.0007000000000073</c:v>
                </c:pt>
                <c:pt idx="8">
                  <c:v>4.9429000000000354</c:v>
                </c:pt>
                <c:pt idx="9">
                  <c:v>3.401100000000026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21B6-4E10-9C5B-3D7E55A63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44265472"/>
        <c:axId val="344267392"/>
      </c:scatterChart>
      <c:valAx>
        <c:axId val="344265472"/>
        <c:scaling>
          <c:orientation val="minMax"/>
          <c:max val="10"/>
        </c:scaling>
        <c:delete val="0"/>
        <c:axPos val="b"/>
        <c:title>
          <c:tx>
            <c:rich>
              <a:bodyPr/>
              <a:lstStyle/>
              <a:p>
                <a:pPr>
                  <a:defRPr sz="700"/>
                </a:pPr>
                <a:r>
                  <a:rPr lang="el-GR" sz="700" dirty="0" smtClean="0">
                    <a:latin typeface="Arial"/>
                    <a:cs typeface="Arial"/>
                  </a:rPr>
                  <a:t>Σ</a:t>
                </a:r>
                <a:r>
                  <a:rPr lang="en-US" sz="700" dirty="0" smtClean="0"/>
                  <a:t>Q</a:t>
                </a:r>
                <a:r>
                  <a:rPr lang="ru-RU" sz="700" baseline="0" dirty="0" smtClean="0"/>
                  <a:t>н</a:t>
                </a:r>
                <a:endParaRPr lang="ru-RU" sz="700" dirty="0"/>
              </a:p>
            </c:rich>
          </c:tx>
          <c:layout>
            <c:manualLayout>
              <c:xMode val="edge"/>
              <c:yMode val="edge"/>
              <c:x val="0.78746321181723755"/>
              <c:y val="0.7702363173816948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400">
                <a:solidFill>
                  <a:schemeClr val="bg1"/>
                </a:solidFill>
              </a:defRPr>
            </a:pPr>
            <a:endParaRPr lang="ru-RU"/>
          </a:p>
        </c:txPr>
        <c:crossAx val="344267392"/>
        <c:crossesAt val="-2"/>
        <c:crossBetween val="midCat"/>
      </c:valAx>
      <c:valAx>
        <c:axId val="344267392"/>
        <c:scaling>
          <c:orientation val="minMax"/>
          <c:max val="10"/>
          <c:min val="-2"/>
        </c:scaling>
        <c:delete val="0"/>
        <c:axPos val="l"/>
        <c:title>
          <c:tx>
            <c:rich>
              <a:bodyPr rot="0" vert="horz"/>
              <a:lstStyle/>
              <a:p>
                <a:pPr algn="l">
                  <a:defRPr sz="700"/>
                </a:pPr>
                <a:r>
                  <a:rPr lang="en-US" sz="700" dirty="0" smtClean="0"/>
                  <a:t>NPV</a:t>
                </a:r>
                <a:endParaRPr lang="ru-RU" sz="700" dirty="0"/>
              </a:p>
            </c:rich>
          </c:tx>
          <c:layout>
            <c:manualLayout>
              <c:xMode val="edge"/>
              <c:yMode val="edge"/>
              <c:x val="5.0021634556820994E-2"/>
              <c:y val="8.919581293897344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300">
                <a:solidFill>
                  <a:schemeClr val="bg1"/>
                </a:solidFill>
              </a:defRPr>
            </a:pPr>
            <a:endParaRPr lang="ru-RU"/>
          </a:p>
        </c:txPr>
        <c:crossAx val="344265472"/>
        <c:crossesAt val="-2"/>
        <c:crossBetween val="midCat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73811471479918E-2"/>
          <c:y val="0.11159521729980358"/>
          <c:w val="0.74576339406739034"/>
          <c:h val="0.73142864442871103"/>
        </c:manualLayout>
      </c:layout>
      <c:scatterChart>
        <c:scatterStyle val="smooth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начения Y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xVal>
            <c:numRef>
              <c:f>Лист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xVal>
          <c:yVal>
            <c:numRef>
              <c:f>Лист1!$B$2:$B$11</c:f>
              <c:numCache>
                <c:formatCode>General</c:formatCode>
                <c:ptCount val="10"/>
                <c:pt idx="0">
                  <c:v>1</c:v>
                </c:pt>
                <c:pt idx="1">
                  <c:v>0.9</c:v>
                </c:pt>
                <c:pt idx="2">
                  <c:v>0.8</c:v>
                </c:pt>
                <c:pt idx="3">
                  <c:v>0.7</c:v>
                </c:pt>
                <c:pt idx="4">
                  <c:v>0.6</c:v>
                </c:pt>
                <c:pt idx="5">
                  <c:v>0.5</c:v>
                </c:pt>
                <c:pt idx="6">
                  <c:v>0.4</c:v>
                </c:pt>
                <c:pt idx="7">
                  <c:v>0.3</c:v>
                </c:pt>
                <c:pt idx="8">
                  <c:v>0.2</c:v>
                </c:pt>
                <c:pt idx="9">
                  <c:v>0.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7441-45AF-AC54-92D82DCD7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44287488"/>
        <c:axId val="344301952"/>
      </c:scatterChart>
      <c:valAx>
        <c:axId val="344287488"/>
        <c:scaling>
          <c:orientation val="minMax"/>
          <c:max val="10"/>
        </c:scaling>
        <c:delete val="0"/>
        <c:axPos val="b"/>
        <c:title>
          <c:tx>
            <c:rich>
              <a:bodyPr/>
              <a:lstStyle/>
              <a:p>
                <a:pPr>
                  <a:defRPr sz="700"/>
                </a:pPr>
                <a:r>
                  <a:rPr lang="en-US" sz="700" dirty="0" smtClean="0"/>
                  <a:t>SRV</a:t>
                </a:r>
                <a:endParaRPr lang="ru-RU" sz="700" dirty="0"/>
              </a:p>
            </c:rich>
          </c:tx>
          <c:layout>
            <c:manualLayout>
              <c:xMode val="edge"/>
              <c:yMode val="edge"/>
              <c:x val="0.73977325057622589"/>
              <c:y val="0.8371164214870532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400">
                <a:solidFill>
                  <a:schemeClr val="bg1"/>
                </a:solidFill>
              </a:defRPr>
            </a:pPr>
            <a:endParaRPr lang="ru-RU"/>
          </a:p>
        </c:txPr>
        <c:crossAx val="344301952"/>
        <c:crossesAt val="-2"/>
        <c:crossBetween val="midCat"/>
      </c:valAx>
      <c:valAx>
        <c:axId val="344301952"/>
        <c:scaling>
          <c:orientation val="minMax"/>
          <c:max val="10"/>
          <c:min val="-2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 sz="700"/>
                </a:pPr>
                <a:r>
                  <a:rPr lang="el-GR" sz="700" dirty="0" smtClean="0"/>
                  <a:t>Σ</a:t>
                </a:r>
                <a:r>
                  <a:rPr lang="en-US" sz="700" dirty="0" smtClean="0"/>
                  <a:t>Q</a:t>
                </a:r>
                <a:endParaRPr lang="ru-RU" sz="700" dirty="0"/>
              </a:p>
            </c:rich>
          </c:tx>
          <c:layout>
            <c:manualLayout>
              <c:xMode val="edge"/>
              <c:yMode val="edge"/>
              <c:x val="8.7280494585391707E-2"/>
              <c:y val="9.7123804106430747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300">
                <a:solidFill>
                  <a:schemeClr val="bg1"/>
                </a:solidFill>
              </a:defRPr>
            </a:pPr>
            <a:endParaRPr lang="ru-RU"/>
          </a:p>
        </c:txPr>
        <c:crossAx val="344287488"/>
        <c:crossesAt val="-2"/>
        <c:crossBetween val="midCat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45BBFF-920F-4479-B5DD-990C6F42E76C}" type="datetimeFigureOut">
              <a:rPr lang="ru-RU" smtClean="0"/>
              <a:t>24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2D3013-ADC5-4A43-BE70-009A6E25CD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305593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2C7E89-95C9-4575-8F09-FEA0FFFF1759}" type="datetimeFigureOut">
              <a:rPr lang="ru-RU" smtClean="0"/>
              <a:pPr/>
              <a:t>24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5D9A6-E285-4EA3-A0B5-2A164BE34A1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03096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1964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0457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7001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3701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838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55462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99376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5D9A6-E285-4EA3-A0B5-2A164BE34A11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503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slide" Target="../slides/slide2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" y="762"/>
            <a:ext cx="9137598" cy="5141976"/>
          </a:xfrm>
          <a:prstGeom prst="rect">
            <a:avLst/>
          </a:prstGeom>
        </p:spPr>
      </p:pic>
      <p:grpSp>
        <p:nvGrpSpPr>
          <p:cNvPr id="20" name="TitleLogoRus"/>
          <p:cNvGrpSpPr>
            <a:grpSpLocks noChangeAspect="1"/>
          </p:cNvGrpSpPr>
          <p:nvPr/>
        </p:nvGrpSpPr>
        <p:grpSpPr bwMode="auto">
          <a:xfrm>
            <a:off x="7895910" y="4454119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9" name="Текст 28"/>
          <p:cNvSpPr>
            <a:spLocks noGrp="1"/>
          </p:cNvSpPr>
          <p:nvPr>
            <p:ph type="body" sz="quarter" idx="12" hasCustomPrompt="1"/>
          </p:nvPr>
        </p:nvSpPr>
        <p:spPr>
          <a:xfrm>
            <a:off x="4788002" y="2570400"/>
            <a:ext cx="4068000" cy="180000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название презентации</a:t>
            </a:r>
          </a:p>
        </p:txBody>
      </p:sp>
      <p:sp>
        <p:nvSpPr>
          <p:cNvPr id="37" name="TitleLogoEng" hidden="1"/>
          <p:cNvSpPr>
            <a:spLocks noEditPoints="1"/>
          </p:cNvSpPr>
          <p:nvPr/>
        </p:nvSpPr>
        <p:spPr bwMode="auto">
          <a:xfrm>
            <a:off x="7879608" y="4443958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1" y="4154400"/>
            <a:ext cx="4283999" cy="14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14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39" name="Текст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1" y="47808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40" name="Текст 30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1" y="43632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41" name="Текст 30"/>
          <p:cNvSpPr>
            <a:spLocks noGrp="1"/>
          </p:cNvSpPr>
          <p:nvPr>
            <p:ph type="body" sz="quarter" idx="18" hasCustomPrompt="1"/>
          </p:nvPr>
        </p:nvSpPr>
        <p:spPr>
          <a:xfrm>
            <a:off x="287341" y="45720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45" name="TradeSecret" hidden="1"/>
          <p:cNvSpPr txBox="1"/>
          <p:nvPr/>
        </p:nvSpPr>
        <p:spPr>
          <a:xfrm>
            <a:off x="6899887" y="87474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46" name="Confidential" hidden="1"/>
          <p:cNvSpPr txBox="1"/>
          <p:nvPr/>
        </p:nvSpPr>
        <p:spPr>
          <a:xfrm>
            <a:off x="6967245" y="87474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42" name="CompanyName" hidden="1"/>
          <p:cNvSpPr txBox="1"/>
          <p:nvPr/>
        </p:nvSpPr>
        <p:spPr>
          <a:xfrm>
            <a:off x="6490352" y="303498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53620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4643438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643438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5" y="950914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283515" y="2949577"/>
            <a:ext cx="4213228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4634434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4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3200891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6137275" y="950914"/>
            <a:ext cx="273600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62877" y="295116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62877" y="950913"/>
            <a:ext cx="8593786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39614" y="2949577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4"/>
          </p:nvPr>
        </p:nvSpPr>
        <p:spPr>
          <a:xfrm>
            <a:off x="4639614" y="950914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5"/>
          </p:nvPr>
        </p:nvSpPr>
        <p:spPr>
          <a:xfrm>
            <a:off x="283513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6"/>
          </p:nvPr>
        </p:nvSpPr>
        <p:spPr>
          <a:xfrm>
            <a:off x="4639614" y="2949229"/>
            <a:ext cx="4217049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2969905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957421"/>
            <a:ext cx="4213224" cy="324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358814"/>
            <a:ext cx="4213224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1358814"/>
            <a:ext cx="4213226" cy="136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3370013"/>
            <a:ext cx="4213224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3370013"/>
            <a:ext cx="4213226" cy="136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4643439" y="3310342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643439" y="1299166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8104938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4398465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2378527"/>
            <a:ext cx="4213224" cy="324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940722"/>
            <a:ext cx="4213224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940722"/>
            <a:ext cx="4213226" cy="136909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2959353"/>
            <a:ext cx="4213224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2959353"/>
            <a:ext cx="4213226" cy="13699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6348212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9" y="950915"/>
            <a:ext cx="8569325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4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43438" y="951571"/>
            <a:ext cx="4213224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851670"/>
            <a:ext cx="8562974" cy="7054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название раздела</a:t>
            </a:r>
            <a:br>
              <a:rPr lang="ru-RU" dirty="0" smtClean="0"/>
            </a:br>
            <a:r>
              <a:rPr lang="ru-RU" dirty="0" smtClean="0"/>
              <a:t>(максимум две строки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2932113"/>
            <a:ext cx="8569324" cy="1800225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cxnSp>
        <p:nvCxnSpPr>
          <p:cNvPr id="7" name="Прямая соединительная линия 7"/>
          <p:cNvCxnSpPr/>
          <p:nvPr/>
        </p:nvCxnSpPr>
        <p:spPr>
          <a:xfrm>
            <a:off x="287339" y="2751138"/>
            <a:ext cx="85475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619093" y="4903200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6"/>
          <p:cNvSpPr txBox="1">
            <a:spLocks/>
          </p:cNvSpPr>
          <p:nvPr/>
        </p:nvSpPr>
        <p:spPr>
          <a:xfrm>
            <a:off x="8691683" y="4823774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нефть-Ангара</a:t>
            </a:r>
            <a:endParaRPr lang="ru-RU" sz="1200" dirty="0"/>
          </a:p>
        </p:txBody>
      </p:sp>
      <p:sp>
        <p:nvSpPr>
          <p:cNvPr id="16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нефть-Ангара</a:t>
            </a:r>
            <a:endParaRPr lang="ru-RU" sz="1200" dirty="0"/>
          </a:p>
        </p:txBody>
      </p:sp>
      <p:sp>
        <p:nvSpPr>
          <p:cNvPr id="9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62137297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82165" y="951571"/>
            <a:ext cx="4218397" cy="37807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4639614" y="950914"/>
            <a:ext cx="4217049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2949575"/>
            <a:ext cx="8569324" cy="1782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951165"/>
            <a:ext cx="2717802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951165"/>
            <a:ext cx="270033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29449" y="2951165"/>
            <a:ext cx="2727214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2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85731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91323952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43438" y="950915"/>
            <a:ext cx="4204218" cy="3781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4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04218" cy="1782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283513" y="2949579"/>
            <a:ext cx="4217050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41059450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1570"/>
            <a:ext cx="4204218" cy="1782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1165"/>
            <a:ext cx="4204218" cy="178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87315"/>
            <a:ext cx="8560318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950914"/>
            <a:ext cx="4217050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03947048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950914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2950338"/>
            <a:ext cx="421251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7" y="951570"/>
            <a:ext cx="4213941" cy="1782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9" y="2950338"/>
            <a:ext cx="4213223" cy="178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87315"/>
            <a:ext cx="856932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04505032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313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5"/>
            <a:ext cx="56356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6137275" y="950914"/>
            <a:ext cx="2714626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4591478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1419622"/>
            <a:ext cx="5292725" cy="331271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95963" y="3795714"/>
            <a:ext cx="30607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ru-RU" sz="2200" dirty="0"/>
            </a:lvl3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943701"/>
            <a:ext cx="5292725" cy="4683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5795963" y="950914"/>
            <a:ext cx="30559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14235814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50915"/>
            <a:ext cx="8569325" cy="37814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4927" y="2975347"/>
            <a:ext cx="5580062" cy="1584325"/>
          </a:xfrm>
          <a:solidFill>
            <a:srgbClr val="FFFFFF">
              <a:alpha val="80000"/>
            </a:srgbClr>
          </a:solidFill>
        </p:spPr>
        <p:txBody>
          <a:bodyPr vert="horz" lIns="144000" tIns="108000" rIns="72000" bIns="7200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896632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9514" y="483518"/>
            <a:ext cx="8820980" cy="864096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39602"/>
            <a:ext cx="8562975" cy="900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2211712"/>
            <a:ext cx="8569325" cy="252062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8337121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0913"/>
            <a:ext cx="4176712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79953" y="950913"/>
            <a:ext cx="4176713" cy="266541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50" y="3795714"/>
            <a:ext cx="4176712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42801822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0913"/>
            <a:ext cx="27178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3225254" y="950913"/>
            <a:ext cx="2700000" cy="266523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137276" y="937779"/>
            <a:ext cx="2719389" cy="267854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340" y="3795714"/>
            <a:ext cx="2717800" cy="9366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</a:t>
            </a:r>
          </a:p>
          <a:p>
            <a:pPr lvl="0"/>
            <a:endParaRPr lang="ru-RU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22001" y="3795714"/>
            <a:ext cx="2700000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37276" y="3795714"/>
            <a:ext cx="2719389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24093631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локов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50912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baseline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83624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3891" y="3616338"/>
            <a:ext cx="4176712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83400" y="950912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683400" y="2283624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683400" y="3616338"/>
            <a:ext cx="417326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15" name="Прямая соединительная линия 5"/>
          <p:cNvCxnSpPr/>
          <p:nvPr/>
        </p:nvCxnSpPr>
        <p:spPr>
          <a:xfrm>
            <a:off x="287339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1"/>
          <p:cNvCxnSpPr/>
          <p:nvPr/>
        </p:nvCxnSpPr>
        <p:spPr>
          <a:xfrm>
            <a:off x="4716463" y="217526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5"/>
          <p:cNvCxnSpPr/>
          <p:nvPr/>
        </p:nvCxnSpPr>
        <p:spPr>
          <a:xfrm>
            <a:off x="287339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1"/>
          <p:cNvCxnSpPr/>
          <p:nvPr/>
        </p:nvCxnSpPr>
        <p:spPr>
          <a:xfrm>
            <a:off x="4716463" y="3507981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8292185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41" y="950913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1" y="1938205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287341" y="2925497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287341" y="3912788"/>
            <a:ext cx="8569325" cy="81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5" name="Прямая соединительная линия 4"/>
          <p:cNvCxnSpPr/>
          <p:nvPr/>
        </p:nvCxnSpPr>
        <p:spPr>
          <a:xfrm>
            <a:off x="287341" y="1851670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0"/>
          <p:cNvCxnSpPr/>
          <p:nvPr/>
        </p:nvCxnSpPr>
        <p:spPr>
          <a:xfrm>
            <a:off x="287341" y="2840108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2"/>
          <p:cNvCxnSpPr/>
          <p:nvPr/>
        </p:nvCxnSpPr>
        <p:spPr>
          <a:xfrm>
            <a:off x="287341" y="3828546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83198535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3563939" y="1635646"/>
            <a:ext cx="5292725" cy="234104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563939" y="943700"/>
            <a:ext cx="5292725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563939" y="4191931"/>
            <a:ext cx="5292725" cy="5404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3563939" y="1578878"/>
            <a:ext cx="52927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7338" y="950914"/>
            <a:ext cx="309721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93404695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52990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5795963" y="950914"/>
            <a:ext cx="3060700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59239290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3795714"/>
            <a:ext cx="8569325" cy="9366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0"/>
          </p:nvPr>
        </p:nvSpPr>
        <p:spPr>
          <a:xfrm>
            <a:off x="281025" y="950914"/>
            <a:ext cx="8575638" cy="2628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28183572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70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648"/>
            <a:ext cx="4176000" cy="194416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1784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4680026" y="1578878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8441" y="3795713"/>
            <a:ext cx="4176000" cy="9347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40908188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2949577"/>
            <a:ext cx="3060700" cy="1775793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5"/>
          </p:nvPr>
        </p:nvSpPr>
        <p:spPr>
          <a:xfrm>
            <a:off x="3563938" y="2942609"/>
            <a:ext cx="52927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96188699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, те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950914"/>
            <a:ext cx="3060700" cy="1782762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2949577"/>
            <a:ext cx="3060700" cy="1800225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3563938" y="950914"/>
            <a:ext cx="5292725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55190194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950913"/>
            <a:ext cx="8569325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2283626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22625" y="3616338"/>
            <a:ext cx="2700338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138663" y="2283626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38663" y="3616338"/>
            <a:ext cx="2718000" cy="11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5839206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87474"/>
            <a:ext cx="8560318" cy="612776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1635807"/>
            <a:ext cx="4176000" cy="194400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943861"/>
            <a:ext cx="4176000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4680026" y="1579039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3795713"/>
            <a:ext cx="8568689" cy="93678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 smtClean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01525161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1635646"/>
            <a:ext cx="5635626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943700"/>
            <a:ext cx="5635626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8" name="Прямая соединительная линия 14"/>
          <p:cNvCxnSpPr/>
          <p:nvPr/>
        </p:nvCxnSpPr>
        <p:spPr>
          <a:xfrm>
            <a:off x="287337" y="1578878"/>
            <a:ext cx="5634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6137278" y="1635646"/>
            <a:ext cx="2718751" cy="309860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37275" y="943700"/>
            <a:ext cx="2718751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6137276" y="1578878"/>
            <a:ext cx="271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07581520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287339" y="758406"/>
            <a:ext cx="8560318" cy="0"/>
          </a:xfrm>
          <a:prstGeom prst="line">
            <a:avLst/>
          </a:prstGeom>
          <a:ln w="127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87338" y="147550"/>
            <a:ext cx="7886700" cy="457874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algn="l">
              <a:defRPr sz="1800" b="1">
                <a:solidFill>
                  <a:srgbClr val="0070B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9544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1">
          <p15:clr>
            <a:srgbClr val="FBAE40"/>
          </p15:clr>
        </p15:guide>
        <p15:guide id="2" pos="7439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951311"/>
            <a:ext cx="85693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30346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4" name="ContentsTitle5" hidden="1"/>
          <p:cNvSpPr txBox="1"/>
          <p:nvPr/>
        </p:nvSpPr>
        <p:spPr>
          <a:xfrm>
            <a:off x="641278" y="1946787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75" name="line5" hidden="1"/>
          <p:cNvCxnSpPr/>
          <p:nvPr/>
        </p:nvCxnSpPr>
        <p:spPr>
          <a:xfrm>
            <a:off x="297658" y="213025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5" hidden="1"/>
          <p:cNvSpPr txBox="1"/>
          <p:nvPr/>
        </p:nvSpPr>
        <p:spPr>
          <a:xfrm>
            <a:off x="287524" y="182358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5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77" name="ContentsTitle3">
            <a:hlinkClick r:id="" action="ppaction://noaction"/>
          </p:cNvPr>
          <p:cNvSpPr txBox="1"/>
          <p:nvPr/>
        </p:nvSpPr>
        <p:spPr>
          <a:xfrm>
            <a:off x="641278" y="142834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smtClean="0"/>
              <a:t>ТЕХНОЛОГИЧЕСКАЯ СТРАТЕГИЯ – КЛЮЧ К ОСВОЕНИЮ БАЖЕНА</a:t>
            </a:r>
            <a:endParaRPr lang="ru-RU" sz="1200" dirty="0"/>
          </a:p>
        </p:txBody>
      </p:sp>
      <p:cxnSp>
        <p:nvCxnSpPr>
          <p:cNvPr id="78" name="line3"/>
          <p:cNvCxnSpPr/>
          <p:nvPr/>
        </p:nvCxnSpPr>
        <p:spPr>
          <a:xfrm>
            <a:off x="297658" y="160987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sNumber3">
            <a:hlinkClick r:id="" action="ppaction://noaction"/>
          </p:cNvPr>
          <p:cNvSpPr txBox="1"/>
          <p:nvPr/>
        </p:nvSpPr>
        <p:spPr>
          <a:xfrm>
            <a:off x="287524" y="130514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3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0" name="ContentsTitle4" hidden="1"/>
          <p:cNvSpPr txBox="1"/>
          <p:nvPr/>
        </p:nvSpPr>
        <p:spPr>
          <a:xfrm>
            <a:off x="641278" y="168756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81" name="line4" hidden="1"/>
          <p:cNvCxnSpPr/>
          <p:nvPr/>
        </p:nvCxnSpPr>
        <p:spPr>
          <a:xfrm>
            <a:off x="297658" y="187006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sNumber4" hidden="1"/>
          <p:cNvSpPr txBox="1"/>
          <p:nvPr/>
        </p:nvSpPr>
        <p:spPr>
          <a:xfrm>
            <a:off x="287524" y="156436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4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3" name="ContentsTitle1">
            <a:hlinkClick r:id="rId2" action="ppaction://hlinksldjump"/>
          </p:cNvPr>
          <p:cNvSpPr txBox="1"/>
          <p:nvPr/>
        </p:nvSpPr>
        <p:spPr>
          <a:xfrm>
            <a:off x="641278" y="90989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smtClean="0"/>
              <a:t>КЛЮЧЕВЫЕ ВЕХИ РАЗВИТИЯ ПРОЕКТА</a:t>
            </a:r>
            <a:endParaRPr lang="ru-RU" sz="1200" dirty="0" smtClean="0"/>
          </a:p>
        </p:txBody>
      </p:sp>
      <p:cxnSp>
        <p:nvCxnSpPr>
          <p:cNvPr id="84" name="line1"/>
          <p:cNvCxnSpPr/>
          <p:nvPr/>
        </p:nvCxnSpPr>
        <p:spPr>
          <a:xfrm>
            <a:off x="297658" y="108949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sNumber1">
            <a:hlinkClick r:id="rId2" action="ppaction://hlinksldjump"/>
          </p:cNvPr>
          <p:cNvSpPr txBox="1"/>
          <p:nvPr/>
        </p:nvSpPr>
        <p:spPr>
          <a:xfrm>
            <a:off x="28752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6" name="ContentsTitle6" hidden="1"/>
          <p:cNvSpPr txBox="1"/>
          <p:nvPr/>
        </p:nvSpPr>
        <p:spPr>
          <a:xfrm>
            <a:off x="641278" y="220601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87" name="line6" hidden="1"/>
          <p:cNvCxnSpPr/>
          <p:nvPr/>
        </p:nvCxnSpPr>
        <p:spPr>
          <a:xfrm>
            <a:off x="297658" y="239043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6" hidden="1"/>
          <p:cNvSpPr txBox="1"/>
          <p:nvPr/>
        </p:nvSpPr>
        <p:spPr>
          <a:xfrm>
            <a:off x="287524" y="208281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6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89" name="ContentsTitle2">
            <a:hlinkClick r:id="rId3" action="ppaction://hlinksldjump"/>
          </p:cNvPr>
          <p:cNvSpPr txBox="1"/>
          <p:nvPr/>
        </p:nvSpPr>
        <p:spPr>
          <a:xfrm>
            <a:off x="641278" y="116911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smtClean="0"/>
              <a:t>КЛЮЧЕВЫЕ ВЫЗОВЫ</a:t>
            </a:r>
            <a:endParaRPr lang="ru-RU" sz="1200" dirty="0"/>
          </a:p>
        </p:txBody>
      </p:sp>
      <p:cxnSp>
        <p:nvCxnSpPr>
          <p:cNvPr id="90" name="line2"/>
          <p:cNvCxnSpPr/>
          <p:nvPr/>
        </p:nvCxnSpPr>
        <p:spPr>
          <a:xfrm>
            <a:off x="297658" y="134968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ontentsNumber2">
            <a:hlinkClick r:id="rId3" action="ppaction://hlinksldjump"/>
          </p:cNvPr>
          <p:cNvSpPr txBox="1"/>
          <p:nvPr/>
        </p:nvSpPr>
        <p:spPr>
          <a:xfrm>
            <a:off x="287524" y="104591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2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92" name="ContentsTitle7" hidden="1"/>
          <p:cNvSpPr txBox="1"/>
          <p:nvPr/>
        </p:nvSpPr>
        <p:spPr>
          <a:xfrm>
            <a:off x="641278" y="2465233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93" name="ContentsNumber7" hidden="1"/>
          <p:cNvSpPr txBox="1"/>
          <p:nvPr/>
        </p:nvSpPr>
        <p:spPr>
          <a:xfrm>
            <a:off x="287524" y="234203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chemeClr val="bg2"/>
                </a:solidFill>
              </a:rPr>
              <a:t>7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cxnSp>
        <p:nvCxnSpPr>
          <p:cNvPr id="94" name="line7" hidden="1"/>
          <p:cNvCxnSpPr/>
          <p:nvPr/>
        </p:nvCxnSpPr>
        <p:spPr>
          <a:xfrm>
            <a:off x="297658" y="265062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Title8" hidden="1"/>
          <p:cNvSpPr txBox="1"/>
          <p:nvPr/>
        </p:nvSpPr>
        <p:spPr>
          <a:xfrm>
            <a:off x="641278" y="2724456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96" name="line8" hidden="1"/>
          <p:cNvCxnSpPr/>
          <p:nvPr/>
        </p:nvCxnSpPr>
        <p:spPr>
          <a:xfrm>
            <a:off x="297658" y="291081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ontentsNumber8" hidden="1"/>
          <p:cNvSpPr txBox="1"/>
          <p:nvPr/>
        </p:nvSpPr>
        <p:spPr>
          <a:xfrm>
            <a:off x="287524" y="260125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98" name="ContentsTitle13" hidden="1"/>
          <p:cNvSpPr txBox="1"/>
          <p:nvPr/>
        </p:nvSpPr>
        <p:spPr>
          <a:xfrm>
            <a:off x="649290" y="402057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99" name="line13" hidden="1"/>
          <p:cNvCxnSpPr/>
          <p:nvPr/>
        </p:nvCxnSpPr>
        <p:spPr>
          <a:xfrm>
            <a:off x="297658" y="421175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ontentsNumber13" hidden="1"/>
          <p:cNvSpPr txBox="1"/>
          <p:nvPr/>
        </p:nvSpPr>
        <p:spPr>
          <a:xfrm>
            <a:off x="287523" y="3897372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101" name="ContentsTitle11" hidden="1"/>
          <p:cNvSpPr txBox="1"/>
          <p:nvPr/>
        </p:nvSpPr>
        <p:spPr>
          <a:xfrm>
            <a:off x="649290" y="350212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2" name="line11" hidden="1"/>
          <p:cNvCxnSpPr/>
          <p:nvPr/>
        </p:nvCxnSpPr>
        <p:spPr>
          <a:xfrm>
            <a:off x="297658" y="369137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ontentsNumber11" hidden="1"/>
          <p:cNvSpPr txBox="1"/>
          <p:nvPr/>
        </p:nvSpPr>
        <p:spPr>
          <a:xfrm>
            <a:off x="287526" y="3378926"/>
            <a:ext cx="158505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104" name="ContentsTitle15" hidden="1"/>
          <p:cNvSpPr txBox="1"/>
          <p:nvPr/>
        </p:nvSpPr>
        <p:spPr>
          <a:xfrm>
            <a:off x="649290" y="453902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5" name="line15" hidden="1"/>
          <p:cNvCxnSpPr/>
          <p:nvPr/>
        </p:nvCxnSpPr>
        <p:spPr>
          <a:xfrm>
            <a:off x="297658" y="473213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ontentsNumber15" hidden="1"/>
          <p:cNvSpPr txBox="1"/>
          <p:nvPr/>
        </p:nvSpPr>
        <p:spPr>
          <a:xfrm>
            <a:off x="287523" y="4415821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107" name="ContentsTitle12" hidden="1"/>
          <p:cNvSpPr txBox="1"/>
          <p:nvPr/>
        </p:nvSpPr>
        <p:spPr>
          <a:xfrm>
            <a:off x="649290" y="376134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08" name="line12" hidden="1"/>
          <p:cNvCxnSpPr/>
          <p:nvPr/>
        </p:nvCxnSpPr>
        <p:spPr>
          <a:xfrm>
            <a:off x="297658" y="395156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sNumber12" hidden="1"/>
          <p:cNvSpPr txBox="1"/>
          <p:nvPr/>
        </p:nvSpPr>
        <p:spPr>
          <a:xfrm>
            <a:off x="287523" y="3638149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110" name="ContentsTitle9" hidden="1"/>
          <p:cNvSpPr txBox="1"/>
          <p:nvPr/>
        </p:nvSpPr>
        <p:spPr>
          <a:xfrm>
            <a:off x="649290" y="2983679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cxnSp>
        <p:nvCxnSpPr>
          <p:cNvPr id="111" name="line9" hidden="1"/>
          <p:cNvCxnSpPr/>
          <p:nvPr/>
        </p:nvCxnSpPr>
        <p:spPr>
          <a:xfrm>
            <a:off x="297658" y="317100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ontentsNumber9" hidden="1"/>
          <p:cNvSpPr txBox="1"/>
          <p:nvPr/>
        </p:nvSpPr>
        <p:spPr>
          <a:xfrm>
            <a:off x="287524" y="286048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113" name="ContentsTitle14" hidden="1"/>
          <p:cNvSpPr txBox="1"/>
          <p:nvPr/>
        </p:nvSpPr>
        <p:spPr>
          <a:xfrm>
            <a:off x="649290" y="427979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114" name="line14" hidden="1"/>
          <p:cNvCxnSpPr/>
          <p:nvPr/>
        </p:nvCxnSpPr>
        <p:spPr>
          <a:xfrm>
            <a:off x="297658" y="447194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ontentsNumber14" hidden="1"/>
          <p:cNvSpPr txBox="1"/>
          <p:nvPr/>
        </p:nvSpPr>
        <p:spPr>
          <a:xfrm>
            <a:off x="287523" y="4156595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116" name="ContentsTitle10" hidden="1"/>
          <p:cNvSpPr txBox="1"/>
          <p:nvPr/>
        </p:nvSpPr>
        <p:spPr>
          <a:xfrm>
            <a:off x="649290" y="3242902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cxnSp>
        <p:nvCxnSpPr>
          <p:cNvPr id="117" name="line10" hidden="1"/>
          <p:cNvCxnSpPr/>
          <p:nvPr/>
        </p:nvCxnSpPr>
        <p:spPr>
          <a:xfrm>
            <a:off x="297658" y="343119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ontentsNumber10" hidden="1"/>
          <p:cNvSpPr txBox="1"/>
          <p:nvPr/>
        </p:nvSpPr>
        <p:spPr>
          <a:xfrm>
            <a:off x="287523" y="3119703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51" name="Number1"/>
          <p:cNvSpPr txBox="1"/>
          <p:nvPr/>
        </p:nvSpPr>
        <p:spPr>
          <a:xfrm>
            <a:off x="8460434" y="78669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3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2" name="Number2"/>
          <p:cNvSpPr txBox="1"/>
          <p:nvPr/>
        </p:nvSpPr>
        <p:spPr>
          <a:xfrm>
            <a:off x="8460434" y="104792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7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3" name="Number3"/>
          <p:cNvSpPr txBox="1"/>
          <p:nvPr/>
        </p:nvSpPr>
        <p:spPr>
          <a:xfrm>
            <a:off x="8460434" y="130916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chemeClr val="bg2"/>
                </a:solidFill>
              </a:rPr>
              <a:t>16</a:t>
            </a:r>
            <a:endParaRPr lang="ru-RU" sz="1200" dirty="0" smtClean="0">
              <a:solidFill>
                <a:schemeClr val="bg2"/>
              </a:solidFill>
            </a:endParaRPr>
          </a:p>
        </p:txBody>
      </p:sp>
      <p:sp>
        <p:nvSpPr>
          <p:cNvPr id="54" name="Number4" hidden="1"/>
          <p:cNvSpPr txBox="1"/>
          <p:nvPr/>
        </p:nvSpPr>
        <p:spPr>
          <a:xfrm>
            <a:off x="8460434" y="157039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5" name="Number5" hidden="1"/>
          <p:cNvSpPr txBox="1"/>
          <p:nvPr/>
        </p:nvSpPr>
        <p:spPr>
          <a:xfrm>
            <a:off x="8460434" y="183162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6" name="Number6" hidden="1"/>
          <p:cNvSpPr txBox="1"/>
          <p:nvPr/>
        </p:nvSpPr>
        <p:spPr>
          <a:xfrm>
            <a:off x="8460434" y="209286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7" name="Number7" hidden="1"/>
          <p:cNvSpPr txBox="1"/>
          <p:nvPr/>
        </p:nvSpPr>
        <p:spPr>
          <a:xfrm>
            <a:off x="8460434" y="235409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8" name="Number8" hidden="1"/>
          <p:cNvSpPr txBox="1"/>
          <p:nvPr/>
        </p:nvSpPr>
        <p:spPr>
          <a:xfrm>
            <a:off x="8460434" y="261532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9" name="Number9" hidden="1"/>
          <p:cNvSpPr txBox="1"/>
          <p:nvPr/>
        </p:nvSpPr>
        <p:spPr>
          <a:xfrm>
            <a:off x="8460434" y="28765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0" name="Number10" hidden="1"/>
          <p:cNvSpPr txBox="1"/>
          <p:nvPr/>
        </p:nvSpPr>
        <p:spPr>
          <a:xfrm>
            <a:off x="8460434" y="3137793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1" name="Number11" hidden="1"/>
          <p:cNvSpPr txBox="1"/>
          <p:nvPr/>
        </p:nvSpPr>
        <p:spPr>
          <a:xfrm>
            <a:off x="8460434" y="339902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2" name="Number12" hidden="1"/>
          <p:cNvSpPr txBox="1"/>
          <p:nvPr/>
        </p:nvSpPr>
        <p:spPr>
          <a:xfrm>
            <a:off x="8460434" y="366025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3" name="Number13" hidden="1"/>
          <p:cNvSpPr txBox="1"/>
          <p:nvPr/>
        </p:nvSpPr>
        <p:spPr>
          <a:xfrm>
            <a:off x="8460434" y="392149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4" name="Number14" hidden="1"/>
          <p:cNvSpPr txBox="1"/>
          <p:nvPr/>
        </p:nvSpPr>
        <p:spPr>
          <a:xfrm>
            <a:off x="8460434" y="4182725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5" name="Number15" hidden="1"/>
          <p:cNvSpPr txBox="1"/>
          <p:nvPr/>
        </p:nvSpPr>
        <p:spPr>
          <a:xfrm>
            <a:off x="8460434" y="444396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2251470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0"/>
          </p:nvPr>
        </p:nvSpPr>
        <p:spPr>
          <a:xfrm>
            <a:off x="287342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4637090" y="950914"/>
            <a:ext cx="4213222" cy="37814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5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1"/>
          </p:nvPr>
        </p:nvSpPr>
        <p:spPr>
          <a:xfrm>
            <a:off x="287341" y="2949577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87314"/>
            <a:ext cx="8562975" cy="6127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3615866"/>
            <a:ext cx="8569325" cy="1116472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sz="18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287341" y="950914"/>
            <a:ext cx="8569325" cy="17827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одульной сетки,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3939100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колонтитула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 Neft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бедитесь, что выбран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ариант (Газпром нефть)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нажмите на кнопку </a:t>
            </a: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16849414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87313"/>
            <a:ext cx="8560318" cy="61277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71525"/>
            <a:ext cx="856297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19093" y="4903483"/>
            <a:ext cx="0" cy="1215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6"/>
          <p:cNvSpPr txBox="1">
            <a:spLocks/>
          </p:cNvSpPr>
          <p:nvPr/>
        </p:nvSpPr>
        <p:spPr>
          <a:xfrm>
            <a:off x="8691683" y="4826915"/>
            <a:ext cx="286452" cy="2746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5" name="LogoRus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нефть-Ангара</a:t>
            </a:r>
            <a:endParaRPr lang="ru-RU" sz="1200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1"/>
          </p:nvPr>
        </p:nvSpPr>
        <p:spPr>
          <a:xfrm>
            <a:off x="287341" y="950914"/>
            <a:ext cx="8569325" cy="3781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LogoEng" hidden="1"/>
          <p:cNvSpPr txBox="1">
            <a:spLocks/>
          </p:cNvSpPr>
          <p:nvPr/>
        </p:nvSpPr>
        <p:spPr>
          <a:xfrm>
            <a:off x="5292813" y="4848088"/>
            <a:ext cx="3240000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/>
              <a:t>Газпромнефть-Ангара</a:t>
            </a:r>
            <a:endParaRPr lang="ru-RU" sz="1200" dirty="0"/>
          </a:p>
        </p:txBody>
      </p:sp>
      <p:sp>
        <p:nvSpPr>
          <p:cNvPr id="4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000" dirty="0" smtClean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686" r:id="rId37"/>
    <p:sldLayoutId id="2147483687" r:id="rId38"/>
    <p:sldLayoutId id="2147483688" r:id="rId39"/>
    <p:sldLayoutId id="2147483689" r:id="rId40"/>
    <p:sldLayoutId id="2147483690" r:id="rId41"/>
    <p:sldLayoutId id="2147483691" r:id="rId42"/>
    <p:sldLayoutId id="2147483692" r:id="rId43"/>
    <p:sldLayoutId id="2147483693" r:id="rId4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tabLst/>
        <a:defRPr lang="ru-RU" sz="24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marR="0" indent="-269875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lang="ru-RU" sz="24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1463" algn="l" defTabSz="914400" rtl="0" eaLnBrk="1" latinLnBrk="0" hangingPunct="1">
        <a:spcBef>
          <a:spcPts val="300"/>
        </a:spcBef>
        <a:buClr>
          <a:schemeClr val="accent3"/>
        </a:buClr>
        <a:buFont typeface="Wingdings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3.xml"/><Relationship Id="rId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ru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1.xml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png"/><Relationship Id="rId4" Type="http://schemas.openxmlformats.org/officeDocument/2006/relationships/chart" Target="../charts/char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3.png"/><Relationship Id="rId18" Type="http://schemas.openxmlformats.org/officeDocument/2006/relationships/image" Target="../media/image18.emf"/><Relationship Id="rId3" Type="http://schemas.openxmlformats.org/officeDocument/2006/relationships/tags" Target="../tags/tag9.xml"/><Relationship Id="rId21" Type="http://schemas.openxmlformats.org/officeDocument/2006/relationships/image" Target="../media/image21.png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12.png"/><Relationship Id="rId17" Type="http://schemas.openxmlformats.org/officeDocument/2006/relationships/image" Target="../media/image17.emf"/><Relationship Id="rId2" Type="http://schemas.openxmlformats.org/officeDocument/2006/relationships/tags" Target="../tags/tag8.xml"/><Relationship Id="rId16" Type="http://schemas.openxmlformats.org/officeDocument/2006/relationships/image" Target="../media/image16.png"/><Relationship Id="rId20" Type="http://schemas.openxmlformats.org/officeDocument/2006/relationships/image" Target="../media/image20.emf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11.jpeg"/><Relationship Id="rId5" Type="http://schemas.openxmlformats.org/officeDocument/2006/relationships/tags" Target="../tags/tag11.xml"/><Relationship Id="rId15" Type="http://schemas.openxmlformats.org/officeDocument/2006/relationships/image" Target="../media/image15.png"/><Relationship Id="rId23" Type="http://schemas.microsoft.com/office/2007/relationships/hdphoto" Target="../media/hdphoto2.wdp"/><Relationship Id="rId10" Type="http://schemas.openxmlformats.org/officeDocument/2006/relationships/image" Target="../media/image10.png"/><Relationship Id="rId19" Type="http://schemas.openxmlformats.org/officeDocument/2006/relationships/image" Target="../media/image19.emf"/><Relationship Id="rId4" Type="http://schemas.openxmlformats.org/officeDocument/2006/relationships/tags" Target="../tags/tag10.xml"/><Relationship Id="rId9" Type="http://schemas.openxmlformats.org/officeDocument/2006/relationships/image" Target="../media/image9.png"/><Relationship Id="rId14" Type="http://schemas.openxmlformats.org/officeDocument/2006/relationships/image" Target="../media/image14.jpeg"/><Relationship Id="rId22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4788002" y="2570400"/>
            <a:ext cx="4068000" cy="1800000"/>
          </a:xfrm>
        </p:spPr>
        <p:txBody>
          <a:bodyPr/>
          <a:lstStyle/>
          <a:p>
            <a:r>
              <a:rPr lang="ru-RU" dirty="0" smtClean="0"/>
              <a:t>Проект Бажен – путь освоения нетрадиционных запасов УВ ПАО «Газпром нефть»</a:t>
            </a:r>
            <a:endParaRPr lang="ru-RU" dirty="0"/>
          </a:p>
        </p:txBody>
      </p:sp>
      <p:sp>
        <p:nvSpPr>
          <p:cNvPr id="4" name="Enterprise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87341" y="4154400"/>
            <a:ext cx="4283999" cy="144000"/>
          </a:xfrm>
        </p:spPr>
        <p:txBody>
          <a:bodyPr/>
          <a:lstStyle/>
          <a:p>
            <a:r>
              <a:rPr lang="ru-RU" dirty="0" smtClean="0"/>
              <a:t>ПАО «Газпром нефть»</a:t>
            </a:r>
            <a:endParaRPr lang="ru-RU" dirty="0"/>
          </a:p>
        </p:txBody>
      </p:sp>
      <p:sp>
        <p:nvSpPr>
          <p:cNvPr id="5" name="Date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287341" y="4780800"/>
            <a:ext cx="4283999" cy="144000"/>
          </a:xfrm>
        </p:spPr>
        <p:txBody>
          <a:bodyPr/>
          <a:lstStyle/>
          <a:p>
            <a:r>
              <a:rPr lang="ru-RU" dirty="0" smtClean="0"/>
              <a:t>Октябрь </a:t>
            </a:r>
            <a:r>
              <a:rPr lang="ru-RU" dirty="0" smtClean="0"/>
              <a:t>201</a:t>
            </a:r>
            <a:r>
              <a:rPr lang="en-US" dirty="0" smtClean="0"/>
              <a:t>7</a:t>
            </a:r>
            <a:endParaRPr lang="ru-RU" dirty="0"/>
          </a:p>
        </p:txBody>
      </p:sp>
      <p:sp>
        <p:nvSpPr>
          <p:cNvPr id="6" name="Unit"/>
          <p:cNvSpPr>
            <a:spLocks noGrp="1"/>
          </p:cNvSpPr>
          <p:nvPr>
            <p:ph type="body" sz="quarter" idx="17"/>
            <p:custDataLst>
              <p:tags r:id="rId4"/>
            </p:custDataLst>
          </p:nvPr>
        </p:nvSpPr>
        <p:spPr>
          <a:xfrm>
            <a:off x="287341" y="4363200"/>
            <a:ext cx="4283999" cy="144000"/>
          </a:xfrm>
        </p:spPr>
        <p:txBody>
          <a:bodyPr/>
          <a:lstStyle/>
          <a:p>
            <a:r>
              <a:rPr lang="ru-RU" dirty="0" smtClean="0"/>
              <a:t>Проектный офис «Бажен»</a:t>
            </a:r>
            <a:endParaRPr lang="ru-RU" dirty="0"/>
          </a:p>
        </p:txBody>
      </p:sp>
      <p:sp>
        <p:nvSpPr>
          <p:cNvPr id="7" name="Author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287341" y="4572000"/>
            <a:ext cx="4283999" cy="144000"/>
          </a:xfrm>
        </p:spPr>
        <p:txBody>
          <a:bodyPr/>
          <a:lstStyle/>
          <a:p>
            <a:r>
              <a:rPr lang="ru-RU" dirty="0" smtClean="0"/>
              <a:t>Олюнин А.В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554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sz="quarter" idx="11"/>
          </p:nvPr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15"/>
          <a:stretch/>
        </p:blipFill>
        <p:spPr>
          <a:xfrm>
            <a:off x="299874" y="1059835"/>
            <a:ext cx="3861752" cy="3780453"/>
          </a:xfrm>
        </p:spPr>
      </p:pic>
      <p:pic>
        <p:nvPicPr>
          <p:cNvPr id="6" name="Объект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315"/>
          <a:stretch/>
        </p:blipFill>
        <p:spPr>
          <a:xfrm>
            <a:off x="4986973" y="1041401"/>
            <a:ext cx="3861752" cy="3798887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05546" y="87474"/>
            <a:ext cx="8560318" cy="612776"/>
          </a:xfrm>
        </p:spPr>
        <p:txBody>
          <a:bodyPr/>
          <a:lstStyle/>
          <a:p>
            <a:r>
              <a:rPr lang="ru-RU" sz="2000" dirty="0" smtClean="0"/>
              <a:t>План замещения импорта по ключевым направлениям</a:t>
            </a:r>
            <a:endParaRPr lang="ru-RU" sz="2000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979275" y="1738885"/>
            <a:ext cx="935923" cy="557762"/>
            <a:chOff x="979275" y="1738885"/>
            <a:chExt cx="935923" cy="557762"/>
          </a:xfrm>
        </p:grpSpPr>
        <p:sp>
          <p:nvSpPr>
            <p:cNvPr id="14" name="TextBox 13"/>
            <p:cNvSpPr txBox="1"/>
            <p:nvPr/>
          </p:nvSpPr>
          <p:spPr>
            <a:xfrm>
              <a:off x="993998" y="1927315"/>
              <a:ext cx="921200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b="1" dirty="0" smtClean="0">
                  <a:solidFill>
                    <a:schemeClr val="bg1"/>
                  </a:solidFill>
                </a:rPr>
                <a:t>МГРП</a:t>
              </a:r>
            </a:p>
          </p:txBody>
        </p:sp>
        <p:cxnSp>
          <p:nvCxnSpPr>
            <p:cNvPr id="3" name="Прямая соединительная линия 2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39%</a:t>
              </a: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1143512" y="3648781"/>
            <a:ext cx="935923" cy="650095"/>
            <a:chOff x="979275" y="1738885"/>
            <a:chExt cx="935923" cy="650095"/>
          </a:xfrm>
        </p:grpSpPr>
        <p:sp>
          <p:nvSpPr>
            <p:cNvPr id="45" name="TextBox 44"/>
            <p:cNvSpPr txBox="1"/>
            <p:nvPr/>
          </p:nvSpPr>
          <p:spPr>
            <a:xfrm>
              <a:off x="993998" y="1927315"/>
              <a:ext cx="921200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двеска хвостовика</a:t>
              </a:r>
            </a:p>
          </p:txBody>
        </p:sp>
        <p:cxnSp>
          <p:nvCxnSpPr>
            <p:cNvPr id="46" name="Прямая соединительная линия 45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%</a:t>
              </a:r>
            </a:p>
          </p:txBody>
        </p:sp>
      </p:grpSp>
      <p:pic>
        <p:nvPicPr>
          <p:cNvPr id="48" name="Рисунок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165" y="3656791"/>
            <a:ext cx="432000" cy="432000"/>
          </a:xfrm>
          <a:prstGeom prst="ellipse">
            <a:avLst/>
          </a:prstGeom>
          <a:ln w="381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52" name="Группа 51"/>
          <p:cNvGrpSpPr/>
          <p:nvPr/>
        </p:nvGrpSpPr>
        <p:grpSpPr>
          <a:xfrm>
            <a:off x="2948589" y="4052652"/>
            <a:ext cx="935923" cy="557762"/>
            <a:chOff x="979275" y="1738885"/>
            <a:chExt cx="935923" cy="557762"/>
          </a:xfrm>
        </p:grpSpPr>
        <p:sp>
          <p:nvSpPr>
            <p:cNvPr id="54" name="TextBox 53"/>
            <p:cNvSpPr txBox="1"/>
            <p:nvPr/>
          </p:nvSpPr>
          <p:spPr>
            <a:xfrm>
              <a:off x="993998" y="1927315"/>
              <a:ext cx="921200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b="1" dirty="0" smtClean="0">
                  <a:solidFill>
                    <a:schemeClr val="bg1"/>
                  </a:solidFill>
                </a:rPr>
                <a:t>РУС</a:t>
              </a:r>
            </a:p>
          </p:txBody>
        </p:sp>
        <p:cxnSp>
          <p:nvCxnSpPr>
            <p:cNvPr id="55" name="Прямая соединительная линия 54"/>
            <p:cNvCxnSpPr/>
            <p:nvPr/>
          </p:nvCxnSpPr>
          <p:spPr>
            <a:xfrm>
              <a:off x="979275" y="1996470"/>
              <a:ext cx="500652" cy="1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993998" y="1738885"/>
              <a:ext cx="379563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10%</a:t>
              </a: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1806251" y="4220434"/>
            <a:ext cx="935923" cy="442346"/>
            <a:chOff x="979275" y="1738885"/>
            <a:chExt cx="935923" cy="442346"/>
          </a:xfrm>
        </p:grpSpPr>
        <p:sp>
          <p:nvSpPr>
            <p:cNvPr id="60" name="TextBox 59"/>
            <p:cNvSpPr txBox="1"/>
            <p:nvPr/>
          </p:nvSpPr>
          <p:spPr>
            <a:xfrm>
              <a:off x="993998" y="1927315"/>
              <a:ext cx="921200" cy="25391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050" b="1" dirty="0" err="1" smtClean="0">
                  <a:solidFill>
                    <a:schemeClr val="bg1"/>
                  </a:solidFill>
                </a:rPr>
                <a:t>Пакер</a:t>
              </a:r>
              <a:r>
                <a:rPr lang="ru-RU" sz="1050" b="1" dirty="0" smtClean="0">
                  <a:solidFill>
                    <a:schemeClr val="bg1"/>
                  </a:solidFill>
                </a:rPr>
                <a:t>-пробки</a:t>
              </a:r>
            </a:p>
          </p:txBody>
        </p:sp>
        <p:cxnSp>
          <p:nvCxnSpPr>
            <p:cNvPr id="61" name="Прямая соединительная линия 60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15%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2637437" y="3531108"/>
            <a:ext cx="935923" cy="465429"/>
            <a:chOff x="979275" y="1738885"/>
            <a:chExt cx="935923" cy="465429"/>
          </a:xfrm>
        </p:grpSpPr>
        <p:sp>
          <p:nvSpPr>
            <p:cNvPr id="72" name="TextBox 71"/>
            <p:cNvSpPr txBox="1"/>
            <p:nvPr/>
          </p:nvSpPr>
          <p:spPr>
            <a:xfrm>
              <a:off x="993998" y="1927315"/>
              <a:ext cx="921200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/>
                  </a:solidFill>
                </a:rPr>
                <a:t>Навигация</a:t>
              </a:r>
            </a:p>
          </p:txBody>
        </p:sp>
        <p:cxnSp>
          <p:nvCxnSpPr>
            <p:cNvPr id="73" name="Прямая соединительная линия 72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Box 73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%</a:t>
              </a:r>
            </a:p>
          </p:txBody>
        </p:sp>
      </p:grpSp>
      <p:grpSp>
        <p:nvGrpSpPr>
          <p:cNvPr id="76" name="Группа 75"/>
          <p:cNvGrpSpPr/>
          <p:nvPr/>
        </p:nvGrpSpPr>
        <p:grpSpPr>
          <a:xfrm>
            <a:off x="3017069" y="2303281"/>
            <a:ext cx="996183" cy="557762"/>
            <a:chOff x="979275" y="1738885"/>
            <a:chExt cx="996183" cy="557762"/>
          </a:xfrm>
        </p:grpSpPr>
        <p:sp>
          <p:nvSpPr>
            <p:cNvPr id="78" name="TextBox 77"/>
            <p:cNvSpPr txBox="1"/>
            <p:nvPr/>
          </p:nvSpPr>
          <p:spPr>
            <a:xfrm>
              <a:off x="993998" y="1927315"/>
              <a:ext cx="981460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b="1" dirty="0" smtClean="0">
                  <a:solidFill>
                    <a:schemeClr val="bg1"/>
                  </a:solidFill>
                </a:rPr>
                <a:t>Софт</a:t>
              </a:r>
            </a:p>
          </p:txBody>
        </p:sp>
        <p:cxnSp>
          <p:nvCxnSpPr>
            <p:cNvPr id="79" name="Прямая соединительная линия 78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30-50%</a:t>
              </a:r>
            </a:p>
          </p:txBody>
        </p:sp>
      </p:grpSp>
      <p:pic>
        <p:nvPicPr>
          <p:cNvPr id="82" name="Рисунок 81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58" y="2410473"/>
            <a:ext cx="432000" cy="432000"/>
          </a:xfrm>
          <a:prstGeom prst="ellipse">
            <a:avLst/>
          </a:prstGeom>
          <a:ln w="381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83" name="TextBox 82"/>
          <p:cNvSpPr txBox="1"/>
          <p:nvPr/>
        </p:nvSpPr>
        <p:spPr>
          <a:xfrm>
            <a:off x="1097975" y="2996888"/>
            <a:ext cx="92120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 smtClean="0">
                <a:solidFill>
                  <a:schemeClr val="bg1"/>
                </a:solidFill>
              </a:rPr>
              <a:t>Каротаж</a:t>
            </a: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1083252" y="3066043"/>
            <a:ext cx="8756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1097975" y="2808458"/>
            <a:ext cx="92120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1"/>
                </a:solidFill>
              </a:rPr>
              <a:t>10-25%</a:t>
            </a:r>
          </a:p>
        </p:txBody>
      </p:sp>
      <p:grpSp>
        <p:nvGrpSpPr>
          <p:cNvPr id="88" name="Группа 87"/>
          <p:cNvGrpSpPr/>
          <p:nvPr/>
        </p:nvGrpSpPr>
        <p:grpSpPr>
          <a:xfrm>
            <a:off x="5725446" y="1753639"/>
            <a:ext cx="935923" cy="557762"/>
            <a:chOff x="979275" y="1738885"/>
            <a:chExt cx="935923" cy="557762"/>
          </a:xfrm>
        </p:grpSpPr>
        <p:sp>
          <p:nvSpPr>
            <p:cNvPr id="90" name="TextBox 89"/>
            <p:cNvSpPr txBox="1"/>
            <p:nvPr/>
          </p:nvSpPr>
          <p:spPr>
            <a:xfrm>
              <a:off x="993998" y="1927315"/>
              <a:ext cx="921200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b="1" dirty="0" smtClean="0">
                  <a:solidFill>
                    <a:schemeClr val="bg1"/>
                  </a:solidFill>
                </a:rPr>
                <a:t>МГРП</a:t>
              </a:r>
            </a:p>
          </p:txBody>
        </p:sp>
        <p:cxnSp>
          <p:nvCxnSpPr>
            <p:cNvPr id="91" name="Прямая соединительная линия 90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Box 91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3</a:t>
              </a:r>
            </a:p>
          </p:txBody>
        </p:sp>
      </p:grpSp>
      <p:grpSp>
        <p:nvGrpSpPr>
          <p:cNvPr id="94" name="Группа 93"/>
          <p:cNvGrpSpPr/>
          <p:nvPr/>
        </p:nvGrpSpPr>
        <p:grpSpPr>
          <a:xfrm>
            <a:off x="5889683" y="3663535"/>
            <a:ext cx="935923" cy="650095"/>
            <a:chOff x="979275" y="1738885"/>
            <a:chExt cx="935923" cy="650095"/>
          </a:xfrm>
        </p:grpSpPr>
        <p:sp>
          <p:nvSpPr>
            <p:cNvPr id="96" name="TextBox 95"/>
            <p:cNvSpPr txBox="1"/>
            <p:nvPr/>
          </p:nvSpPr>
          <p:spPr>
            <a:xfrm>
              <a:off x="993998" y="1927315"/>
              <a:ext cx="921200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двеска хвостовика</a:t>
              </a:r>
            </a:p>
          </p:txBody>
        </p:sp>
        <p:cxnSp>
          <p:nvCxnSpPr>
            <p:cNvPr id="97" name="Прямая соединительная линия 96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7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0</a:t>
              </a:r>
            </a:p>
          </p:txBody>
        </p:sp>
      </p:grpSp>
      <p:grpSp>
        <p:nvGrpSpPr>
          <p:cNvPr id="100" name="Группа 99"/>
          <p:cNvGrpSpPr/>
          <p:nvPr/>
        </p:nvGrpSpPr>
        <p:grpSpPr>
          <a:xfrm>
            <a:off x="6552422" y="4235188"/>
            <a:ext cx="935923" cy="442346"/>
            <a:chOff x="979275" y="1738885"/>
            <a:chExt cx="935923" cy="442346"/>
          </a:xfrm>
        </p:grpSpPr>
        <p:sp>
          <p:nvSpPr>
            <p:cNvPr id="102" name="TextBox 101"/>
            <p:cNvSpPr txBox="1"/>
            <p:nvPr/>
          </p:nvSpPr>
          <p:spPr>
            <a:xfrm>
              <a:off x="993998" y="1927315"/>
              <a:ext cx="921200" cy="25391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050" b="1" dirty="0" err="1" smtClean="0">
                  <a:solidFill>
                    <a:schemeClr val="bg1"/>
                  </a:solidFill>
                </a:rPr>
                <a:t>Пакер</a:t>
              </a:r>
              <a:r>
                <a:rPr lang="ru-RU" sz="1050" b="1" dirty="0" smtClean="0">
                  <a:solidFill>
                    <a:schemeClr val="bg1"/>
                  </a:solidFill>
                </a:rPr>
                <a:t>-пробки</a:t>
              </a:r>
            </a:p>
          </p:txBody>
        </p:sp>
        <p:cxnSp>
          <p:nvCxnSpPr>
            <p:cNvPr id="103" name="Прямая соединительная линия 102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extBox 103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2</a:t>
              </a:r>
            </a:p>
          </p:txBody>
        </p:sp>
      </p:grpSp>
      <p:grpSp>
        <p:nvGrpSpPr>
          <p:cNvPr id="106" name="Группа 105"/>
          <p:cNvGrpSpPr/>
          <p:nvPr/>
        </p:nvGrpSpPr>
        <p:grpSpPr>
          <a:xfrm>
            <a:off x="7383608" y="3545862"/>
            <a:ext cx="935923" cy="465429"/>
            <a:chOff x="979275" y="1738885"/>
            <a:chExt cx="935923" cy="465429"/>
          </a:xfrm>
        </p:grpSpPr>
        <p:sp>
          <p:nvSpPr>
            <p:cNvPr id="108" name="TextBox 107"/>
            <p:cNvSpPr txBox="1"/>
            <p:nvPr/>
          </p:nvSpPr>
          <p:spPr>
            <a:xfrm>
              <a:off x="993998" y="1927315"/>
              <a:ext cx="921200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b="1" dirty="0" smtClean="0">
                  <a:solidFill>
                    <a:schemeClr val="bg1"/>
                  </a:solidFill>
                </a:rPr>
                <a:t>Навигация</a:t>
              </a:r>
            </a:p>
          </p:txBody>
        </p:sp>
        <p:cxnSp>
          <p:nvCxnSpPr>
            <p:cNvPr id="109" name="Прямая соединительная линия 108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TextBox 109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0</a:t>
              </a:r>
            </a:p>
          </p:txBody>
        </p:sp>
      </p:grpSp>
      <p:grpSp>
        <p:nvGrpSpPr>
          <p:cNvPr id="112" name="Группа 111"/>
          <p:cNvGrpSpPr/>
          <p:nvPr/>
        </p:nvGrpSpPr>
        <p:grpSpPr>
          <a:xfrm>
            <a:off x="7763240" y="2318035"/>
            <a:ext cx="996183" cy="557762"/>
            <a:chOff x="979275" y="1738885"/>
            <a:chExt cx="996183" cy="557762"/>
          </a:xfrm>
        </p:grpSpPr>
        <p:sp>
          <p:nvSpPr>
            <p:cNvPr id="114" name="TextBox 113"/>
            <p:cNvSpPr txBox="1"/>
            <p:nvPr/>
          </p:nvSpPr>
          <p:spPr>
            <a:xfrm>
              <a:off x="993998" y="1927315"/>
              <a:ext cx="981460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b="1" dirty="0" smtClean="0">
                  <a:solidFill>
                    <a:schemeClr val="bg1"/>
                  </a:solidFill>
                </a:rPr>
                <a:t>Софт</a:t>
              </a:r>
            </a:p>
          </p:txBody>
        </p:sp>
        <p:cxnSp>
          <p:nvCxnSpPr>
            <p:cNvPr id="115" name="Прямая соединительная линия 114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extBox 115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1</a:t>
              </a:r>
            </a:p>
          </p:txBody>
        </p:sp>
      </p:grpSp>
      <p:grpSp>
        <p:nvGrpSpPr>
          <p:cNvPr id="117" name="Группа 116"/>
          <p:cNvGrpSpPr/>
          <p:nvPr/>
        </p:nvGrpSpPr>
        <p:grpSpPr>
          <a:xfrm>
            <a:off x="5829423" y="2823212"/>
            <a:ext cx="935923" cy="526984"/>
            <a:chOff x="979275" y="1738885"/>
            <a:chExt cx="935923" cy="526984"/>
          </a:xfrm>
        </p:grpSpPr>
        <p:sp>
          <p:nvSpPr>
            <p:cNvPr id="119" name="TextBox 118"/>
            <p:cNvSpPr txBox="1"/>
            <p:nvPr/>
          </p:nvSpPr>
          <p:spPr>
            <a:xfrm>
              <a:off x="993998" y="1927315"/>
              <a:ext cx="921200" cy="338554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600" b="1" dirty="0" smtClean="0">
                  <a:solidFill>
                    <a:schemeClr val="bg1"/>
                  </a:solidFill>
                </a:rPr>
                <a:t>Каротаж</a:t>
              </a:r>
            </a:p>
          </p:txBody>
        </p:sp>
        <p:cxnSp>
          <p:nvCxnSpPr>
            <p:cNvPr id="120" name="Прямая соединительная линия 119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0</a:t>
              </a:r>
            </a:p>
          </p:txBody>
        </p:sp>
      </p:grpSp>
      <p:grpSp>
        <p:nvGrpSpPr>
          <p:cNvPr id="123" name="Группа 122"/>
          <p:cNvGrpSpPr/>
          <p:nvPr/>
        </p:nvGrpSpPr>
        <p:grpSpPr>
          <a:xfrm>
            <a:off x="7833968" y="4026132"/>
            <a:ext cx="935923" cy="557762"/>
            <a:chOff x="979275" y="1738885"/>
            <a:chExt cx="935923" cy="557762"/>
          </a:xfrm>
        </p:grpSpPr>
        <p:sp>
          <p:nvSpPr>
            <p:cNvPr id="125" name="TextBox 124"/>
            <p:cNvSpPr txBox="1"/>
            <p:nvPr/>
          </p:nvSpPr>
          <p:spPr>
            <a:xfrm>
              <a:off x="993998" y="1927315"/>
              <a:ext cx="921200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b="1" dirty="0" smtClean="0">
                  <a:solidFill>
                    <a:schemeClr val="bg1"/>
                  </a:solidFill>
                </a:rPr>
                <a:t>РУС</a:t>
              </a:r>
            </a:p>
          </p:txBody>
        </p:sp>
        <p:cxnSp>
          <p:nvCxnSpPr>
            <p:cNvPr id="126" name="Прямая соединительная линия 125"/>
            <p:cNvCxnSpPr/>
            <p:nvPr/>
          </p:nvCxnSpPr>
          <p:spPr>
            <a:xfrm>
              <a:off x="979275" y="1996470"/>
              <a:ext cx="500652" cy="1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TextBox 126"/>
            <p:cNvSpPr txBox="1"/>
            <p:nvPr/>
          </p:nvSpPr>
          <p:spPr>
            <a:xfrm>
              <a:off x="993998" y="1738885"/>
              <a:ext cx="557087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1</a:t>
              </a:r>
            </a:p>
          </p:txBody>
        </p:sp>
      </p:grpSp>
      <p:pic>
        <p:nvPicPr>
          <p:cNvPr id="131" name="Рисунок 13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271" y="1113727"/>
            <a:ext cx="432000" cy="432000"/>
          </a:xfrm>
          <a:prstGeom prst="ellipse">
            <a:avLst/>
          </a:prstGeom>
          <a:ln w="381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" name="Стрелка вправо 1"/>
          <p:cNvSpPr/>
          <p:nvPr/>
        </p:nvSpPr>
        <p:spPr>
          <a:xfrm>
            <a:off x="4352081" y="2296647"/>
            <a:ext cx="439838" cy="1193120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6825605" y="1272732"/>
            <a:ext cx="1873557" cy="639836"/>
            <a:chOff x="406549" y="1738885"/>
            <a:chExt cx="1873557" cy="639836"/>
          </a:xfrm>
        </p:grpSpPr>
        <p:sp>
          <p:nvSpPr>
            <p:cNvPr id="66" name="TextBox 65"/>
            <p:cNvSpPr txBox="1"/>
            <p:nvPr/>
          </p:nvSpPr>
          <p:spPr>
            <a:xfrm>
              <a:off x="406549" y="1927315"/>
              <a:ext cx="1873557" cy="45140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bg1"/>
                  </a:solidFill>
                </a:rPr>
                <a:t>Тепловое воздействие</a:t>
              </a:r>
            </a:p>
          </p:txBody>
        </p:sp>
        <p:cxnSp>
          <p:nvCxnSpPr>
            <p:cNvPr id="67" name="Прямая соединительная линия 66"/>
            <p:cNvCxnSpPr/>
            <p:nvPr/>
          </p:nvCxnSpPr>
          <p:spPr>
            <a:xfrm>
              <a:off x="979275" y="1996470"/>
              <a:ext cx="8756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/>
            <p:cNvSpPr txBox="1"/>
            <p:nvPr/>
          </p:nvSpPr>
          <p:spPr>
            <a:xfrm>
              <a:off x="993998" y="1738885"/>
              <a:ext cx="921200" cy="30777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400" b="1" dirty="0" smtClean="0">
                  <a:solidFill>
                    <a:schemeClr val="bg1"/>
                  </a:solidFill>
                </a:rPr>
                <a:t>202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1408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2" name="Прямая соединительная линия 171"/>
          <p:cNvCxnSpPr/>
          <p:nvPr/>
        </p:nvCxnSpPr>
        <p:spPr>
          <a:xfrm>
            <a:off x="439654" y="2699717"/>
            <a:ext cx="0" cy="1926965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3" name="Прямая соединительная линия 172"/>
          <p:cNvCxnSpPr/>
          <p:nvPr/>
        </p:nvCxnSpPr>
        <p:spPr>
          <a:xfrm>
            <a:off x="3300584" y="3807896"/>
            <a:ext cx="0" cy="818786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4" name="Скругленный прямоугольник 153"/>
          <p:cNvSpPr/>
          <p:nvPr/>
        </p:nvSpPr>
        <p:spPr>
          <a:xfrm>
            <a:off x="2695769" y="1500567"/>
            <a:ext cx="5781481" cy="166152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3" name="Скругленный прямоугольник 152"/>
          <p:cNvSpPr/>
          <p:nvPr/>
        </p:nvSpPr>
        <p:spPr>
          <a:xfrm>
            <a:off x="645632" y="1638394"/>
            <a:ext cx="4538366" cy="1397734"/>
          </a:xfrm>
          <a:prstGeom prst="roundRect">
            <a:avLst/>
          </a:prstGeom>
          <a:solidFill>
            <a:srgbClr val="0070BA">
              <a:alpha val="21000"/>
            </a:srgb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grpSp>
        <p:nvGrpSpPr>
          <p:cNvPr id="26" name="Группа 25"/>
          <p:cNvGrpSpPr/>
          <p:nvPr/>
        </p:nvGrpSpPr>
        <p:grpSpPr>
          <a:xfrm>
            <a:off x="1131150" y="1707833"/>
            <a:ext cx="926193" cy="447048"/>
            <a:chOff x="1508200" y="2453440"/>
            <a:chExt cx="1234924" cy="596064"/>
          </a:xfrm>
        </p:grpSpPr>
        <p:sp>
          <p:nvSpPr>
            <p:cNvPr id="165" name="Скругленный прямоугольник 164"/>
            <p:cNvSpPr/>
            <p:nvPr/>
          </p:nvSpPr>
          <p:spPr>
            <a:xfrm>
              <a:off x="1508200" y="2453440"/>
              <a:ext cx="1234924" cy="59606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grpSp>
          <p:nvGrpSpPr>
            <p:cNvPr id="105" name="TitleLogoRus"/>
            <p:cNvGrpSpPr>
              <a:grpSpLocks noChangeAspect="1"/>
            </p:cNvGrpSpPr>
            <p:nvPr/>
          </p:nvGrpSpPr>
          <p:grpSpPr bwMode="auto">
            <a:xfrm>
              <a:off x="1813853" y="2518477"/>
              <a:ext cx="717318" cy="338939"/>
              <a:chOff x="264" y="1159"/>
              <a:chExt cx="3492" cy="1650"/>
            </a:xfrm>
            <a:solidFill>
              <a:srgbClr val="0070BA"/>
            </a:solidFill>
          </p:grpSpPr>
          <p:sp>
            <p:nvSpPr>
              <p:cNvPr id="126" name="Freeform 6"/>
              <p:cNvSpPr>
                <a:spLocks noEditPoints="1"/>
              </p:cNvSpPr>
              <p:nvPr userDrawn="1"/>
            </p:nvSpPr>
            <p:spPr bwMode="auto">
              <a:xfrm>
                <a:off x="2996" y="1657"/>
                <a:ext cx="258" cy="576"/>
              </a:xfrm>
              <a:custGeom>
                <a:avLst/>
                <a:gdLst>
                  <a:gd name="T0" fmla="*/ 128 w 258"/>
                  <a:gd name="T1" fmla="*/ 504 h 576"/>
                  <a:gd name="T2" fmla="*/ 112 w 258"/>
                  <a:gd name="T3" fmla="*/ 498 h 576"/>
                  <a:gd name="T4" fmla="*/ 104 w 258"/>
                  <a:gd name="T5" fmla="*/ 482 h 576"/>
                  <a:gd name="T6" fmla="*/ 104 w 258"/>
                  <a:gd name="T7" fmla="*/ 94 h 576"/>
                  <a:gd name="T8" fmla="*/ 104 w 258"/>
                  <a:gd name="T9" fmla="*/ 92 h 576"/>
                  <a:gd name="T10" fmla="*/ 106 w 258"/>
                  <a:gd name="T11" fmla="*/ 84 h 576"/>
                  <a:gd name="T12" fmla="*/ 120 w 258"/>
                  <a:gd name="T13" fmla="*/ 72 h 576"/>
                  <a:gd name="T14" fmla="*/ 128 w 258"/>
                  <a:gd name="T15" fmla="*/ 72 h 576"/>
                  <a:gd name="T16" fmla="*/ 146 w 258"/>
                  <a:gd name="T17" fmla="*/ 78 h 576"/>
                  <a:gd name="T18" fmla="*/ 154 w 258"/>
                  <a:gd name="T19" fmla="*/ 92 h 576"/>
                  <a:gd name="T20" fmla="*/ 154 w 258"/>
                  <a:gd name="T21" fmla="*/ 94 h 576"/>
                  <a:gd name="T22" fmla="*/ 154 w 258"/>
                  <a:gd name="T23" fmla="*/ 482 h 576"/>
                  <a:gd name="T24" fmla="*/ 152 w 258"/>
                  <a:gd name="T25" fmla="*/ 490 h 576"/>
                  <a:gd name="T26" fmla="*/ 138 w 258"/>
                  <a:gd name="T27" fmla="*/ 502 h 576"/>
                  <a:gd name="T28" fmla="*/ 176 w 258"/>
                  <a:gd name="T29" fmla="*/ 0 h 576"/>
                  <a:gd name="T30" fmla="*/ 82 w 258"/>
                  <a:gd name="T31" fmla="*/ 0 h 576"/>
                  <a:gd name="T32" fmla="*/ 56 w 258"/>
                  <a:gd name="T33" fmla="*/ 2 h 576"/>
                  <a:gd name="T34" fmla="*/ 36 w 258"/>
                  <a:gd name="T35" fmla="*/ 10 h 576"/>
                  <a:gd name="T36" fmla="*/ 22 w 258"/>
                  <a:gd name="T37" fmla="*/ 22 h 576"/>
                  <a:gd name="T38" fmla="*/ 12 w 258"/>
                  <a:gd name="T39" fmla="*/ 36 h 576"/>
                  <a:gd name="T40" fmla="*/ 2 w 258"/>
                  <a:gd name="T41" fmla="*/ 70 h 576"/>
                  <a:gd name="T42" fmla="*/ 0 w 258"/>
                  <a:gd name="T43" fmla="*/ 102 h 576"/>
                  <a:gd name="T44" fmla="*/ 0 w 258"/>
                  <a:gd name="T45" fmla="*/ 472 h 576"/>
                  <a:gd name="T46" fmla="*/ 2 w 258"/>
                  <a:gd name="T47" fmla="*/ 506 h 576"/>
                  <a:gd name="T48" fmla="*/ 12 w 258"/>
                  <a:gd name="T49" fmla="*/ 540 h 576"/>
                  <a:gd name="T50" fmla="*/ 22 w 258"/>
                  <a:gd name="T51" fmla="*/ 554 h 576"/>
                  <a:gd name="T52" fmla="*/ 36 w 258"/>
                  <a:gd name="T53" fmla="*/ 566 h 576"/>
                  <a:gd name="T54" fmla="*/ 56 w 258"/>
                  <a:gd name="T55" fmla="*/ 572 h 576"/>
                  <a:gd name="T56" fmla="*/ 82 w 258"/>
                  <a:gd name="T57" fmla="*/ 576 h 576"/>
                  <a:gd name="T58" fmla="*/ 176 w 258"/>
                  <a:gd name="T59" fmla="*/ 576 h 576"/>
                  <a:gd name="T60" fmla="*/ 202 w 258"/>
                  <a:gd name="T61" fmla="*/ 572 h 576"/>
                  <a:gd name="T62" fmla="*/ 222 w 258"/>
                  <a:gd name="T63" fmla="*/ 566 h 576"/>
                  <a:gd name="T64" fmla="*/ 236 w 258"/>
                  <a:gd name="T65" fmla="*/ 554 h 576"/>
                  <a:gd name="T66" fmla="*/ 246 w 258"/>
                  <a:gd name="T67" fmla="*/ 540 h 576"/>
                  <a:gd name="T68" fmla="*/ 256 w 258"/>
                  <a:gd name="T69" fmla="*/ 506 h 576"/>
                  <a:gd name="T70" fmla="*/ 258 w 258"/>
                  <a:gd name="T71" fmla="*/ 472 h 576"/>
                  <a:gd name="T72" fmla="*/ 258 w 258"/>
                  <a:gd name="T73" fmla="*/ 102 h 576"/>
                  <a:gd name="T74" fmla="*/ 256 w 258"/>
                  <a:gd name="T75" fmla="*/ 70 h 576"/>
                  <a:gd name="T76" fmla="*/ 246 w 258"/>
                  <a:gd name="T77" fmla="*/ 36 h 576"/>
                  <a:gd name="T78" fmla="*/ 236 w 258"/>
                  <a:gd name="T79" fmla="*/ 22 h 576"/>
                  <a:gd name="T80" fmla="*/ 222 w 258"/>
                  <a:gd name="T81" fmla="*/ 10 h 576"/>
                  <a:gd name="T82" fmla="*/ 202 w 258"/>
                  <a:gd name="T83" fmla="*/ 2 h 576"/>
                  <a:gd name="T84" fmla="*/ 176 w 258"/>
                  <a:gd name="T85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8" h="576">
                    <a:moveTo>
                      <a:pt x="128" y="504"/>
                    </a:moveTo>
                    <a:lnTo>
                      <a:pt x="128" y="504"/>
                    </a:lnTo>
                    <a:lnTo>
                      <a:pt x="120" y="502"/>
                    </a:lnTo>
                    <a:lnTo>
                      <a:pt x="112" y="498"/>
                    </a:lnTo>
                    <a:lnTo>
                      <a:pt x="106" y="490"/>
                    </a:lnTo>
                    <a:lnTo>
                      <a:pt x="104" y="482"/>
                    </a:lnTo>
                    <a:lnTo>
                      <a:pt x="104" y="482"/>
                    </a:lnTo>
                    <a:lnTo>
                      <a:pt x="104" y="94"/>
                    </a:lnTo>
                    <a:lnTo>
                      <a:pt x="104" y="94"/>
                    </a:lnTo>
                    <a:lnTo>
                      <a:pt x="104" y="92"/>
                    </a:lnTo>
                    <a:lnTo>
                      <a:pt x="104" y="92"/>
                    </a:lnTo>
                    <a:lnTo>
                      <a:pt x="106" y="84"/>
                    </a:lnTo>
                    <a:lnTo>
                      <a:pt x="112" y="78"/>
                    </a:lnTo>
                    <a:lnTo>
                      <a:pt x="120" y="72"/>
                    </a:lnTo>
                    <a:lnTo>
                      <a:pt x="128" y="72"/>
                    </a:lnTo>
                    <a:lnTo>
                      <a:pt x="128" y="72"/>
                    </a:lnTo>
                    <a:lnTo>
                      <a:pt x="138" y="72"/>
                    </a:lnTo>
                    <a:lnTo>
                      <a:pt x="146" y="78"/>
                    </a:lnTo>
                    <a:lnTo>
                      <a:pt x="150" y="84"/>
                    </a:lnTo>
                    <a:lnTo>
                      <a:pt x="154" y="92"/>
                    </a:lnTo>
                    <a:lnTo>
                      <a:pt x="154" y="94"/>
                    </a:lnTo>
                    <a:lnTo>
                      <a:pt x="154" y="94"/>
                    </a:lnTo>
                    <a:lnTo>
                      <a:pt x="154" y="480"/>
                    </a:lnTo>
                    <a:lnTo>
                      <a:pt x="154" y="482"/>
                    </a:lnTo>
                    <a:lnTo>
                      <a:pt x="154" y="482"/>
                    </a:lnTo>
                    <a:lnTo>
                      <a:pt x="152" y="490"/>
                    </a:lnTo>
                    <a:lnTo>
                      <a:pt x="146" y="498"/>
                    </a:lnTo>
                    <a:lnTo>
                      <a:pt x="138" y="502"/>
                    </a:lnTo>
                    <a:lnTo>
                      <a:pt x="128" y="504"/>
                    </a:lnTo>
                    <a:close/>
                    <a:moveTo>
                      <a:pt x="176" y="0"/>
                    </a:moveTo>
                    <a:lnTo>
                      <a:pt x="82" y="0"/>
                    </a:lnTo>
                    <a:lnTo>
                      <a:pt x="82" y="0"/>
                    </a:lnTo>
                    <a:lnTo>
                      <a:pt x="68" y="0"/>
                    </a:lnTo>
                    <a:lnTo>
                      <a:pt x="56" y="2"/>
                    </a:lnTo>
                    <a:lnTo>
                      <a:pt x="46" y="6"/>
                    </a:lnTo>
                    <a:lnTo>
                      <a:pt x="36" y="10"/>
                    </a:lnTo>
                    <a:lnTo>
                      <a:pt x="28" y="16"/>
                    </a:lnTo>
                    <a:lnTo>
                      <a:pt x="22" y="22"/>
                    </a:lnTo>
                    <a:lnTo>
                      <a:pt x="16" y="28"/>
                    </a:lnTo>
                    <a:lnTo>
                      <a:pt x="12" y="36"/>
                    </a:lnTo>
                    <a:lnTo>
                      <a:pt x="6" y="52"/>
                    </a:lnTo>
                    <a:lnTo>
                      <a:pt x="2" y="70"/>
                    </a:lnTo>
                    <a:lnTo>
                      <a:pt x="0" y="86"/>
                    </a:lnTo>
                    <a:lnTo>
                      <a:pt x="0" y="102"/>
                    </a:lnTo>
                    <a:lnTo>
                      <a:pt x="0" y="472"/>
                    </a:lnTo>
                    <a:lnTo>
                      <a:pt x="0" y="472"/>
                    </a:lnTo>
                    <a:lnTo>
                      <a:pt x="0" y="488"/>
                    </a:lnTo>
                    <a:lnTo>
                      <a:pt x="2" y="506"/>
                    </a:lnTo>
                    <a:lnTo>
                      <a:pt x="6" y="524"/>
                    </a:lnTo>
                    <a:lnTo>
                      <a:pt x="12" y="540"/>
                    </a:lnTo>
                    <a:lnTo>
                      <a:pt x="16" y="546"/>
                    </a:lnTo>
                    <a:lnTo>
                      <a:pt x="22" y="554"/>
                    </a:lnTo>
                    <a:lnTo>
                      <a:pt x="28" y="560"/>
                    </a:lnTo>
                    <a:lnTo>
                      <a:pt x="36" y="566"/>
                    </a:lnTo>
                    <a:lnTo>
                      <a:pt x="46" y="570"/>
                    </a:lnTo>
                    <a:lnTo>
                      <a:pt x="56" y="572"/>
                    </a:lnTo>
                    <a:lnTo>
                      <a:pt x="68" y="574"/>
                    </a:lnTo>
                    <a:lnTo>
                      <a:pt x="82" y="576"/>
                    </a:lnTo>
                    <a:lnTo>
                      <a:pt x="176" y="576"/>
                    </a:lnTo>
                    <a:lnTo>
                      <a:pt x="176" y="576"/>
                    </a:lnTo>
                    <a:lnTo>
                      <a:pt x="188" y="574"/>
                    </a:lnTo>
                    <a:lnTo>
                      <a:pt x="202" y="572"/>
                    </a:lnTo>
                    <a:lnTo>
                      <a:pt x="212" y="570"/>
                    </a:lnTo>
                    <a:lnTo>
                      <a:pt x="222" y="566"/>
                    </a:lnTo>
                    <a:lnTo>
                      <a:pt x="228" y="560"/>
                    </a:lnTo>
                    <a:lnTo>
                      <a:pt x="236" y="554"/>
                    </a:lnTo>
                    <a:lnTo>
                      <a:pt x="242" y="546"/>
                    </a:lnTo>
                    <a:lnTo>
                      <a:pt x="246" y="540"/>
                    </a:lnTo>
                    <a:lnTo>
                      <a:pt x="252" y="524"/>
                    </a:lnTo>
                    <a:lnTo>
                      <a:pt x="256" y="506"/>
                    </a:lnTo>
                    <a:lnTo>
                      <a:pt x="258" y="488"/>
                    </a:lnTo>
                    <a:lnTo>
                      <a:pt x="258" y="472"/>
                    </a:lnTo>
                    <a:lnTo>
                      <a:pt x="258" y="102"/>
                    </a:lnTo>
                    <a:lnTo>
                      <a:pt x="258" y="102"/>
                    </a:lnTo>
                    <a:lnTo>
                      <a:pt x="258" y="86"/>
                    </a:lnTo>
                    <a:lnTo>
                      <a:pt x="256" y="70"/>
                    </a:lnTo>
                    <a:lnTo>
                      <a:pt x="252" y="52"/>
                    </a:lnTo>
                    <a:lnTo>
                      <a:pt x="246" y="36"/>
                    </a:lnTo>
                    <a:lnTo>
                      <a:pt x="242" y="28"/>
                    </a:lnTo>
                    <a:lnTo>
                      <a:pt x="236" y="22"/>
                    </a:lnTo>
                    <a:lnTo>
                      <a:pt x="228" y="16"/>
                    </a:lnTo>
                    <a:lnTo>
                      <a:pt x="222" y="10"/>
                    </a:lnTo>
                    <a:lnTo>
                      <a:pt x="212" y="6"/>
                    </a:lnTo>
                    <a:lnTo>
                      <a:pt x="202" y="2"/>
                    </a:lnTo>
                    <a:lnTo>
                      <a:pt x="188" y="0"/>
                    </a:lnTo>
                    <a:lnTo>
                      <a:pt x="17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27" name="Freeform 9"/>
              <p:cNvSpPr>
                <a:spLocks/>
              </p:cNvSpPr>
              <p:nvPr userDrawn="1"/>
            </p:nvSpPr>
            <p:spPr bwMode="auto">
              <a:xfrm>
                <a:off x="1428" y="1657"/>
                <a:ext cx="214" cy="576"/>
              </a:xfrm>
              <a:custGeom>
                <a:avLst/>
                <a:gdLst>
                  <a:gd name="T0" fmla="*/ 0 w 214"/>
                  <a:gd name="T1" fmla="*/ 0 h 576"/>
                  <a:gd name="T2" fmla="*/ 214 w 214"/>
                  <a:gd name="T3" fmla="*/ 0 h 576"/>
                  <a:gd name="T4" fmla="*/ 214 w 214"/>
                  <a:gd name="T5" fmla="*/ 72 h 576"/>
                  <a:gd name="T6" fmla="*/ 112 w 214"/>
                  <a:gd name="T7" fmla="*/ 72 h 576"/>
                  <a:gd name="T8" fmla="*/ 112 w 214"/>
                  <a:gd name="T9" fmla="*/ 576 h 576"/>
                  <a:gd name="T10" fmla="*/ 0 w 214"/>
                  <a:gd name="T11" fmla="*/ 576 h 576"/>
                  <a:gd name="T12" fmla="*/ 0 w 214"/>
                  <a:gd name="T13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576">
                    <a:moveTo>
                      <a:pt x="0" y="0"/>
                    </a:moveTo>
                    <a:lnTo>
                      <a:pt x="214" y="0"/>
                    </a:lnTo>
                    <a:lnTo>
                      <a:pt x="214" y="72"/>
                    </a:lnTo>
                    <a:lnTo>
                      <a:pt x="112" y="72"/>
                    </a:lnTo>
                    <a:lnTo>
                      <a:pt x="112" y="576"/>
                    </a:lnTo>
                    <a:lnTo>
                      <a:pt x="0" y="57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7" name="Freeform 10"/>
              <p:cNvSpPr>
                <a:spLocks noEditPoints="1"/>
              </p:cNvSpPr>
              <p:nvPr userDrawn="1"/>
            </p:nvSpPr>
            <p:spPr bwMode="auto">
              <a:xfrm>
                <a:off x="1658" y="1657"/>
                <a:ext cx="292" cy="576"/>
              </a:xfrm>
              <a:custGeom>
                <a:avLst/>
                <a:gdLst>
                  <a:gd name="T0" fmla="*/ 0 w 292"/>
                  <a:gd name="T1" fmla="*/ 576 h 576"/>
                  <a:gd name="T2" fmla="*/ 110 w 292"/>
                  <a:gd name="T3" fmla="*/ 576 h 576"/>
                  <a:gd name="T4" fmla="*/ 120 w 292"/>
                  <a:gd name="T5" fmla="*/ 422 h 576"/>
                  <a:gd name="T6" fmla="*/ 172 w 292"/>
                  <a:gd name="T7" fmla="*/ 422 h 576"/>
                  <a:gd name="T8" fmla="*/ 182 w 292"/>
                  <a:gd name="T9" fmla="*/ 576 h 576"/>
                  <a:gd name="T10" fmla="*/ 292 w 292"/>
                  <a:gd name="T11" fmla="*/ 576 h 576"/>
                  <a:gd name="T12" fmla="*/ 234 w 292"/>
                  <a:gd name="T13" fmla="*/ 0 h 576"/>
                  <a:gd name="T14" fmla="*/ 58 w 292"/>
                  <a:gd name="T15" fmla="*/ 0 h 576"/>
                  <a:gd name="T16" fmla="*/ 0 w 292"/>
                  <a:gd name="T17" fmla="*/ 576 h 576"/>
                  <a:gd name="T18" fmla="*/ 124 w 292"/>
                  <a:gd name="T19" fmla="*/ 360 h 576"/>
                  <a:gd name="T20" fmla="*/ 144 w 292"/>
                  <a:gd name="T21" fmla="*/ 72 h 576"/>
                  <a:gd name="T22" fmla="*/ 150 w 292"/>
                  <a:gd name="T23" fmla="*/ 72 h 576"/>
                  <a:gd name="T24" fmla="*/ 168 w 292"/>
                  <a:gd name="T25" fmla="*/ 360 h 576"/>
                  <a:gd name="T26" fmla="*/ 124 w 292"/>
                  <a:gd name="T27" fmla="*/ 36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2" h="576">
                    <a:moveTo>
                      <a:pt x="0" y="576"/>
                    </a:moveTo>
                    <a:lnTo>
                      <a:pt x="110" y="576"/>
                    </a:lnTo>
                    <a:lnTo>
                      <a:pt x="120" y="422"/>
                    </a:lnTo>
                    <a:lnTo>
                      <a:pt x="172" y="422"/>
                    </a:lnTo>
                    <a:lnTo>
                      <a:pt x="182" y="576"/>
                    </a:lnTo>
                    <a:lnTo>
                      <a:pt x="292" y="576"/>
                    </a:lnTo>
                    <a:lnTo>
                      <a:pt x="234" y="0"/>
                    </a:lnTo>
                    <a:lnTo>
                      <a:pt x="58" y="0"/>
                    </a:lnTo>
                    <a:lnTo>
                      <a:pt x="0" y="576"/>
                    </a:lnTo>
                    <a:close/>
                    <a:moveTo>
                      <a:pt x="124" y="360"/>
                    </a:moveTo>
                    <a:lnTo>
                      <a:pt x="144" y="72"/>
                    </a:lnTo>
                    <a:lnTo>
                      <a:pt x="150" y="72"/>
                    </a:lnTo>
                    <a:lnTo>
                      <a:pt x="168" y="360"/>
                    </a:lnTo>
                    <a:lnTo>
                      <a:pt x="124" y="3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8" name="Freeform 11"/>
              <p:cNvSpPr>
                <a:spLocks/>
              </p:cNvSpPr>
              <p:nvPr userDrawn="1"/>
            </p:nvSpPr>
            <p:spPr bwMode="auto">
              <a:xfrm>
                <a:off x="1998" y="1657"/>
                <a:ext cx="260" cy="576"/>
              </a:xfrm>
              <a:custGeom>
                <a:avLst/>
                <a:gdLst>
                  <a:gd name="T0" fmla="*/ 112 w 260"/>
                  <a:gd name="T1" fmla="*/ 482 h 576"/>
                  <a:gd name="T2" fmla="*/ 114 w 260"/>
                  <a:gd name="T3" fmla="*/ 492 h 576"/>
                  <a:gd name="T4" fmla="*/ 124 w 260"/>
                  <a:gd name="T5" fmla="*/ 500 h 576"/>
                  <a:gd name="T6" fmla="*/ 130 w 260"/>
                  <a:gd name="T7" fmla="*/ 502 h 576"/>
                  <a:gd name="T8" fmla="*/ 142 w 260"/>
                  <a:gd name="T9" fmla="*/ 496 h 576"/>
                  <a:gd name="T10" fmla="*/ 148 w 260"/>
                  <a:gd name="T11" fmla="*/ 482 h 576"/>
                  <a:gd name="T12" fmla="*/ 148 w 260"/>
                  <a:gd name="T13" fmla="*/ 348 h 576"/>
                  <a:gd name="T14" fmla="*/ 144 w 260"/>
                  <a:gd name="T15" fmla="*/ 328 h 576"/>
                  <a:gd name="T16" fmla="*/ 136 w 260"/>
                  <a:gd name="T17" fmla="*/ 318 h 576"/>
                  <a:gd name="T18" fmla="*/ 116 w 260"/>
                  <a:gd name="T19" fmla="*/ 312 h 576"/>
                  <a:gd name="T20" fmla="*/ 58 w 260"/>
                  <a:gd name="T21" fmla="*/ 310 h 576"/>
                  <a:gd name="T22" fmla="*/ 104 w 260"/>
                  <a:gd name="T23" fmla="*/ 248 h 576"/>
                  <a:gd name="T24" fmla="*/ 124 w 260"/>
                  <a:gd name="T25" fmla="*/ 246 h 576"/>
                  <a:gd name="T26" fmla="*/ 138 w 260"/>
                  <a:gd name="T27" fmla="*/ 240 h 576"/>
                  <a:gd name="T28" fmla="*/ 146 w 260"/>
                  <a:gd name="T29" fmla="*/ 226 h 576"/>
                  <a:gd name="T30" fmla="*/ 148 w 260"/>
                  <a:gd name="T31" fmla="*/ 204 h 576"/>
                  <a:gd name="T32" fmla="*/ 148 w 260"/>
                  <a:gd name="T33" fmla="*/ 90 h 576"/>
                  <a:gd name="T34" fmla="*/ 142 w 260"/>
                  <a:gd name="T35" fmla="*/ 78 h 576"/>
                  <a:gd name="T36" fmla="*/ 130 w 260"/>
                  <a:gd name="T37" fmla="*/ 72 h 576"/>
                  <a:gd name="T38" fmla="*/ 124 w 260"/>
                  <a:gd name="T39" fmla="*/ 72 h 576"/>
                  <a:gd name="T40" fmla="*/ 114 w 260"/>
                  <a:gd name="T41" fmla="*/ 82 h 576"/>
                  <a:gd name="T42" fmla="*/ 112 w 260"/>
                  <a:gd name="T43" fmla="*/ 184 h 576"/>
                  <a:gd name="T44" fmla="*/ 0 w 260"/>
                  <a:gd name="T45" fmla="*/ 102 h 576"/>
                  <a:gd name="T46" fmla="*/ 0 w 260"/>
                  <a:gd name="T47" fmla="*/ 86 h 576"/>
                  <a:gd name="T48" fmla="*/ 6 w 260"/>
                  <a:gd name="T49" fmla="*/ 52 h 576"/>
                  <a:gd name="T50" fmla="*/ 18 w 260"/>
                  <a:gd name="T51" fmla="*/ 28 h 576"/>
                  <a:gd name="T52" fmla="*/ 30 w 260"/>
                  <a:gd name="T53" fmla="*/ 16 h 576"/>
                  <a:gd name="T54" fmla="*/ 46 w 260"/>
                  <a:gd name="T55" fmla="*/ 6 h 576"/>
                  <a:gd name="T56" fmla="*/ 70 w 260"/>
                  <a:gd name="T57" fmla="*/ 0 h 576"/>
                  <a:gd name="T58" fmla="*/ 176 w 260"/>
                  <a:gd name="T59" fmla="*/ 0 h 576"/>
                  <a:gd name="T60" fmla="*/ 190 w 260"/>
                  <a:gd name="T61" fmla="*/ 0 h 576"/>
                  <a:gd name="T62" fmla="*/ 214 w 260"/>
                  <a:gd name="T63" fmla="*/ 6 h 576"/>
                  <a:gd name="T64" fmla="*/ 230 w 260"/>
                  <a:gd name="T65" fmla="*/ 16 h 576"/>
                  <a:gd name="T66" fmla="*/ 242 w 260"/>
                  <a:gd name="T67" fmla="*/ 28 h 576"/>
                  <a:gd name="T68" fmla="*/ 254 w 260"/>
                  <a:gd name="T69" fmla="*/ 52 h 576"/>
                  <a:gd name="T70" fmla="*/ 260 w 260"/>
                  <a:gd name="T71" fmla="*/ 86 h 576"/>
                  <a:gd name="T72" fmla="*/ 260 w 260"/>
                  <a:gd name="T73" fmla="*/ 194 h 576"/>
                  <a:gd name="T74" fmla="*/ 258 w 260"/>
                  <a:gd name="T75" fmla="*/ 216 h 576"/>
                  <a:gd name="T76" fmla="*/ 244 w 260"/>
                  <a:gd name="T77" fmla="*/ 248 h 576"/>
                  <a:gd name="T78" fmla="*/ 222 w 260"/>
                  <a:gd name="T79" fmla="*/ 266 h 576"/>
                  <a:gd name="T80" fmla="*/ 196 w 260"/>
                  <a:gd name="T81" fmla="*/ 272 h 576"/>
                  <a:gd name="T82" fmla="*/ 184 w 260"/>
                  <a:gd name="T83" fmla="*/ 278 h 576"/>
                  <a:gd name="T84" fmla="*/ 196 w 260"/>
                  <a:gd name="T85" fmla="*/ 280 h 576"/>
                  <a:gd name="T86" fmla="*/ 218 w 260"/>
                  <a:gd name="T87" fmla="*/ 284 h 576"/>
                  <a:gd name="T88" fmla="*/ 234 w 260"/>
                  <a:gd name="T89" fmla="*/ 292 h 576"/>
                  <a:gd name="T90" fmla="*/ 250 w 260"/>
                  <a:gd name="T91" fmla="*/ 310 h 576"/>
                  <a:gd name="T92" fmla="*/ 258 w 260"/>
                  <a:gd name="T93" fmla="*/ 336 h 576"/>
                  <a:gd name="T94" fmla="*/ 260 w 260"/>
                  <a:gd name="T95" fmla="*/ 472 h 576"/>
                  <a:gd name="T96" fmla="*/ 260 w 260"/>
                  <a:gd name="T97" fmla="*/ 488 h 576"/>
                  <a:gd name="T98" fmla="*/ 254 w 260"/>
                  <a:gd name="T99" fmla="*/ 522 h 576"/>
                  <a:gd name="T100" fmla="*/ 242 w 260"/>
                  <a:gd name="T101" fmla="*/ 546 h 576"/>
                  <a:gd name="T102" fmla="*/ 230 w 260"/>
                  <a:gd name="T103" fmla="*/ 560 h 576"/>
                  <a:gd name="T104" fmla="*/ 214 w 260"/>
                  <a:gd name="T105" fmla="*/ 570 h 576"/>
                  <a:gd name="T106" fmla="*/ 190 w 260"/>
                  <a:gd name="T107" fmla="*/ 574 h 576"/>
                  <a:gd name="T108" fmla="*/ 84 w 260"/>
                  <a:gd name="T109" fmla="*/ 576 h 576"/>
                  <a:gd name="T110" fmla="*/ 70 w 260"/>
                  <a:gd name="T111" fmla="*/ 574 h 576"/>
                  <a:gd name="T112" fmla="*/ 46 w 260"/>
                  <a:gd name="T113" fmla="*/ 570 h 576"/>
                  <a:gd name="T114" fmla="*/ 30 w 260"/>
                  <a:gd name="T115" fmla="*/ 560 h 576"/>
                  <a:gd name="T116" fmla="*/ 18 w 260"/>
                  <a:gd name="T117" fmla="*/ 546 h 576"/>
                  <a:gd name="T118" fmla="*/ 6 w 260"/>
                  <a:gd name="T119" fmla="*/ 522 h 576"/>
                  <a:gd name="T120" fmla="*/ 0 w 260"/>
                  <a:gd name="T121" fmla="*/ 488 h 576"/>
                  <a:gd name="T122" fmla="*/ 0 w 260"/>
                  <a:gd name="T123" fmla="*/ 374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60" h="576">
                    <a:moveTo>
                      <a:pt x="112" y="374"/>
                    </a:moveTo>
                    <a:lnTo>
                      <a:pt x="112" y="482"/>
                    </a:lnTo>
                    <a:lnTo>
                      <a:pt x="112" y="482"/>
                    </a:lnTo>
                    <a:lnTo>
                      <a:pt x="114" y="492"/>
                    </a:lnTo>
                    <a:lnTo>
                      <a:pt x="118" y="498"/>
                    </a:lnTo>
                    <a:lnTo>
                      <a:pt x="124" y="500"/>
                    </a:lnTo>
                    <a:lnTo>
                      <a:pt x="130" y="502"/>
                    </a:lnTo>
                    <a:lnTo>
                      <a:pt x="130" y="502"/>
                    </a:lnTo>
                    <a:lnTo>
                      <a:pt x="138" y="500"/>
                    </a:lnTo>
                    <a:lnTo>
                      <a:pt x="142" y="496"/>
                    </a:lnTo>
                    <a:lnTo>
                      <a:pt x="146" y="490"/>
                    </a:lnTo>
                    <a:lnTo>
                      <a:pt x="148" y="482"/>
                    </a:lnTo>
                    <a:lnTo>
                      <a:pt x="148" y="348"/>
                    </a:lnTo>
                    <a:lnTo>
                      <a:pt x="148" y="348"/>
                    </a:lnTo>
                    <a:lnTo>
                      <a:pt x="146" y="336"/>
                    </a:lnTo>
                    <a:lnTo>
                      <a:pt x="144" y="328"/>
                    </a:lnTo>
                    <a:lnTo>
                      <a:pt x="140" y="322"/>
                    </a:lnTo>
                    <a:lnTo>
                      <a:pt x="136" y="318"/>
                    </a:lnTo>
                    <a:lnTo>
                      <a:pt x="128" y="314"/>
                    </a:lnTo>
                    <a:lnTo>
                      <a:pt x="116" y="312"/>
                    </a:lnTo>
                    <a:lnTo>
                      <a:pt x="102" y="310"/>
                    </a:lnTo>
                    <a:lnTo>
                      <a:pt x="58" y="310"/>
                    </a:lnTo>
                    <a:lnTo>
                      <a:pt x="58" y="248"/>
                    </a:lnTo>
                    <a:lnTo>
                      <a:pt x="104" y="248"/>
                    </a:lnTo>
                    <a:lnTo>
                      <a:pt x="104" y="248"/>
                    </a:lnTo>
                    <a:lnTo>
                      <a:pt x="124" y="246"/>
                    </a:lnTo>
                    <a:lnTo>
                      <a:pt x="132" y="244"/>
                    </a:lnTo>
                    <a:lnTo>
                      <a:pt x="138" y="240"/>
                    </a:lnTo>
                    <a:lnTo>
                      <a:pt x="142" y="234"/>
                    </a:lnTo>
                    <a:lnTo>
                      <a:pt x="146" y="226"/>
                    </a:lnTo>
                    <a:lnTo>
                      <a:pt x="146" y="216"/>
                    </a:lnTo>
                    <a:lnTo>
                      <a:pt x="148" y="204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46" y="84"/>
                    </a:lnTo>
                    <a:lnTo>
                      <a:pt x="142" y="78"/>
                    </a:lnTo>
                    <a:lnTo>
                      <a:pt x="138" y="74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4" y="72"/>
                    </a:lnTo>
                    <a:lnTo>
                      <a:pt x="118" y="76"/>
                    </a:lnTo>
                    <a:lnTo>
                      <a:pt x="114" y="82"/>
                    </a:lnTo>
                    <a:lnTo>
                      <a:pt x="112" y="90"/>
                    </a:lnTo>
                    <a:lnTo>
                      <a:pt x="112" y="184"/>
                    </a:lnTo>
                    <a:lnTo>
                      <a:pt x="0" y="184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86"/>
                    </a:lnTo>
                    <a:lnTo>
                      <a:pt x="2" y="70"/>
                    </a:lnTo>
                    <a:lnTo>
                      <a:pt x="6" y="52"/>
                    </a:lnTo>
                    <a:lnTo>
                      <a:pt x="12" y="36"/>
                    </a:lnTo>
                    <a:lnTo>
                      <a:pt x="18" y="28"/>
                    </a:lnTo>
                    <a:lnTo>
                      <a:pt x="22" y="22"/>
                    </a:lnTo>
                    <a:lnTo>
                      <a:pt x="30" y="16"/>
                    </a:lnTo>
                    <a:lnTo>
                      <a:pt x="38" y="10"/>
                    </a:lnTo>
                    <a:lnTo>
                      <a:pt x="46" y="6"/>
                    </a:lnTo>
                    <a:lnTo>
                      <a:pt x="58" y="2"/>
                    </a:lnTo>
                    <a:lnTo>
                      <a:pt x="70" y="0"/>
                    </a:lnTo>
                    <a:lnTo>
                      <a:pt x="84" y="0"/>
                    </a:lnTo>
                    <a:lnTo>
                      <a:pt x="176" y="0"/>
                    </a:lnTo>
                    <a:lnTo>
                      <a:pt x="176" y="0"/>
                    </a:lnTo>
                    <a:lnTo>
                      <a:pt x="190" y="0"/>
                    </a:lnTo>
                    <a:lnTo>
                      <a:pt x="202" y="2"/>
                    </a:lnTo>
                    <a:lnTo>
                      <a:pt x="214" y="6"/>
                    </a:lnTo>
                    <a:lnTo>
                      <a:pt x="222" y="10"/>
                    </a:lnTo>
                    <a:lnTo>
                      <a:pt x="230" y="16"/>
                    </a:lnTo>
                    <a:lnTo>
                      <a:pt x="238" y="22"/>
                    </a:lnTo>
                    <a:lnTo>
                      <a:pt x="242" y="28"/>
                    </a:lnTo>
                    <a:lnTo>
                      <a:pt x="248" y="36"/>
                    </a:lnTo>
                    <a:lnTo>
                      <a:pt x="254" y="52"/>
                    </a:lnTo>
                    <a:lnTo>
                      <a:pt x="258" y="70"/>
                    </a:lnTo>
                    <a:lnTo>
                      <a:pt x="260" y="86"/>
                    </a:lnTo>
                    <a:lnTo>
                      <a:pt x="260" y="102"/>
                    </a:lnTo>
                    <a:lnTo>
                      <a:pt x="260" y="194"/>
                    </a:lnTo>
                    <a:lnTo>
                      <a:pt x="260" y="194"/>
                    </a:lnTo>
                    <a:lnTo>
                      <a:pt x="258" y="216"/>
                    </a:lnTo>
                    <a:lnTo>
                      <a:pt x="252" y="234"/>
                    </a:lnTo>
                    <a:lnTo>
                      <a:pt x="244" y="248"/>
                    </a:lnTo>
                    <a:lnTo>
                      <a:pt x="234" y="258"/>
                    </a:lnTo>
                    <a:lnTo>
                      <a:pt x="222" y="266"/>
                    </a:lnTo>
                    <a:lnTo>
                      <a:pt x="210" y="270"/>
                    </a:lnTo>
                    <a:lnTo>
                      <a:pt x="196" y="272"/>
                    </a:lnTo>
                    <a:lnTo>
                      <a:pt x="184" y="272"/>
                    </a:lnTo>
                    <a:lnTo>
                      <a:pt x="184" y="278"/>
                    </a:lnTo>
                    <a:lnTo>
                      <a:pt x="184" y="278"/>
                    </a:lnTo>
                    <a:lnTo>
                      <a:pt x="196" y="280"/>
                    </a:lnTo>
                    <a:lnTo>
                      <a:pt x="208" y="280"/>
                    </a:lnTo>
                    <a:lnTo>
                      <a:pt x="218" y="284"/>
                    </a:lnTo>
                    <a:lnTo>
                      <a:pt x="228" y="288"/>
                    </a:lnTo>
                    <a:lnTo>
                      <a:pt x="234" y="292"/>
                    </a:lnTo>
                    <a:lnTo>
                      <a:pt x="240" y="298"/>
                    </a:lnTo>
                    <a:lnTo>
                      <a:pt x="250" y="310"/>
                    </a:lnTo>
                    <a:lnTo>
                      <a:pt x="256" y="322"/>
                    </a:lnTo>
                    <a:lnTo>
                      <a:pt x="258" y="336"/>
                    </a:lnTo>
                    <a:lnTo>
                      <a:pt x="260" y="358"/>
                    </a:lnTo>
                    <a:lnTo>
                      <a:pt x="260" y="472"/>
                    </a:lnTo>
                    <a:lnTo>
                      <a:pt x="260" y="472"/>
                    </a:lnTo>
                    <a:lnTo>
                      <a:pt x="260" y="488"/>
                    </a:lnTo>
                    <a:lnTo>
                      <a:pt x="258" y="506"/>
                    </a:lnTo>
                    <a:lnTo>
                      <a:pt x="254" y="522"/>
                    </a:lnTo>
                    <a:lnTo>
                      <a:pt x="248" y="540"/>
                    </a:lnTo>
                    <a:lnTo>
                      <a:pt x="242" y="546"/>
                    </a:lnTo>
                    <a:lnTo>
                      <a:pt x="238" y="554"/>
                    </a:lnTo>
                    <a:lnTo>
                      <a:pt x="230" y="560"/>
                    </a:lnTo>
                    <a:lnTo>
                      <a:pt x="222" y="566"/>
                    </a:lnTo>
                    <a:lnTo>
                      <a:pt x="214" y="570"/>
                    </a:lnTo>
                    <a:lnTo>
                      <a:pt x="202" y="572"/>
                    </a:lnTo>
                    <a:lnTo>
                      <a:pt x="190" y="574"/>
                    </a:lnTo>
                    <a:lnTo>
                      <a:pt x="176" y="576"/>
                    </a:lnTo>
                    <a:lnTo>
                      <a:pt x="84" y="576"/>
                    </a:lnTo>
                    <a:lnTo>
                      <a:pt x="84" y="576"/>
                    </a:lnTo>
                    <a:lnTo>
                      <a:pt x="70" y="574"/>
                    </a:lnTo>
                    <a:lnTo>
                      <a:pt x="58" y="572"/>
                    </a:lnTo>
                    <a:lnTo>
                      <a:pt x="46" y="570"/>
                    </a:lnTo>
                    <a:lnTo>
                      <a:pt x="38" y="566"/>
                    </a:lnTo>
                    <a:lnTo>
                      <a:pt x="30" y="560"/>
                    </a:lnTo>
                    <a:lnTo>
                      <a:pt x="22" y="554"/>
                    </a:lnTo>
                    <a:lnTo>
                      <a:pt x="18" y="546"/>
                    </a:lnTo>
                    <a:lnTo>
                      <a:pt x="12" y="540"/>
                    </a:lnTo>
                    <a:lnTo>
                      <a:pt x="6" y="522"/>
                    </a:lnTo>
                    <a:lnTo>
                      <a:pt x="2" y="506"/>
                    </a:lnTo>
                    <a:lnTo>
                      <a:pt x="0" y="488"/>
                    </a:lnTo>
                    <a:lnTo>
                      <a:pt x="0" y="472"/>
                    </a:lnTo>
                    <a:lnTo>
                      <a:pt x="0" y="374"/>
                    </a:lnTo>
                    <a:lnTo>
                      <a:pt x="112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55" name="Freeform 12"/>
              <p:cNvSpPr>
                <a:spLocks/>
              </p:cNvSpPr>
              <p:nvPr userDrawn="1"/>
            </p:nvSpPr>
            <p:spPr bwMode="auto">
              <a:xfrm>
                <a:off x="2332" y="1657"/>
                <a:ext cx="258" cy="576"/>
              </a:xfrm>
              <a:custGeom>
                <a:avLst/>
                <a:gdLst>
                  <a:gd name="T0" fmla="*/ 0 w 258"/>
                  <a:gd name="T1" fmla="*/ 0 h 576"/>
                  <a:gd name="T2" fmla="*/ 258 w 258"/>
                  <a:gd name="T3" fmla="*/ 0 h 576"/>
                  <a:gd name="T4" fmla="*/ 258 w 258"/>
                  <a:gd name="T5" fmla="*/ 576 h 576"/>
                  <a:gd name="T6" fmla="*/ 154 w 258"/>
                  <a:gd name="T7" fmla="*/ 576 h 576"/>
                  <a:gd name="T8" fmla="*/ 154 w 258"/>
                  <a:gd name="T9" fmla="*/ 72 h 576"/>
                  <a:gd name="T10" fmla="*/ 104 w 258"/>
                  <a:gd name="T11" fmla="*/ 72 h 576"/>
                  <a:gd name="T12" fmla="*/ 104 w 258"/>
                  <a:gd name="T13" fmla="*/ 576 h 576"/>
                  <a:gd name="T14" fmla="*/ 0 w 258"/>
                  <a:gd name="T15" fmla="*/ 576 h 576"/>
                  <a:gd name="T16" fmla="*/ 0 w 258"/>
                  <a:gd name="T17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576">
                    <a:moveTo>
                      <a:pt x="0" y="0"/>
                    </a:moveTo>
                    <a:lnTo>
                      <a:pt x="258" y="0"/>
                    </a:lnTo>
                    <a:lnTo>
                      <a:pt x="258" y="576"/>
                    </a:lnTo>
                    <a:lnTo>
                      <a:pt x="154" y="576"/>
                    </a:lnTo>
                    <a:lnTo>
                      <a:pt x="154" y="72"/>
                    </a:lnTo>
                    <a:lnTo>
                      <a:pt x="104" y="72"/>
                    </a:lnTo>
                    <a:lnTo>
                      <a:pt x="104" y="576"/>
                    </a:lnTo>
                    <a:lnTo>
                      <a:pt x="0" y="57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56" name="Freeform 13"/>
              <p:cNvSpPr>
                <a:spLocks noEditPoints="1"/>
              </p:cNvSpPr>
              <p:nvPr userDrawn="1"/>
            </p:nvSpPr>
            <p:spPr bwMode="auto">
              <a:xfrm>
                <a:off x="2670" y="1657"/>
                <a:ext cx="268" cy="576"/>
              </a:xfrm>
              <a:custGeom>
                <a:avLst/>
                <a:gdLst>
                  <a:gd name="T0" fmla="*/ 0 w 268"/>
                  <a:gd name="T1" fmla="*/ 576 h 576"/>
                  <a:gd name="T2" fmla="*/ 112 w 268"/>
                  <a:gd name="T3" fmla="*/ 576 h 576"/>
                  <a:gd name="T4" fmla="*/ 112 w 268"/>
                  <a:gd name="T5" fmla="*/ 380 h 576"/>
                  <a:gd name="T6" fmla="*/ 176 w 268"/>
                  <a:gd name="T7" fmla="*/ 380 h 576"/>
                  <a:gd name="T8" fmla="*/ 176 w 268"/>
                  <a:gd name="T9" fmla="*/ 380 h 576"/>
                  <a:gd name="T10" fmla="*/ 190 w 268"/>
                  <a:gd name="T11" fmla="*/ 380 h 576"/>
                  <a:gd name="T12" fmla="*/ 202 w 268"/>
                  <a:gd name="T13" fmla="*/ 378 h 576"/>
                  <a:gd name="T14" fmla="*/ 214 w 268"/>
                  <a:gd name="T15" fmla="*/ 374 h 576"/>
                  <a:gd name="T16" fmla="*/ 224 w 268"/>
                  <a:gd name="T17" fmla="*/ 370 h 576"/>
                  <a:gd name="T18" fmla="*/ 232 w 268"/>
                  <a:gd name="T19" fmla="*/ 364 h 576"/>
                  <a:gd name="T20" fmla="*/ 240 w 268"/>
                  <a:gd name="T21" fmla="*/ 358 h 576"/>
                  <a:gd name="T22" fmla="*/ 252 w 268"/>
                  <a:gd name="T23" fmla="*/ 344 h 576"/>
                  <a:gd name="T24" fmla="*/ 260 w 268"/>
                  <a:gd name="T25" fmla="*/ 328 h 576"/>
                  <a:gd name="T26" fmla="*/ 264 w 268"/>
                  <a:gd name="T27" fmla="*/ 310 h 576"/>
                  <a:gd name="T28" fmla="*/ 266 w 268"/>
                  <a:gd name="T29" fmla="*/ 294 h 576"/>
                  <a:gd name="T30" fmla="*/ 268 w 268"/>
                  <a:gd name="T31" fmla="*/ 278 h 576"/>
                  <a:gd name="T32" fmla="*/ 268 w 268"/>
                  <a:gd name="T33" fmla="*/ 102 h 576"/>
                  <a:gd name="T34" fmla="*/ 268 w 268"/>
                  <a:gd name="T35" fmla="*/ 102 h 576"/>
                  <a:gd name="T36" fmla="*/ 266 w 268"/>
                  <a:gd name="T37" fmla="*/ 86 h 576"/>
                  <a:gd name="T38" fmla="*/ 264 w 268"/>
                  <a:gd name="T39" fmla="*/ 70 h 576"/>
                  <a:gd name="T40" fmla="*/ 260 w 268"/>
                  <a:gd name="T41" fmla="*/ 52 h 576"/>
                  <a:gd name="T42" fmla="*/ 252 w 268"/>
                  <a:gd name="T43" fmla="*/ 36 h 576"/>
                  <a:gd name="T44" fmla="*/ 240 w 268"/>
                  <a:gd name="T45" fmla="*/ 22 h 576"/>
                  <a:gd name="T46" fmla="*/ 232 w 268"/>
                  <a:gd name="T47" fmla="*/ 16 h 576"/>
                  <a:gd name="T48" fmla="*/ 224 w 268"/>
                  <a:gd name="T49" fmla="*/ 10 h 576"/>
                  <a:gd name="T50" fmla="*/ 214 w 268"/>
                  <a:gd name="T51" fmla="*/ 6 h 576"/>
                  <a:gd name="T52" fmla="*/ 202 w 268"/>
                  <a:gd name="T53" fmla="*/ 2 h 576"/>
                  <a:gd name="T54" fmla="*/ 190 w 268"/>
                  <a:gd name="T55" fmla="*/ 0 h 576"/>
                  <a:gd name="T56" fmla="*/ 176 w 268"/>
                  <a:gd name="T57" fmla="*/ 0 h 576"/>
                  <a:gd name="T58" fmla="*/ 0 w 268"/>
                  <a:gd name="T59" fmla="*/ 0 h 576"/>
                  <a:gd name="T60" fmla="*/ 0 w 268"/>
                  <a:gd name="T61" fmla="*/ 576 h 576"/>
                  <a:gd name="T62" fmla="*/ 112 w 268"/>
                  <a:gd name="T63" fmla="*/ 316 h 576"/>
                  <a:gd name="T64" fmla="*/ 112 w 268"/>
                  <a:gd name="T65" fmla="*/ 72 h 576"/>
                  <a:gd name="T66" fmla="*/ 142 w 268"/>
                  <a:gd name="T67" fmla="*/ 72 h 576"/>
                  <a:gd name="T68" fmla="*/ 142 w 268"/>
                  <a:gd name="T69" fmla="*/ 72 h 576"/>
                  <a:gd name="T70" fmla="*/ 150 w 268"/>
                  <a:gd name="T71" fmla="*/ 74 h 576"/>
                  <a:gd name="T72" fmla="*/ 156 w 268"/>
                  <a:gd name="T73" fmla="*/ 80 h 576"/>
                  <a:gd name="T74" fmla="*/ 162 w 268"/>
                  <a:gd name="T75" fmla="*/ 88 h 576"/>
                  <a:gd name="T76" fmla="*/ 162 w 268"/>
                  <a:gd name="T77" fmla="*/ 100 h 576"/>
                  <a:gd name="T78" fmla="*/ 162 w 268"/>
                  <a:gd name="T79" fmla="*/ 288 h 576"/>
                  <a:gd name="T80" fmla="*/ 162 w 268"/>
                  <a:gd name="T81" fmla="*/ 288 h 576"/>
                  <a:gd name="T82" fmla="*/ 162 w 268"/>
                  <a:gd name="T83" fmla="*/ 300 h 576"/>
                  <a:gd name="T84" fmla="*/ 156 w 268"/>
                  <a:gd name="T85" fmla="*/ 310 h 576"/>
                  <a:gd name="T86" fmla="*/ 150 w 268"/>
                  <a:gd name="T87" fmla="*/ 314 h 576"/>
                  <a:gd name="T88" fmla="*/ 142 w 268"/>
                  <a:gd name="T89" fmla="*/ 316 h 576"/>
                  <a:gd name="T90" fmla="*/ 112 w 268"/>
                  <a:gd name="T91" fmla="*/ 31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68" h="576">
                    <a:moveTo>
                      <a:pt x="0" y="576"/>
                    </a:moveTo>
                    <a:lnTo>
                      <a:pt x="112" y="576"/>
                    </a:lnTo>
                    <a:lnTo>
                      <a:pt x="112" y="380"/>
                    </a:lnTo>
                    <a:lnTo>
                      <a:pt x="176" y="380"/>
                    </a:lnTo>
                    <a:lnTo>
                      <a:pt x="176" y="380"/>
                    </a:lnTo>
                    <a:lnTo>
                      <a:pt x="190" y="380"/>
                    </a:lnTo>
                    <a:lnTo>
                      <a:pt x="202" y="378"/>
                    </a:lnTo>
                    <a:lnTo>
                      <a:pt x="214" y="374"/>
                    </a:lnTo>
                    <a:lnTo>
                      <a:pt x="224" y="370"/>
                    </a:lnTo>
                    <a:lnTo>
                      <a:pt x="232" y="364"/>
                    </a:lnTo>
                    <a:lnTo>
                      <a:pt x="240" y="358"/>
                    </a:lnTo>
                    <a:lnTo>
                      <a:pt x="252" y="344"/>
                    </a:lnTo>
                    <a:lnTo>
                      <a:pt x="260" y="328"/>
                    </a:lnTo>
                    <a:lnTo>
                      <a:pt x="264" y="310"/>
                    </a:lnTo>
                    <a:lnTo>
                      <a:pt x="266" y="294"/>
                    </a:lnTo>
                    <a:lnTo>
                      <a:pt x="268" y="278"/>
                    </a:lnTo>
                    <a:lnTo>
                      <a:pt x="268" y="102"/>
                    </a:lnTo>
                    <a:lnTo>
                      <a:pt x="268" y="102"/>
                    </a:lnTo>
                    <a:lnTo>
                      <a:pt x="266" y="86"/>
                    </a:lnTo>
                    <a:lnTo>
                      <a:pt x="264" y="70"/>
                    </a:lnTo>
                    <a:lnTo>
                      <a:pt x="260" y="52"/>
                    </a:lnTo>
                    <a:lnTo>
                      <a:pt x="252" y="36"/>
                    </a:lnTo>
                    <a:lnTo>
                      <a:pt x="240" y="22"/>
                    </a:lnTo>
                    <a:lnTo>
                      <a:pt x="232" y="16"/>
                    </a:lnTo>
                    <a:lnTo>
                      <a:pt x="224" y="10"/>
                    </a:lnTo>
                    <a:lnTo>
                      <a:pt x="214" y="6"/>
                    </a:lnTo>
                    <a:lnTo>
                      <a:pt x="202" y="2"/>
                    </a:lnTo>
                    <a:lnTo>
                      <a:pt x="190" y="0"/>
                    </a:lnTo>
                    <a:lnTo>
                      <a:pt x="176" y="0"/>
                    </a:lnTo>
                    <a:lnTo>
                      <a:pt x="0" y="0"/>
                    </a:lnTo>
                    <a:lnTo>
                      <a:pt x="0" y="576"/>
                    </a:lnTo>
                    <a:close/>
                    <a:moveTo>
                      <a:pt x="112" y="316"/>
                    </a:moveTo>
                    <a:lnTo>
                      <a:pt x="112" y="72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50" y="74"/>
                    </a:lnTo>
                    <a:lnTo>
                      <a:pt x="156" y="80"/>
                    </a:lnTo>
                    <a:lnTo>
                      <a:pt x="162" y="88"/>
                    </a:lnTo>
                    <a:lnTo>
                      <a:pt x="162" y="100"/>
                    </a:lnTo>
                    <a:lnTo>
                      <a:pt x="162" y="288"/>
                    </a:lnTo>
                    <a:lnTo>
                      <a:pt x="162" y="288"/>
                    </a:lnTo>
                    <a:lnTo>
                      <a:pt x="162" y="300"/>
                    </a:lnTo>
                    <a:lnTo>
                      <a:pt x="156" y="310"/>
                    </a:lnTo>
                    <a:lnTo>
                      <a:pt x="150" y="314"/>
                    </a:lnTo>
                    <a:lnTo>
                      <a:pt x="142" y="316"/>
                    </a:lnTo>
                    <a:lnTo>
                      <a:pt x="112" y="3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57" name="Freeform 14"/>
              <p:cNvSpPr>
                <a:spLocks/>
              </p:cNvSpPr>
              <p:nvPr userDrawn="1"/>
            </p:nvSpPr>
            <p:spPr bwMode="auto">
              <a:xfrm>
                <a:off x="3320" y="1657"/>
                <a:ext cx="436" cy="576"/>
              </a:xfrm>
              <a:custGeom>
                <a:avLst/>
                <a:gdLst>
                  <a:gd name="T0" fmla="*/ 292 w 436"/>
                  <a:gd name="T1" fmla="*/ 0 h 576"/>
                  <a:gd name="T2" fmla="*/ 436 w 436"/>
                  <a:gd name="T3" fmla="*/ 0 h 576"/>
                  <a:gd name="T4" fmla="*/ 436 w 436"/>
                  <a:gd name="T5" fmla="*/ 576 h 576"/>
                  <a:gd name="T6" fmla="*/ 324 w 436"/>
                  <a:gd name="T7" fmla="*/ 576 h 576"/>
                  <a:gd name="T8" fmla="*/ 324 w 436"/>
                  <a:gd name="T9" fmla="*/ 214 h 576"/>
                  <a:gd name="T10" fmla="*/ 320 w 436"/>
                  <a:gd name="T11" fmla="*/ 214 h 576"/>
                  <a:gd name="T12" fmla="*/ 262 w 436"/>
                  <a:gd name="T13" fmla="*/ 576 h 576"/>
                  <a:gd name="T14" fmla="*/ 174 w 436"/>
                  <a:gd name="T15" fmla="*/ 576 h 576"/>
                  <a:gd name="T16" fmla="*/ 116 w 436"/>
                  <a:gd name="T17" fmla="*/ 214 h 576"/>
                  <a:gd name="T18" fmla="*/ 112 w 436"/>
                  <a:gd name="T19" fmla="*/ 214 h 576"/>
                  <a:gd name="T20" fmla="*/ 112 w 436"/>
                  <a:gd name="T21" fmla="*/ 576 h 576"/>
                  <a:gd name="T22" fmla="*/ 0 w 436"/>
                  <a:gd name="T23" fmla="*/ 576 h 576"/>
                  <a:gd name="T24" fmla="*/ 0 w 436"/>
                  <a:gd name="T25" fmla="*/ 0 h 576"/>
                  <a:gd name="T26" fmla="*/ 146 w 436"/>
                  <a:gd name="T27" fmla="*/ 0 h 576"/>
                  <a:gd name="T28" fmla="*/ 218 w 436"/>
                  <a:gd name="T29" fmla="*/ 404 h 576"/>
                  <a:gd name="T30" fmla="*/ 292 w 436"/>
                  <a:gd name="T31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6" h="576">
                    <a:moveTo>
                      <a:pt x="292" y="0"/>
                    </a:moveTo>
                    <a:lnTo>
                      <a:pt x="436" y="0"/>
                    </a:lnTo>
                    <a:lnTo>
                      <a:pt x="436" y="576"/>
                    </a:lnTo>
                    <a:lnTo>
                      <a:pt x="324" y="576"/>
                    </a:lnTo>
                    <a:lnTo>
                      <a:pt x="324" y="214"/>
                    </a:lnTo>
                    <a:lnTo>
                      <a:pt x="320" y="214"/>
                    </a:lnTo>
                    <a:lnTo>
                      <a:pt x="262" y="576"/>
                    </a:lnTo>
                    <a:lnTo>
                      <a:pt x="174" y="576"/>
                    </a:lnTo>
                    <a:lnTo>
                      <a:pt x="116" y="214"/>
                    </a:lnTo>
                    <a:lnTo>
                      <a:pt x="112" y="214"/>
                    </a:lnTo>
                    <a:lnTo>
                      <a:pt x="112" y="576"/>
                    </a:lnTo>
                    <a:lnTo>
                      <a:pt x="0" y="576"/>
                    </a:lnTo>
                    <a:lnTo>
                      <a:pt x="0" y="0"/>
                    </a:lnTo>
                    <a:lnTo>
                      <a:pt x="146" y="0"/>
                    </a:lnTo>
                    <a:lnTo>
                      <a:pt x="218" y="404"/>
                    </a:lnTo>
                    <a:lnTo>
                      <a:pt x="2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58" name="Freeform 15"/>
              <p:cNvSpPr>
                <a:spLocks noEditPoints="1"/>
              </p:cNvSpPr>
              <p:nvPr userDrawn="1"/>
            </p:nvSpPr>
            <p:spPr bwMode="auto">
              <a:xfrm>
                <a:off x="900" y="1159"/>
                <a:ext cx="330" cy="1042"/>
              </a:xfrm>
              <a:custGeom>
                <a:avLst/>
                <a:gdLst>
                  <a:gd name="T0" fmla="*/ 288 w 330"/>
                  <a:gd name="T1" fmla="*/ 600 h 1042"/>
                  <a:gd name="T2" fmla="*/ 272 w 330"/>
                  <a:gd name="T3" fmla="*/ 714 h 1042"/>
                  <a:gd name="T4" fmla="*/ 270 w 330"/>
                  <a:gd name="T5" fmla="*/ 604 h 1042"/>
                  <a:gd name="T6" fmla="*/ 254 w 330"/>
                  <a:gd name="T7" fmla="*/ 490 h 1042"/>
                  <a:gd name="T8" fmla="*/ 216 w 330"/>
                  <a:gd name="T9" fmla="*/ 364 h 1042"/>
                  <a:gd name="T10" fmla="*/ 176 w 330"/>
                  <a:gd name="T11" fmla="*/ 272 h 1042"/>
                  <a:gd name="T12" fmla="*/ 152 w 330"/>
                  <a:gd name="T13" fmla="*/ 272 h 1042"/>
                  <a:gd name="T14" fmla="*/ 92 w 330"/>
                  <a:gd name="T15" fmla="*/ 422 h 1042"/>
                  <a:gd name="T16" fmla="*/ 74 w 330"/>
                  <a:gd name="T17" fmla="*/ 490 h 1042"/>
                  <a:gd name="T18" fmla="*/ 56 w 330"/>
                  <a:gd name="T19" fmla="*/ 624 h 1042"/>
                  <a:gd name="T20" fmla="*/ 54 w 330"/>
                  <a:gd name="T21" fmla="*/ 716 h 1042"/>
                  <a:gd name="T22" fmla="*/ 40 w 330"/>
                  <a:gd name="T23" fmla="*/ 568 h 1042"/>
                  <a:gd name="T24" fmla="*/ 40 w 330"/>
                  <a:gd name="T25" fmla="*/ 498 h 1042"/>
                  <a:gd name="T26" fmla="*/ 52 w 330"/>
                  <a:gd name="T27" fmla="*/ 382 h 1042"/>
                  <a:gd name="T28" fmla="*/ 72 w 330"/>
                  <a:gd name="T29" fmla="*/ 298 h 1042"/>
                  <a:gd name="T30" fmla="*/ 128 w 330"/>
                  <a:gd name="T31" fmla="*/ 148 h 1042"/>
                  <a:gd name="T32" fmla="*/ 164 w 330"/>
                  <a:gd name="T33" fmla="*/ 80 h 1042"/>
                  <a:gd name="T34" fmla="*/ 216 w 330"/>
                  <a:gd name="T35" fmla="*/ 186 h 1042"/>
                  <a:gd name="T36" fmla="*/ 256 w 330"/>
                  <a:gd name="T37" fmla="*/ 296 h 1042"/>
                  <a:gd name="T38" fmla="*/ 274 w 330"/>
                  <a:gd name="T39" fmla="*/ 372 h 1042"/>
                  <a:gd name="T40" fmla="*/ 290 w 330"/>
                  <a:gd name="T41" fmla="*/ 506 h 1042"/>
                  <a:gd name="T42" fmla="*/ 164 w 330"/>
                  <a:gd name="T43" fmla="*/ 1004 h 1042"/>
                  <a:gd name="T44" fmla="*/ 134 w 330"/>
                  <a:gd name="T45" fmla="*/ 932 h 1042"/>
                  <a:gd name="T46" fmla="*/ 120 w 330"/>
                  <a:gd name="T47" fmla="*/ 848 h 1042"/>
                  <a:gd name="T48" fmla="*/ 118 w 330"/>
                  <a:gd name="T49" fmla="*/ 780 h 1042"/>
                  <a:gd name="T50" fmla="*/ 136 w 330"/>
                  <a:gd name="T51" fmla="*/ 692 h 1042"/>
                  <a:gd name="T52" fmla="*/ 164 w 330"/>
                  <a:gd name="T53" fmla="*/ 626 h 1042"/>
                  <a:gd name="T54" fmla="*/ 182 w 330"/>
                  <a:gd name="T55" fmla="*/ 666 h 1042"/>
                  <a:gd name="T56" fmla="*/ 202 w 330"/>
                  <a:gd name="T57" fmla="*/ 740 h 1042"/>
                  <a:gd name="T58" fmla="*/ 210 w 330"/>
                  <a:gd name="T59" fmla="*/ 806 h 1042"/>
                  <a:gd name="T60" fmla="*/ 202 w 330"/>
                  <a:gd name="T61" fmla="*/ 900 h 1042"/>
                  <a:gd name="T62" fmla="*/ 180 w 330"/>
                  <a:gd name="T63" fmla="*/ 972 h 1042"/>
                  <a:gd name="T64" fmla="*/ 300 w 330"/>
                  <a:gd name="T65" fmla="*/ 296 h 1042"/>
                  <a:gd name="T66" fmla="*/ 266 w 330"/>
                  <a:gd name="T67" fmla="*/ 188 h 1042"/>
                  <a:gd name="T68" fmla="*/ 204 w 330"/>
                  <a:gd name="T69" fmla="*/ 62 h 1042"/>
                  <a:gd name="T70" fmla="*/ 164 w 330"/>
                  <a:gd name="T71" fmla="*/ 0 h 1042"/>
                  <a:gd name="T72" fmla="*/ 88 w 330"/>
                  <a:gd name="T73" fmla="*/ 132 h 1042"/>
                  <a:gd name="T74" fmla="*/ 38 w 330"/>
                  <a:gd name="T75" fmla="*/ 260 h 1042"/>
                  <a:gd name="T76" fmla="*/ 14 w 330"/>
                  <a:gd name="T77" fmla="*/ 358 h 1042"/>
                  <a:gd name="T78" fmla="*/ 0 w 330"/>
                  <a:gd name="T79" fmla="*/ 500 h 1042"/>
                  <a:gd name="T80" fmla="*/ 6 w 330"/>
                  <a:gd name="T81" fmla="*/ 634 h 1042"/>
                  <a:gd name="T82" fmla="*/ 22 w 330"/>
                  <a:gd name="T83" fmla="*/ 722 h 1042"/>
                  <a:gd name="T84" fmla="*/ 62 w 330"/>
                  <a:gd name="T85" fmla="*/ 854 h 1042"/>
                  <a:gd name="T86" fmla="*/ 94 w 330"/>
                  <a:gd name="T87" fmla="*/ 924 h 1042"/>
                  <a:gd name="T88" fmla="*/ 164 w 330"/>
                  <a:gd name="T89" fmla="*/ 1042 h 1042"/>
                  <a:gd name="T90" fmla="*/ 202 w 330"/>
                  <a:gd name="T91" fmla="*/ 986 h 1042"/>
                  <a:gd name="T92" fmla="*/ 268 w 330"/>
                  <a:gd name="T93" fmla="*/ 846 h 1042"/>
                  <a:gd name="T94" fmla="*/ 306 w 330"/>
                  <a:gd name="T95" fmla="*/ 722 h 1042"/>
                  <a:gd name="T96" fmla="*/ 320 w 330"/>
                  <a:gd name="T97" fmla="*/ 652 h 1042"/>
                  <a:gd name="T98" fmla="*/ 330 w 330"/>
                  <a:gd name="T99" fmla="*/ 532 h 1042"/>
                  <a:gd name="T100" fmla="*/ 320 w 330"/>
                  <a:gd name="T101" fmla="*/ 402 h 10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0" h="1042">
                    <a:moveTo>
                      <a:pt x="290" y="556"/>
                    </a:moveTo>
                    <a:lnTo>
                      <a:pt x="290" y="556"/>
                    </a:lnTo>
                    <a:lnTo>
                      <a:pt x="288" y="600"/>
                    </a:lnTo>
                    <a:lnTo>
                      <a:pt x="284" y="642"/>
                    </a:lnTo>
                    <a:lnTo>
                      <a:pt x="278" y="682"/>
                    </a:lnTo>
                    <a:lnTo>
                      <a:pt x="272" y="714"/>
                    </a:lnTo>
                    <a:lnTo>
                      <a:pt x="272" y="714"/>
                    </a:lnTo>
                    <a:lnTo>
                      <a:pt x="272" y="662"/>
                    </a:lnTo>
                    <a:lnTo>
                      <a:pt x="270" y="604"/>
                    </a:lnTo>
                    <a:lnTo>
                      <a:pt x="262" y="546"/>
                    </a:lnTo>
                    <a:lnTo>
                      <a:pt x="254" y="490"/>
                    </a:lnTo>
                    <a:lnTo>
                      <a:pt x="254" y="490"/>
                    </a:lnTo>
                    <a:lnTo>
                      <a:pt x="246" y="462"/>
                    </a:lnTo>
                    <a:lnTo>
                      <a:pt x="238" y="430"/>
                    </a:lnTo>
                    <a:lnTo>
                      <a:pt x="216" y="364"/>
                    </a:lnTo>
                    <a:lnTo>
                      <a:pt x="202" y="332"/>
                    </a:lnTo>
                    <a:lnTo>
                      <a:pt x="190" y="300"/>
                    </a:lnTo>
                    <a:lnTo>
                      <a:pt x="176" y="272"/>
                    </a:lnTo>
                    <a:lnTo>
                      <a:pt x="164" y="250"/>
                    </a:lnTo>
                    <a:lnTo>
                      <a:pt x="164" y="250"/>
                    </a:lnTo>
                    <a:lnTo>
                      <a:pt x="152" y="272"/>
                    </a:lnTo>
                    <a:lnTo>
                      <a:pt x="140" y="296"/>
                    </a:lnTo>
                    <a:lnTo>
                      <a:pt x="114" y="356"/>
                    </a:lnTo>
                    <a:lnTo>
                      <a:pt x="92" y="422"/>
                    </a:lnTo>
                    <a:lnTo>
                      <a:pt x="82" y="456"/>
                    </a:lnTo>
                    <a:lnTo>
                      <a:pt x="74" y="490"/>
                    </a:lnTo>
                    <a:lnTo>
                      <a:pt x="74" y="490"/>
                    </a:lnTo>
                    <a:lnTo>
                      <a:pt x="68" y="524"/>
                    </a:lnTo>
                    <a:lnTo>
                      <a:pt x="64" y="558"/>
                    </a:lnTo>
                    <a:lnTo>
                      <a:pt x="56" y="624"/>
                    </a:lnTo>
                    <a:lnTo>
                      <a:pt x="54" y="678"/>
                    </a:lnTo>
                    <a:lnTo>
                      <a:pt x="54" y="716"/>
                    </a:lnTo>
                    <a:lnTo>
                      <a:pt x="54" y="716"/>
                    </a:lnTo>
                    <a:lnTo>
                      <a:pt x="50" y="684"/>
                    </a:lnTo>
                    <a:lnTo>
                      <a:pt x="44" y="632"/>
                    </a:lnTo>
                    <a:lnTo>
                      <a:pt x="40" y="568"/>
                    </a:lnTo>
                    <a:lnTo>
                      <a:pt x="38" y="532"/>
                    </a:lnTo>
                    <a:lnTo>
                      <a:pt x="40" y="498"/>
                    </a:lnTo>
                    <a:lnTo>
                      <a:pt x="40" y="498"/>
                    </a:lnTo>
                    <a:lnTo>
                      <a:pt x="42" y="468"/>
                    </a:lnTo>
                    <a:lnTo>
                      <a:pt x="44" y="438"/>
                    </a:lnTo>
                    <a:lnTo>
                      <a:pt x="52" y="382"/>
                    </a:lnTo>
                    <a:lnTo>
                      <a:pt x="62" y="334"/>
                    </a:lnTo>
                    <a:lnTo>
                      <a:pt x="72" y="298"/>
                    </a:lnTo>
                    <a:lnTo>
                      <a:pt x="72" y="298"/>
                    </a:lnTo>
                    <a:lnTo>
                      <a:pt x="86" y="254"/>
                    </a:lnTo>
                    <a:lnTo>
                      <a:pt x="102" y="214"/>
                    </a:lnTo>
                    <a:lnTo>
                      <a:pt x="128" y="148"/>
                    </a:lnTo>
                    <a:lnTo>
                      <a:pt x="150" y="102"/>
                    </a:lnTo>
                    <a:lnTo>
                      <a:pt x="164" y="80"/>
                    </a:lnTo>
                    <a:lnTo>
                      <a:pt x="164" y="80"/>
                    </a:lnTo>
                    <a:lnTo>
                      <a:pt x="178" y="106"/>
                    </a:lnTo>
                    <a:lnTo>
                      <a:pt x="202" y="154"/>
                    </a:lnTo>
                    <a:lnTo>
                      <a:pt x="216" y="186"/>
                    </a:lnTo>
                    <a:lnTo>
                      <a:pt x="230" y="220"/>
                    </a:lnTo>
                    <a:lnTo>
                      <a:pt x="244" y="258"/>
                    </a:lnTo>
                    <a:lnTo>
                      <a:pt x="256" y="296"/>
                    </a:lnTo>
                    <a:lnTo>
                      <a:pt x="256" y="296"/>
                    </a:lnTo>
                    <a:lnTo>
                      <a:pt x="266" y="334"/>
                    </a:lnTo>
                    <a:lnTo>
                      <a:pt x="274" y="372"/>
                    </a:lnTo>
                    <a:lnTo>
                      <a:pt x="280" y="408"/>
                    </a:lnTo>
                    <a:lnTo>
                      <a:pt x="284" y="442"/>
                    </a:lnTo>
                    <a:lnTo>
                      <a:pt x="290" y="506"/>
                    </a:lnTo>
                    <a:lnTo>
                      <a:pt x="290" y="556"/>
                    </a:lnTo>
                    <a:close/>
                    <a:moveTo>
                      <a:pt x="164" y="1004"/>
                    </a:moveTo>
                    <a:lnTo>
                      <a:pt x="164" y="1004"/>
                    </a:lnTo>
                    <a:lnTo>
                      <a:pt x="150" y="974"/>
                    </a:lnTo>
                    <a:lnTo>
                      <a:pt x="142" y="954"/>
                    </a:lnTo>
                    <a:lnTo>
                      <a:pt x="134" y="932"/>
                    </a:lnTo>
                    <a:lnTo>
                      <a:pt x="128" y="908"/>
                    </a:lnTo>
                    <a:lnTo>
                      <a:pt x="122" y="880"/>
                    </a:lnTo>
                    <a:lnTo>
                      <a:pt x="120" y="848"/>
                    </a:lnTo>
                    <a:lnTo>
                      <a:pt x="116" y="814"/>
                    </a:lnTo>
                    <a:lnTo>
                      <a:pt x="116" y="814"/>
                    </a:lnTo>
                    <a:lnTo>
                      <a:pt x="118" y="780"/>
                    </a:lnTo>
                    <a:lnTo>
                      <a:pt x="122" y="748"/>
                    </a:lnTo>
                    <a:lnTo>
                      <a:pt x="128" y="718"/>
                    </a:lnTo>
                    <a:lnTo>
                      <a:pt x="136" y="692"/>
                    </a:lnTo>
                    <a:lnTo>
                      <a:pt x="144" y="670"/>
                    </a:lnTo>
                    <a:lnTo>
                      <a:pt x="152" y="650"/>
                    </a:lnTo>
                    <a:lnTo>
                      <a:pt x="164" y="626"/>
                    </a:lnTo>
                    <a:lnTo>
                      <a:pt x="164" y="626"/>
                    </a:lnTo>
                    <a:lnTo>
                      <a:pt x="176" y="648"/>
                    </a:lnTo>
                    <a:lnTo>
                      <a:pt x="182" y="666"/>
                    </a:lnTo>
                    <a:lnTo>
                      <a:pt x="190" y="688"/>
                    </a:lnTo>
                    <a:lnTo>
                      <a:pt x="196" y="712"/>
                    </a:lnTo>
                    <a:lnTo>
                      <a:pt x="202" y="740"/>
                    </a:lnTo>
                    <a:lnTo>
                      <a:pt x="208" y="772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40"/>
                    </a:lnTo>
                    <a:lnTo>
                      <a:pt x="206" y="870"/>
                    </a:lnTo>
                    <a:lnTo>
                      <a:pt x="202" y="900"/>
                    </a:lnTo>
                    <a:lnTo>
                      <a:pt x="194" y="926"/>
                    </a:lnTo>
                    <a:lnTo>
                      <a:pt x="188" y="950"/>
                    </a:lnTo>
                    <a:lnTo>
                      <a:pt x="180" y="972"/>
                    </a:lnTo>
                    <a:lnTo>
                      <a:pt x="164" y="1004"/>
                    </a:lnTo>
                    <a:close/>
                    <a:moveTo>
                      <a:pt x="300" y="296"/>
                    </a:moveTo>
                    <a:lnTo>
                      <a:pt x="300" y="296"/>
                    </a:lnTo>
                    <a:lnTo>
                      <a:pt x="292" y="268"/>
                    </a:lnTo>
                    <a:lnTo>
                      <a:pt x="284" y="242"/>
                    </a:lnTo>
                    <a:lnTo>
                      <a:pt x="266" y="188"/>
                    </a:lnTo>
                    <a:lnTo>
                      <a:pt x="244" y="140"/>
                    </a:lnTo>
                    <a:lnTo>
                      <a:pt x="224" y="98"/>
                    </a:lnTo>
                    <a:lnTo>
                      <a:pt x="204" y="62"/>
                    </a:lnTo>
                    <a:lnTo>
                      <a:pt x="186" y="32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42" y="34"/>
                    </a:lnTo>
                    <a:lnTo>
                      <a:pt x="108" y="94"/>
                    </a:lnTo>
                    <a:lnTo>
                      <a:pt x="88" y="132"/>
                    </a:lnTo>
                    <a:lnTo>
                      <a:pt x="70" y="172"/>
                    </a:lnTo>
                    <a:lnTo>
                      <a:pt x="54" y="214"/>
                    </a:lnTo>
                    <a:lnTo>
                      <a:pt x="38" y="260"/>
                    </a:lnTo>
                    <a:lnTo>
                      <a:pt x="38" y="260"/>
                    </a:lnTo>
                    <a:lnTo>
                      <a:pt x="24" y="310"/>
                    </a:lnTo>
                    <a:lnTo>
                      <a:pt x="14" y="358"/>
                    </a:lnTo>
                    <a:lnTo>
                      <a:pt x="8" y="406"/>
                    </a:lnTo>
                    <a:lnTo>
                      <a:pt x="2" y="454"/>
                    </a:lnTo>
                    <a:lnTo>
                      <a:pt x="0" y="500"/>
                    </a:lnTo>
                    <a:lnTo>
                      <a:pt x="0" y="546"/>
                    </a:lnTo>
                    <a:lnTo>
                      <a:pt x="2" y="590"/>
                    </a:lnTo>
                    <a:lnTo>
                      <a:pt x="6" y="634"/>
                    </a:lnTo>
                    <a:lnTo>
                      <a:pt x="6" y="634"/>
                    </a:lnTo>
                    <a:lnTo>
                      <a:pt x="14" y="680"/>
                    </a:lnTo>
                    <a:lnTo>
                      <a:pt x="22" y="722"/>
                    </a:lnTo>
                    <a:lnTo>
                      <a:pt x="32" y="762"/>
                    </a:lnTo>
                    <a:lnTo>
                      <a:pt x="44" y="800"/>
                    </a:lnTo>
                    <a:lnTo>
                      <a:pt x="62" y="854"/>
                    </a:lnTo>
                    <a:lnTo>
                      <a:pt x="70" y="876"/>
                    </a:lnTo>
                    <a:lnTo>
                      <a:pt x="70" y="876"/>
                    </a:lnTo>
                    <a:lnTo>
                      <a:pt x="94" y="924"/>
                    </a:lnTo>
                    <a:lnTo>
                      <a:pt x="118" y="970"/>
                    </a:lnTo>
                    <a:lnTo>
                      <a:pt x="142" y="1010"/>
                    </a:lnTo>
                    <a:lnTo>
                      <a:pt x="164" y="1042"/>
                    </a:lnTo>
                    <a:lnTo>
                      <a:pt x="164" y="1042"/>
                    </a:lnTo>
                    <a:lnTo>
                      <a:pt x="182" y="1018"/>
                    </a:lnTo>
                    <a:lnTo>
                      <a:pt x="202" y="986"/>
                    </a:lnTo>
                    <a:lnTo>
                      <a:pt x="224" y="946"/>
                    </a:lnTo>
                    <a:lnTo>
                      <a:pt x="246" y="900"/>
                    </a:lnTo>
                    <a:lnTo>
                      <a:pt x="268" y="846"/>
                    </a:lnTo>
                    <a:lnTo>
                      <a:pt x="288" y="786"/>
                    </a:lnTo>
                    <a:lnTo>
                      <a:pt x="298" y="754"/>
                    </a:lnTo>
                    <a:lnTo>
                      <a:pt x="306" y="722"/>
                    </a:lnTo>
                    <a:lnTo>
                      <a:pt x="314" y="686"/>
                    </a:lnTo>
                    <a:lnTo>
                      <a:pt x="320" y="652"/>
                    </a:lnTo>
                    <a:lnTo>
                      <a:pt x="320" y="652"/>
                    </a:lnTo>
                    <a:lnTo>
                      <a:pt x="324" y="612"/>
                    </a:lnTo>
                    <a:lnTo>
                      <a:pt x="328" y="572"/>
                    </a:lnTo>
                    <a:lnTo>
                      <a:pt x="330" y="532"/>
                    </a:lnTo>
                    <a:lnTo>
                      <a:pt x="328" y="492"/>
                    </a:lnTo>
                    <a:lnTo>
                      <a:pt x="326" y="448"/>
                    </a:lnTo>
                    <a:lnTo>
                      <a:pt x="320" y="402"/>
                    </a:lnTo>
                    <a:lnTo>
                      <a:pt x="312" y="352"/>
                    </a:lnTo>
                    <a:lnTo>
                      <a:pt x="300" y="2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59" name="Freeform 19"/>
              <p:cNvSpPr>
                <a:spLocks/>
              </p:cNvSpPr>
              <p:nvPr userDrawn="1"/>
            </p:nvSpPr>
            <p:spPr bwMode="auto">
              <a:xfrm>
                <a:off x="264" y="1659"/>
                <a:ext cx="1008" cy="1150"/>
              </a:xfrm>
              <a:custGeom>
                <a:avLst/>
                <a:gdLst>
                  <a:gd name="T0" fmla="*/ 584 w 1008"/>
                  <a:gd name="T1" fmla="*/ 754 h 1150"/>
                  <a:gd name="T2" fmla="*/ 610 w 1008"/>
                  <a:gd name="T3" fmla="*/ 734 h 1150"/>
                  <a:gd name="T4" fmla="*/ 654 w 1008"/>
                  <a:gd name="T5" fmla="*/ 714 h 1150"/>
                  <a:gd name="T6" fmla="*/ 700 w 1008"/>
                  <a:gd name="T7" fmla="*/ 706 h 1150"/>
                  <a:gd name="T8" fmla="*/ 746 w 1008"/>
                  <a:gd name="T9" fmla="*/ 714 h 1150"/>
                  <a:gd name="T10" fmla="*/ 790 w 1008"/>
                  <a:gd name="T11" fmla="*/ 734 h 1150"/>
                  <a:gd name="T12" fmla="*/ 816 w 1008"/>
                  <a:gd name="T13" fmla="*/ 754 h 1150"/>
                  <a:gd name="T14" fmla="*/ 844 w 1008"/>
                  <a:gd name="T15" fmla="*/ 792 h 1150"/>
                  <a:gd name="T16" fmla="*/ 860 w 1008"/>
                  <a:gd name="T17" fmla="*/ 838 h 1150"/>
                  <a:gd name="T18" fmla="*/ 862 w 1008"/>
                  <a:gd name="T19" fmla="*/ 884 h 1150"/>
                  <a:gd name="T20" fmla="*/ 852 w 1008"/>
                  <a:gd name="T21" fmla="*/ 928 h 1150"/>
                  <a:gd name="T22" fmla="*/ 826 w 1008"/>
                  <a:gd name="T23" fmla="*/ 970 h 1150"/>
                  <a:gd name="T24" fmla="*/ 814 w 1008"/>
                  <a:gd name="T25" fmla="*/ 984 h 1150"/>
                  <a:gd name="T26" fmla="*/ 762 w 1008"/>
                  <a:gd name="T27" fmla="*/ 1024 h 1150"/>
                  <a:gd name="T28" fmla="*/ 676 w 1008"/>
                  <a:gd name="T29" fmla="*/ 1064 h 1150"/>
                  <a:gd name="T30" fmla="*/ 584 w 1008"/>
                  <a:gd name="T31" fmla="*/ 1078 h 1150"/>
                  <a:gd name="T32" fmla="*/ 520 w 1008"/>
                  <a:gd name="T33" fmla="*/ 1072 h 1150"/>
                  <a:gd name="T34" fmla="*/ 432 w 1008"/>
                  <a:gd name="T35" fmla="*/ 1040 h 1150"/>
                  <a:gd name="T36" fmla="*/ 352 w 1008"/>
                  <a:gd name="T37" fmla="*/ 984 h 1150"/>
                  <a:gd name="T38" fmla="*/ 314 w 1008"/>
                  <a:gd name="T39" fmla="*/ 940 h 1150"/>
                  <a:gd name="T40" fmla="*/ 276 w 1008"/>
                  <a:gd name="T41" fmla="*/ 864 h 1150"/>
                  <a:gd name="T42" fmla="*/ 258 w 1008"/>
                  <a:gd name="T43" fmla="*/ 784 h 1150"/>
                  <a:gd name="T44" fmla="*/ 260 w 1008"/>
                  <a:gd name="T45" fmla="*/ 702 h 1150"/>
                  <a:gd name="T46" fmla="*/ 284 w 1008"/>
                  <a:gd name="T47" fmla="*/ 624 h 1150"/>
                  <a:gd name="T48" fmla="*/ 312 w 1008"/>
                  <a:gd name="T49" fmla="*/ 576 h 1150"/>
                  <a:gd name="T50" fmla="*/ 352 w 1008"/>
                  <a:gd name="T51" fmla="*/ 528 h 1150"/>
                  <a:gd name="T52" fmla="*/ 432 w 1008"/>
                  <a:gd name="T53" fmla="*/ 470 h 1150"/>
                  <a:gd name="T54" fmla="*/ 520 w 1008"/>
                  <a:gd name="T55" fmla="*/ 438 h 1150"/>
                  <a:gd name="T56" fmla="*/ 584 w 1008"/>
                  <a:gd name="T57" fmla="*/ 0 h 1150"/>
                  <a:gd name="T58" fmla="*/ 524 w 1008"/>
                  <a:gd name="T59" fmla="*/ 4 h 1150"/>
                  <a:gd name="T60" fmla="*/ 438 w 1008"/>
                  <a:gd name="T61" fmla="*/ 20 h 1150"/>
                  <a:gd name="T62" fmla="*/ 356 w 1008"/>
                  <a:gd name="T63" fmla="*/ 46 h 1150"/>
                  <a:gd name="T64" fmla="*/ 282 w 1008"/>
                  <a:gd name="T65" fmla="*/ 84 h 1150"/>
                  <a:gd name="T66" fmla="*/ 212 w 1008"/>
                  <a:gd name="T67" fmla="*/ 132 h 1150"/>
                  <a:gd name="T68" fmla="*/ 152 w 1008"/>
                  <a:gd name="T69" fmla="*/ 190 h 1150"/>
                  <a:gd name="T70" fmla="*/ 100 w 1008"/>
                  <a:gd name="T71" fmla="*/ 254 h 1150"/>
                  <a:gd name="T72" fmla="*/ 58 w 1008"/>
                  <a:gd name="T73" fmla="*/ 326 h 1150"/>
                  <a:gd name="T74" fmla="*/ 26 w 1008"/>
                  <a:gd name="T75" fmla="*/ 404 h 1150"/>
                  <a:gd name="T76" fmla="*/ 6 w 1008"/>
                  <a:gd name="T77" fmla="*/ 488 h 1150"/>
                  <a:gd name="T78" fmla="*/ 0 w 1008"/>
                  <a:gd name="T79" fmla="*/ 576 h 1150"/>
                  <a:gd name="T80" fmla="*/ 4 w 1008"/>
                  <a:gd name="T81" fmla="*/ 634 h 1150"/>
                  <a:gd name="T82" fmla="*/ 18 w 1008"/>
                  <a:gd name="T83" fmla="*/ 718 h 1150"/>
                  <a:gd name="T84" fmla="*/ 46 w 1008"/>
                  <a:gd name="T85" fmla="*/ 798 h 1150"/>
                  <a:gd name="T86" fmla="*/ 84 w 1008"/>
                  <a:gd name="T87" fmla="*/ 872 h 1150"/>
                  <a:gd name="T88" fmla="*/ 134 w 1008"/>
                  <a:gd name="T89" fmla="*/ 940 h 1150"/>
                  <a:gd name="T90" fmla="*/ 192 w 1008"/>
                  <a:gd name="T91" fmla="*/ 1000 h 1150"/>
                  <a:gd name="T92" fmla="*/ 258 w 1008"/>
                  <a:gd name="T93" fmla="*/ 1052 h 1150"/>
                  <a:gd name="T94" fmla="*/ 330 w 1008"/>
                  <a:gd name="T95" fmla="*/ 1092 h 1150"/>
                  <a:gd name="T96" fmla="*/ 410 w 1008"/>
                  <a:gd name="T97" fmla="*/ 1124 h 1150"/>
                  <a:gd name="T98" fmla="*/ 494 w 1008"/>
                  <a:gd name="T99" fmla="*/ 1142 h 1150"/>
                  <a:gd name="T100" fmla="*/ 584 w 1008"/>
                  <a:gd name="T101" fmla="*/ 1150 h 1150"/>
                  <a:gd name="T102" fmla="*/ 646 w 1008"/>
                  <a:gd name="T103" fmla="*/ 1146 h 1150"/>
                  <a:gd name="T104" fmla="*/ 734 w 1008"/>
                  <a:gd name="T105" fmla="*/ 1130 h 1150"/>
                  <a:gd name="T106" fmla="*/ 818 w 1008"/>
                  <a:gd name="T107" fmla="*/ 1100 h 1150"/>
                  <a:gd name="T108" fmla="*/ 896 w 1008"/>
                  <a:gd name="T109" fmla="*/ 1060 h 1150"/>
                  <a:gd name="T110" fmla="*/ 966 w 1008"/>
                  <a:gd name="T111" fmla="*/ 1008 h 1150"/>
                  <a:gd name="T112" fmla="*/ 1008 w 1008"/>
                  <a:gd name="T113" fmla="*/ 574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08" h="1150">
                    <a:moveTo>
                      <a:pt x="584" y="574"/>
                    </a:moveTo>
                    <a:lnTo>
                      <a:pt x="584" y="754"/>
                    </a:lnTo>
                    <a:lnTo>
                      <a:pt x="584" y="754"/>
                    </a:lnTo>
                    <a:lnTo>
                      <a:pt x="584" y="754"/>
                    </a:lnTo>
                    <a:lnTo>
                      <a:pt x="596" y="742"/>
                    </a:lnTo>
                    <a:lnTo>
                      <a:pt x="610" y="734"/>
                    </a:lnTo>
                    <a:lnTo>
                      <a:pt x="624" y="726"/>
                    </a:lnTo>
                    <a:lnTo>
                      <a:pt x="638" y="718"/>
                    </a:lnTo>
                    <a:lnTo>
                      <a:pt x="654" y="714"/>
                    </a:lnTo>
                    <a:lnTo>
                      <a:pt x="668" y="710"/>
                    </a:lnTo>
                    <a:lnTo>
                      <a:pt x="684" y="708"/>
                    </a:lnTo>
                    <a:lnTo>
                      <a:pt x="700" y="706"/>
                    </a:lnTo>
                    <a:lnTo>
                      <a:pt x="716" y="708"/>
                    </a:lnTo>
                    <a:lnTo>
                      <a:pt x="732" y="710"/>
                    </a:lnTo>
                    <a:lnTo>
                      <a:pt x="746" y="714"/>
                    </a:lnTo>
                    <a:lnTo>
                      <a:pt x="762" y="718"/>
                    </a:lnTo>
                    <a:lnTo>
                      <a:pt x="776" y="726"/>
                    </a:lnTo>
                    <a:lnTo>
                      <a:pt x="790" y="734"/>
                    </a:lnTo>
                    <a:lnTo>
                      <a:pt x="804" y="742"/>
                    </a:lnTo>
                    <a:lnTo>
                      <a:pt x="816" y="754"/>
                    </a:lnTo>
                    <a:lnTo>
                      <a:pt x="816" y="754"/>
                    </a:lnTo>
                    <a:lnTo>
                      <a:pt x="826" y="766"/>
                    </a:lnTo>
                    <a:lnTo>
                      <a:pt x="836" y="780"/>
                    </a:lnTo>
                    <a:lnTo>
                      <a:pt x="844" y="792"/>
                    </a:lnTo>
                    <a:lnTo>
                      <a:pt x="852" y="808"/>
                    </a:lnTo>
                    <a:lnTo>
                      <a:pt x="856" y="822"/>
                    </a:lnTo>
                    <a:lnTo>
                      <a:pt x="860" y="838"/>
                    </a:lnTo>
                    <a:lnTo>
                      <a:pt x="862" y="852"/>
                    </a:lnTo>
                    <a:lnTo>
                      <a:pt x="864" y="868"/>
                    </a:lnTo>
                    <a:lnTo>
                      <a:pt x="862" y="884"/>
                    </a:lnTo>
                    <a:lnTo>
                      <a:pt x="860" y="898"/>
                    </a:lnTo>
                    <a:lnTo>
                      <a:pt x="856" y="914"/>
                    </a:lnTo>
                    <a:lnTo>
                      <a:pt x="852" y="928"/>
                    </a:lnTo>
                    <a:lnTo>
                      <a:pt x="844" y="944"/>
                    </a:lnTo>
                    <a:lnTo>
                      <a:pt x="836" y="956"/>
                    </a:lnTo>
                    <a:lnTo>
                      <a:pt x="826" y="970"/>
                    </a:lnTo>
                    <a:lnTo>
                      <a:pt x="816" y="982"/>
                    </a:lnTo>
                    <a:lnTo>
                      <a:pt x="814" y="982"/>
                    </a:lnTo>
                    <a:lnTo>
                      <a:pt x="814" y="984"/>
                    </a:lnTo>
                    <a:lnTo>
                      <a:pt x="814" y="984"/>
                    </a:lnTo>
                    <a:lnTo>
                      <a:pt x="790" y="1006"/>
                    </a:lnTo>
                    <a:lnTo>
                      <a:pt x="762" y="1024"/>
                    </a:lnTo>
                    <a:lnTo>
                      <a:pt x="734" y="1040"/>
                    </a:lnTo>
                    <a:lnTo>
                      <a:pt x="706" y="1054"/>
                    </a:lnTo>
                    <a:lnTo>
                      <a:pt x="676" y="1064"/>
                    </a:lnTo>
                    <a:lnTo>
                      <a:pt x="646" y="1072"/>
                    </a:lnTo>
                    <a:lnTo>
                      <a:pt x="614" y="1076"/>
                    </a:lnTo>
                    <a:lnTo>
                      <a:pt x="584" y="1078"/>
                    </a:lnTo>
                    <a:lnTo>
                      <a:pt x="584" y="1078"/>
                    </a:lnTo>
                    <a:lnTo>
                      <a:pt x="552" y="1076"/>
                    </a:lnTo>
                    <a:lnTo>
                      <a:pt x="520" y="1072"/>
                    </a:lnTo>
                    <a:lnTo>
                      <a:pt x="490" y="1064"/>
                    </a:lnTo>
                    <a:lnTo>
                      <a:pt x="460" y="1054"/>
                    </a:lnTo>
                    <a:lnTo>
                      <a:pt x="432" y="1040"/>
                    </a:lnTo>
                    <a:lnTo>
                      <a:pt x="404" y="1024"/>
                    </a:lnTo>
                    <a:lnTo>
                      <a:pt x="376" y="1006"/>
                    </a:lnTo>
                    <a:lnTo>
                      <a:pt x="352" y="984"/>
                    </a:lnTo>
                    <a:lnTo>
                      <a:pt x="352" y="984"/>
                    </a:lnTo>
                    <a:lnTo>
                      <a:pt x="332" y="962"/>
                    </a:lnTo>
                    <a:lnTo>
                      <a:pt x="314" y="940"/>
                    </a:lnTo>
                    <a:lnTo>
                      <a:pt x="298" y="916"/>
                    </a:lnTo>
                    <a:lnTo>
                      <a:pt x="286" y="890"/>
                    </a:lnTo>
                    <a:lnTo>
                      <a:pt x="276" y="864"/>
                    </a:lnTo>
                    <a:lnTo>
                      <a:pt x="266" y="838"/>
                    </a:lnTo>
                    <a:lnTo>
                      <a:pt x="260" y="812"/>
                    </a:lnTo>
                    <a:lnTo>
                      <a:pt x="258" y="784"/>
                    </a:lnTo>
                    <a:lnTo>
                      <a:pt x="256" y="758"/>
                    </a:lnTo>
                    <a:lnTo>
                      <a:pt x="256" y="730"/>
                    </a:lnTo>
                    <a:lnTo>
                      <a:pt x="260" y="702"/>
                    </a:lnTo>
                    <a:lnTo>
                      <a:pt x="266" y="676"/>
                    </a:lnTo>
                    <a:lnTo>
                      <a:pt x="274" y="650"/>
                    </a:lnTo>
                    <a:lnTo>
                      <a:pt x="284" y="624"/>
                    </a:lnTo>
                    <a:lnTo>
                      <a:pt x="296" y="600"/>
                    </a:lnTo>
                    <a:lnTo>
                      <a:pt x="312" y="576"/>
                    </a:lnTo>
                    <a:lnTo>
                      <a:pt x="312" y="576"/>
                    </a:lnTo>
                    <a:lnTo>
                      <a:pt x="330" y="550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76" y="506"/>
                    </a:lnTo>
                    <a:lnTo>
                      <a:pt x="404" y="486"/>
                    </a:lnTo>
                    <a:lnTo>
                      <a:pt x="432" y="470"/>
                    </a:lnTo>
                    <a:lnTo>
                      <a:pt x="460" y="456"/>
                    </a:lnTo>
                    <a:lnTo>
                      <a:pt x="490" y="446"/>
                    </a:lnTo>
                    <a:lnTo>
                      <a:pt x="520" y="438"/>
                    </a:lnTo>
                    <a:lnTo>
                      <a:pt x="552" y="434"/>
                    </a:lnTo>
                    <a:lnTo>
                      <a:pt x="584" y="432"/>
                    </a:lnTo>
                    <a:lnTo>
                      <a:pt x="584" y="0"/>
                    </a:lnTo>
                    <a:lnTo>
                      <a:pt x="584" y="0"/>
                    </a:lnTo>
                    <a:lnTo>
                      <a:pt x="554" y="2"/>
                    </a:lnTo>
                    <a:lnTo>
                      <a:pt x="524" y="4"/>
                    </a:lnTo>
                    <a:lnTo>
                      <a:pt x="494" y="8"/>
                    </a:lnTo>
                    <a:lnTo>
                      <a:pt x="466" y="12"/>
                    </a:lnTo>
                    <a:lnTo>
                      <a:pt x="438" y="20"/>
                    </a:lnTo>
                    <a:lnTo>
                      <a:pt x="410" y="26"/>
                    </a:lnTo>
                    <a:lnTo>
                      <a:pt x="382" y="36"/>
                    </a:lnTo>
                    <a:lnTo>
                      <a:pt x="356" y="46"/>
                    </a:lnTo>
                    <a:lnTo>
                      <a:pt x="330" y="58"/>
                    </a:lnTo>
                    <a:lnTo>
                      <a:pt x="306" y="70"/>
                    </a:lnTo>
                    <a:lnTo>
                      <a:pt x="282" y="84"/>
                    </a:lnTo>
                    <a:lnTo>
                      <a:pt x="258" y="100"/>
                    </a:lnTo>
                    <a:lnTo>
                      <a:pt x="234" y="116"/>
                    </a:lnTo>
                    <a:lnTo>
                      <a:pt x="212" y="132"/>
                    </a:lnTo>
                    <a:lnTo>
                      <a:pt x="192" y="150"/>
                    </a:lnTo>
                    <a:lnTo>
                      <a:pt x="172" y="170"/>
                    </a:lnTo>
                    <a:lnTo>
                      <a:pt x="152" y="190"/>
                    </a:lnTo>
                    <a:lnTo>
                      <a:pt x="134" y="210"/>
                    </a:lnTo>
                    <a:lnTo>
                      <a:pt x="116" y="232"/>
                    </a:lnTo>
                    <a:lnTo>
                      <a:pt x="100" y="254"/>
                    </a:lnTo>
                    <a:lnTo>
                      <a:pt x="84" y="278"/>
                    </a:lnTo>
                    <a:lnTo>
                      <a:pt x="70" y="302"/>
                    </a:lnTo>
                    <a:lnTo>
                      <a:pt x="58" y="326"/>
                    </a:lnTo>
                    <a:lnTo>
                      <a:pt x="46" y="352"/>
                    </a:lnTo>
                    <a:lnTo>
                      <a:pt x="36" y="378"/>
                    </a:lnTo>
                    <a:lnTo>
                      <a:pt x="26" y="404"/>
                    </a:lnTo>
                    <a:lnTo>
                      <a:pt x="18" y="432"/>
                    </a:lnTo>
                    <a:lnTo>
                      <a:pt x="12" y="460"/>
                    </a:lnTo>
                    <a:lnTo>
                      <a:pt x="6" y="488"/>
                    </a:lnTo>
                    <a:lnTo>
                      <a:pt x="4" y="516"/>
                    </a:lnTo>
                    <a:lnTo>
                      <a:pt x="2" y="546"/>
                    </a:lnTo>
                    <a:lnTo>
                      <a:pt x="0" y="576"/>
                    </a:lnTo>
                    <a:lnTo>
                      <a:pt x="0" y="576"/>
                    </a:lnTo>
                    <a:lnTo>
                      <a:pt x="2" y="604"/>
                    </a:lnTo>
                    <a:lnTo>
                      <a:pt x="4" y="634"/>
                    </a:lnTo>
                    <a:lnTo>
                      <a:pt x="6" y="662"/>
                    </a:lnTo>
                    <a:lnTo>
                      <a:pt x="12" y="690"/>
                    </a:lnTo>
                    <a:lnTo>
                      <a:pt x="18" y="718"/>
                    </a:lnTo>
                    <a:lnTo>
                      <a:pt x="26" y="746"/>
                    </a:lnTo>
                    <a:lnTo>
                      <a:pt x="36" y="772"/>
                    </a:lnTo>
                    <a:lnTo>
                      <a:pt x="46" y="798"/>
                    </a:lnTo>
                    <a:lnTo>
                      <a:pt x="58" y="824"/>
                    </a:lnTo>
                    <a:lnTo>
                      <a:pt x="70" y="848"/>
                    </a:lnTo>
                    <a:lnTo>
                      <a:pt x="84" y="872"/>
                    </a:lnTo>
                    <a:lnTo>
                      <a:pt x="100" y="896"/>
                    </a:lnTo>
                    <a:lnTo>
                      <a:pt x="116" y="918"/>
                    </a:lnTo>
                    <a:lnTo>
                      <a:pt x="134" y="940"/>
                    </a:lnTo>
                    <a:lnTo>
                      <a:pt x="152" y="962"/>
                    </a:lnTo>
                    <a:lnTo>
                      <a:pt x="172" y="982"/>
                    </a:lnTo>
                    <a:lnTo>
                      <a:pt x="192" y="1000"/>
                    </a:lnTo>
                    <a:lnTo>
                      <a:pt x="212" y="1018"/>
                    </a:lnTo>
                    <a:lnTo>
                      <a:pt x="234" y="1036"/>
                    </a:lnTo>
                    <a:lnTo>
                      <a:pt x="258" y="1052"/>
                    </a:lnTo>
                    <a:lnTo>
                      <a:pt x="282" y="1066"/>
                    </a:lnTo>
                    <a:lnTo>
                      <a:pt x="306" y="1080"/>
                    </a:lnTo>
                    <a:lnTo>
                      <a:pt x="330" y="1092"/>
                    </a:lnTo>
                    <a:lnTo>
                      <a:pt x="356" y="1104"/>
                    </a:lnTo>
                    <a:lnTo>
                      <a:pt x="382" y="1114"/>
                    </a:lnTo>
                    <a:lnTo>
                      <a:pt x="410" y="1124"/>
                    </a:lnTo>
                    <a:lnTo>
                      <a:pt x="438" y="1132"/>
                    </a:lnTo>
                    <a:lnTo>
                      <a:pt x="466" y="1138"/>
                    </a:lnTo>
                    <a:lnTo>
                      <a:pt x="494" y="1142"/>
                    </a:lnTo>
                    <a:lnTo>
                      <a:pt x="524" y="1146"/>
                    </a:lnTo>
                    <a:lnTo>
                      <a:pt x="554" y="1148"/>
                    </a:lnTo>
                    <a:lnTo>
                      <a:pt x="584" y="1150"/>
                    </a:lnTo>
                    <a:lnTo>
                      <a:pt x="584" y="1150"/>
                    </a:lnTo>
                    <a:lnTo>
                      <a:pt x="614" y="1148"/>
                    </a:lnTo>
                    <a:lnTo>
                      <a:pt x="646" y="1146"/>
                    </a:lnTo>
                    <a:lnTo>
                      <a:pt x="676" y="1142"/>
                    </a:lnTo>
                    <a:lnTo>
                      <a:pt x="706" y="1136"/>
                    </a:lnTo>
                    <a:lnTo>
                      <a:pt x="734" y="1130"/>
                    </a:lnTo>
                    <a:lnTo>
                      <a:pt x="764" y="1122"/>
                    </a:lnTo>
                    <a:lnTo>
                      <a:pt x="792" y="1112"/>
                    </a:lnTo>
                    <a:lnTo>
                      <a:pt x="818" y="1100"/>
                    </a:lnTo>
                    <a:lnTo>
                      <a:pt x="846" y="1088"/>
                    </a:lnTo>
                    <a:lnTo>
                      <a:pt x="872" y="1074"/>
                    </a:lnTo>
                    <a:lnTo>
                      <a:pt x="896" y="1060"/>
                    </a:lnTo>
                    <a:lnTo>
                      <a:pt x="920" y="1044"/>
                    </a:lnTo>
                    <a:lnTo>
                      <a:pt x="944" y="1026"/>
                    </a:lnTo>
                    <a:lnTo>
                      <a:pt x="966" y="1008"/>
                    </a:lnTo>
                    <a:lnTo>
                      <a:pt x="988" y="988"/>
                    </a:lnTo>
                    <a:lnTo>
                      <a:pt x="1008" y="968"/>
                    </a:lnTo>
                    <a:lnTo>
                      <a:pt x="1008" y="574"/>
                    </a:lnTo>
                    <a:lnTo>
                      <a:pt x="584" y="5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60" name="Freeform 20"/>
              <p:cNvSpPr>
                <a:spLocks noEditPoints="1"/>
              </p:cNvSpPr>
              <p:nvPr userDrawn="1"/>
            </p:nvSpPr>
            <p:spPr bwMode="auto">
              <a:xfrm>
                <a:off x="1428" y="2425"/>
                <a:ext cx="2328" cy="384"/>
              </a:xfrm>
              <a:custGeom>
                <a:avLst/>
                <a:gdLst>
                  <a:gd name="T0" fmla="*/ 2222 w 2328"/>
                  <a:gd name="T1" fmla="*/ 266 h 384"/>
                  <a:gd name="T2" fmla="*/ 2204 w 2328"/>
                  <a:gd name="T3" fmla="*/ 300 h 384"/>
                  <a:gd name="T4" fmla="*/ 2156 w 2328"/>
                  <a:gd name="T5" fmla="*/ 312 h 384"/>
                  <a:gd name="T6" fmla="*/ 2076 w 2328"/>
                  <a:gd name="T7" fmla="*/ 62 h 384"/>
                  <a:gd name="T8" fmla="*/ 2144 w 2328"/>
                  <a:gd name="T9" fmla="*/ 158 h 384"/>
                  <a:gd name="T10" fmla="*/ 2182 w 2328"/>
                  <a:gd name="T11" fmla="*/ 162 h 384"/>
                  <a:gd name="T12" fmla="*/ 2214 w 2328"/>
                  <a:gd name="T13" fmla="*/ 180 h 384"/>
                  <a:gd name="T14" fmla="*/ 2224 w 2328"/>
                  <a:gd name="T15" fmla="*/ 222 h 384"/>
                  <a:gd name="T16" fmla="*/ 1686 w 2328"/>
                  <a:gd name="T17" fmla="*/ 108 h 384"/>
                  <a:gd name="T18" fmla="*/ 1630 w 2328"/>
                  <a:gd name="T19" fmla="*/ 108 h 384"/>
                  <a:gd name="T20" fmla="*/ 1732 w 2328"/>
                  <a:gd name="T21" fmla="*/ 62 h 384"/>
                  <a:gd name="T22" fmla="*/ 1278 w 2328"/>
                  <a:gd name="T23" fmla="*/ 222 h 384"/>
                  <a:gd name="T24" fmla="*/ 1266 w 2328"/>
                  <a:gd name="T25" fmla="*/ 266 h 384"/>
                  <a:gd name="T26" fmla="*/ 1230 w 2328"/>
                  <a:gd name="T27" fmla="*/ 284 h 384"/>
                  <a:gd name="T28" fmla="*/ 1194 w 2328"/>
                  <a:gd name="T29" fmla="*/ 312 h 384"/>
                  <a:gd name="T30" fmla="*/ 1136 w 2328"/>
                  <a:gd name="T31" fmla="*/ 286 h 384"/>
                  <a:gd name="T32" fmla="*/ 1084 w 2328"/>
                  <a:gd name="T33" fmla="*/ 280 h 384"/>
                  <a:gd name="T34" fmla="*/ 1056 w 2328"/>
                  <a:gd name="T35" fmla="*/ 254 h 384"/>
                  <a:gd name="T36" fmla="*/ 1052 w 2328"/>
                  <a:gd name="T37" fmla="*/ 144 h 384"/>
                  <a:gd name="T38" fmla="*/ 1056 w 2328"/>
                  <a:gd name="T39" fmla="*/ 112 h 384"/>
                  <a:gd name="T40" fmla="*/ 1082 w 2328"/>
                  <a:gd name="T41" fmla="*/ 88 h 384"/>
                  <a:gd name="T42" fmla="*/ 1136 w 2328"/>
                  <a:gd name="T43" fmla="*/ 80 h 384"/>
                  <a:gd name="T44" fmla="*/ 1194 w 2328"/>
                  <a:gd name="T45" fmla="*/ 80 h 384"/>
                  <a:gd name="T46" fmla="*/ 1232 w 2328"/>
                  <a:gd name="T47" fmla="*/ 84 h 384"/>
                  <a:gd name="T48" fmla="*/ 1266 w 2328"/>
                  <a:gd name="T49" fmla="*/ 102 h 384"/>
                  <a:gd name="T50" fmla="*/ 1278 w 2328"/>
                  <a:gd name="T51" fmla="*/ 144 h 384"/>
                  <a:gd name="T52" fmla="*/ 662 w 2328"/>
                  <a:gd name="T53" fmla="*/ 108 h 384"/>
                  <a:gd name="T54" fmla="*/ 734 w 2328"/>
                  <a:gd name="T55" fmla="*/ 206 h 384"/>
                  <a:gd name="T56" fmla="*/ 742 w 2328"/>
                  <a:gd name="T57" fmla="*/ 264 h 384"/>
                  <a:gd name="T58" fmla="*/ 600 w 2328"/>
                  <a:gd name="T59" fmla="*/ 62 h 384"/>
                  <a:gd name="T60" fmla="*/ 252 w 2328"/>
                  <a:gd name="T61" fmla="*/ 312 h 384"/>
                  <a:gd name="T62" fmla="*/ 164 w 2328"/>
                  <a:gd name="T63" fmla="*/ 202 h 384"/>
                  <a:gd name="T64" fmla="*/ 104 w 2328"/>
                  <a:gd name="T65" fmla="*/ 62 h 384"/>
                  <a:gd name="T66" fmla="*/ 194 w 2328"/>
                  <a:gd name="T67" fmla="*/ 158 h 384"/>
                  <a:gd name="T68" fmla="*/ 252 w 2328"/>
                  <a:gd name="T69" fmla="*/ 312 h 384"/>
                  <a:gd name="T70" fmla="*/ 0 w 2328"/>
                  <a:gd name="T71" fmla="*/ 384 h 384"/>
                  <a:gd name="T72" fmla="*/ 1108 w 2328"/>
                  <a:gd name="T73" fmla="*/ 142 h 384"/>
                  <a:gd name="T74" fmla="*/ 1110 w 2328"/>
                  <a:gd name="T75" fmla="*/ 232 h 384"/>
                  <a:gd name="T76" fmla="*/ 1126 w 2328"/>
                  <a:gd name="T77" fmla="*/ 240 h 384"/>
                  <a:gd name="T78" fmla="*/ 1126 w 2328"/>
                  <a:gd name="T79" fmla="*/ 124 h 384"/>
                  <a:gd name="T80" fmla="*/ 1112 w 2328"/>
                  <a:gd name="T81" fmla="*/ 128 h 384"/>
                  <a:gd name="T82" fmla="*/ 1202 w 2328"/>
                  <a:gd name="T83" fmla="*/ 124 h 384"/>
                  <a:gd name="T84" fmla="*/ 1202 w 2328"/>
                  <a:gd name="T85" fmla="*/ 240 h 384"/>
                  <a:gd name="T86" fmla="*/ 1216 w 2328"/>
                  <a:gd name="T87" fmla="*/ 238 h 384"/>
                  <a:gd name="T88" fmla="*/ 1220 w 2328"/>
                  <a:gd name="T89" fmla="*/ 142 h 384"/>
                  <a:gd name="T90" fmla="*/ 1216 w 2328"/>
                  <a:gd name="T91" fmla="*/ 128 h 384"/>
                  <a:gd name="T92" fmla="*/ 2148 w 2328"/>
                  <a:gd name="T93" fmla="*/ 202 h 384"/>
                  <a:gd name="T94" fmla="*/ 2148 w 2328"/>
                  <a:gd name="T95" fmla="*/ 268 h 384"/>
                  <a:gd name="T96" fmla="*/ 2162 w 2328"/>
                  <a:gd name="T97" fmla="*/ 264 h 384"/>
                  <a:gd name="T98" fmla="*/ 2166 w 2328"/>
                  <a:gd name="T99" fmla="*/ 220 h 384"/>
                  <a:gd name="T100" fmla="*/ 2162 w 2328"/>
                  <a:gd name="T101" fmla="*/ 20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28" h="384">
                    <a:moveTo>
                      <a:pt x="2224" y="248"/>
                    </a:moveTo>
                    <a:lnTo>
                      <a:pt x="2224" y="248"/>
                    </a:lnTo>
                    <a:lnTo>
                      <a:pt x="2222" y="266"/>
                    </a:lnTo>
                    <a:lnTo>
                      <a:pt x="2220" y="280"/>
                    </a:lnTo>
                    <a:lnTo>
                      <a:pt x="2212" y="292"/>
                    </a:lnTo>
                    <a:lnTo>
                      <a:pt x="2204" y="300"/>
                    </a:lnTo>
                    <a:lnTo>
                      <a:pt x="2192" y="306"/>
                    </a:lnTo>
                    <a:lnTo>
                      <a:pt x="2176" y="310"/>
                    </a:lnTo>
                    <a:lnTo>
                      <a:pt x="2156" y="312"/>
                    </a:lnTo>
                    <a:lnTo>
                      <a:pt x="2134" y="312"/>
                    </a:lnTo>
                    <a:lnTo>
                      <a:pt x="2076" y="312"/>
                    </a:lnTo>
                    <a:lnTo>
                      <a:pt x="2076" y="62"/>
                    </a:lnTo>
                    <a:lnTo>
                      <a:pt x="2134" y="62"/>
                    </a:lnTo>
                    <a:lnTo>
                      <a:pt x="2134" y="158"/>
                    </a:lnTo>
                    <a:lnTo>
                      <a:pt x="2144" y="158"/>
                    </a:lnTo>
                    <a:lnTo>
                      <a:pt x="2144" y="158"/>
                    </a:lnTo>
                    <a:lnTo>
                      <a:pt x="2164" y="158"/>
                    </a:lnTo>
                    <a:lnTo>
                      <a:pt x="2182" y="162"/>
                    </a:lnTo>
                    <a:lnTo>
                      <a:pt x="2196" y="166"/>
                    </a:lnTo>
                    <a:lnTo>
                      <a:pt x="2206" y="172"/>
                    </a:lnTo>
                    <a:lnTo>
                      <a:pt x="2214" y="180"/>
                    </a:lnTo>
                    <a:lnTo>
                      <a:pt x="2220" y="190"/>
                    </a:lnTo>
                    <a:lnTo>
                      <a:pt x="2224" y="204"/>
                    </a:lnTo>
                    <a:lnTo>
                      <a:pt x="2224" y="222"/>
                    </a:lnTo>
                    <a:lnTo>
                      <a:pt x="2224" y="248"/>
                    </a:lnTo>
                    <a:close/>
                    <a:moveTo>
                      <a:pt x="1732" y="108"/>
                    </a:moveTo>
                    <a:lnTo>
                      <a:pt x="1686" y="108"/>
                    </a:lnTo>
                    <a:lnTo>
                      <a:pt x="1686" y="312"/>
                    </a:lnTo>
                    <a:lnTo>
                      <a:pt x="1630" y="312"/>
                    </a:lnTo>
                    <a:lnTo>
                      <a:pt x="1630" y="108"/>
                    </a:lnTo>
                    <a:lnTo>
                      <a:pt x="1582" y="108"/>
                    </a:lnTo>
                    <a:lnTo>
                      <a:pt x="1582" y="62"/>
                    </a:lnTo>
                    <a:lnTo>
                      <a:pt x="1732" y="62"/>
                    </a:lnTo>
                    <a:lnTo>
                      <a:pt x="1732" y="108"/>
                    </a:lnTo>
                    <a:close/>
                    <a:moveTo>
                      <a:pt x="1278" y="222"/>
                    </a:moveTo>
                    <a:lnTo>
                      <a:pt x="1278" y="222"/>
                    </a:lnTo>
                    <a:lnTo>
                      <a:pt x="1276" y="240"/>
                    </a:lnTo>
                    <a:lnTo>
                      <a:pt x="1272" y="254"/>
                    </a:lnTo>
                    <a:lnTo>
                      <a:pt x="1266" y="266"/>
                    </a:lnTo>
                    <a:lnTo>
                      <a:pt x="1258" y="274"/>
                    </a:lnTo>
                    <a:lnTo>
                      <a:pt x="1246" y="280"/>
                    </a:lnTo>
                    <a:lnTo>
                      <a:pt x="1230" y="284"/>
                    </a:lnTo>
                    <a:lnTo>
                      <a:pt x="1214" y="286"/>
                    </a:lnTo>
                    <a:lnTo>
                      <a:pt x="1194" y="286"/>
                    </a:lnTo>
                    <a:lnTo>
                      <a:pt x="1194" y="312"/>
                    </a:lnTo>
                    <a:lnTo>
                      <a:pt x="1136" y="312"/>
                    </a:lnTo>
                    <a:lnTo>
                      <a:pt x="1136" y="286"/>
                    </a:lnTo>
                    <a:lnTo>
                      <a:pt x="1136" y="286"/>
                    </a:lnTo>
                    <a:lnTo>
                      <a:pt x="1116" y="286"/>
                    </a:lnTo>
                    <a:lnTo>
                      <a:pt x="1098" y="284"/>
                    </a:lnTo>
                    <a:lnTo>
                      <a:pt x="1084" y="280"/>
                    </a:lnTo>
                    <a:lnTo>
                      <a:pt x="1072" y="274"/>
                    </a:lnTo>
                    <a:lnTo>
                      <a:pt x="1062" y="266"/>
                    </a:lnTo>
                    <a:lnTo>
                      <a:pt x="1056" y="254"/>
                    </a:lnTo>
                    <a:lnTo>
                      <a:pt x="1052" y="240"/>
                    </a:lnTo>
                    <a:lnTo>
                      <a:pt x="1052" y="222"/>
                    </a:lnTo>
                    <a:lnTo>
                      <a:pt x="1052" y="144"/>
                    </a:lnTo>
                    <a:lnTo>
                      <a:pt x="1052" y="144"/>
                    </a:lnTo>
                    <a:lnTo>
                      <a:pt x="1052" y="128"/>
                    </a:lnTo>
                    <a:lnTo>
                      <a:pt x="1056" y="112"/>
                    </a:lnTo>
                    <a:lnTo>
                      <a:pt x="1062" y="102"/>
                    </a:lnTo>
                    <a:lnTo>
                      <a:pt x="1072" y="94"/>
                    </a:lnTo>
                    <a:lnTo>
                      <a:pt x="1082" y="88"/>
                    </a:lnTo>
                    <a:lnTo>
                      <a:pt x="1098" y="84"/>
                    </a:lnTo>
                    <a:lnTo>
                      <a:pt x="1116" y="82"/>
                    </a:lnTo>
                    <a:lnTo>
                      <a:pt x="1136" y="80"/>
                    </a:lnTo>
                    <a:lnTo>
                      <a:pt x="1136" y="62"/>
                    </a:lnTo>
                    <a:lnTo>
                      <a:pt x="1194" y="62"/>
                    </a:lnTo>
                    <a:lnTo>
                      <a:pt x="1194" y="80"/>
                    </a:lnTo>
                    <a:lnTo>
                      <a:pt x="1194" y="80"/>
                    </a:lnTo>
                    <a:lnTo>
                      <a:pt x="1214" y="82"/>
                    </a:lnTo>
                    <a:lnTo>
                      <a:pt x="1232" y="84"/>
                    </a:lnTo>
                    <a:lnTo>
                      <a:pt x="1246" y="88"/>
                    </a:lnTo>
                    <a:lnTo>
                      <a:pt x="1258" y="94"/>
                    </a:lnTo>
                    <a:lnTo>
                      <a:pt x="1266" y="102"/>
                    </a:lnTo>
                    <a:lnTo>
                      <a:pt x="1272" y="112"/>
                    </a:lnTo>
                    <a:lnTo>
                      <a:pt x="1276" y="128"/>
                    </a:lnTo>
                    <a:lnTo>
                      <a:pt x="1278" y="144"/>
                    </a:lnTo>
                    <a:lnTo>
                      <a:pt x="1278" y="222"/>
                    </a:lnTo>
                    <a:close/>
                    <a:moveTo>
                      <a:pt x="742" y="108"/>
                    </a:moveTo>
                    <a:lnTo>
                      <a:pt x="662" y="108"/>
                    </a:lnTo>
                    <a:lnTo>
                      <a:pt x="662" y="158"/>
                    </a:lnTo>
                    <a:lnTo>
                      <a:pt x="734" y="158"/>
                    </a:lnTo>
                    <a:lnTo>
                      <a:pt x="734" y="206"/>
                    </a:lnTo>
                    <a:lnTo>
                      <a:pt x="662" y="206"/>
                    </a:lnTo>
                    <a:lnTo>
                      <a:pt x="662" y="264"/>
                    </a:lnTo>
                    <a:lnTo>
                      <a:pt x="742" y="264"/>
                    </a:lnTo>
                    <a:lnTo>
                      <a:pt x="742" y="312"/>
                    </a:lnTo>
                    <a:lnTo>
                      <a:pt x="600" y="312"/>
                    </a:lnTo>
                    <a:lnTo>
                      <a:pt x="600" y="62"/>
                    </a:lnTo>
                    <a:lnTo>
                      <a:pt x="742" y="62"/>
                    </a:lnTo>
                    <a:lnTo>
                      <a:pt x="742" y="108"/>
                    </a:lnTo>
                    <a:close/>
                    <a:moveTo>
                      <a:pt x="252" y="312"/>
                    </a:moveTo>
                    <a:lnTo>
                      <a:pt x="194" y="312"/>
                    </a:lnTo>
                    <a:lnTo>
                      <a:pt x="194" y="202"/>
                    </a:lnTo>
                    <a:lnTo>
                      <a:pt x="164" y="202"/>
                    </a:lnTo>
                    <a:lnTo>
                      <a:pt x="164" y="312"/>
                    </a:lnTo>
                    <a:lnTo>
                      <a:pt x="104" y="312"/>
                    </a:lnTo>
                    <a:lnTo>
                      <a:pt x="104" y="62"/>
                    </a:lnTo>
                    <a:lnTo>
                      <a:pt x="164" y="62"/>
                    </a:lnTo>
                    <a:lnTo>
                      <a:pt x="164" y="158"/>
                    </a:lnTo>
                    <a:lnTo>
                      <a:pt x="194" y="158"/>
                    </a:lnTo>
                    <a:lnTo>
                      <a:pt x="194" y="62"/>
                    </a:lnTo>
                    <a:lnTo>
                      <a:pt x="252" y="62"/>
                    </a:lnTo>
                    <a:lnTo>
                      <a:pt x="252" y="312"/>
                    </a:lnTo>
                    <a:close/>
                    <a:moveTo>
                      <a:pt x="2328" y="0"/>
                    </a:moveTo>
                    <a:lnTo>
                      <a:pt x="0" y="0"/>
                    </a:lnTo>
                    <a:lnTo>
                      <a:pt x="0" y="384"/>
                    </a:lnTo>
                    <a:lnTo>
                      <a:pt x="2328" y="384"/>
                    </a:lnTo>
                    <a:lnTo>
                      <a:pt x="2328" y="0"/>
                    </a:lnTo>
                    <a:close/>
                    <a:moveTo>
                      <a:pt x="1108" y="142"/>
                    </a:moveTo>
                    <a:lnTo>
                      <a:pt x="1108" y="224"/>
                    </a:lnTo>
                    <a:lnTo>
                      <a:pt x="1108" y="224"/>
                    </a:lnTo>
                    <a:lnTo>
                      <a:pt x="1110" y="232"/>
                    </a:lnTo>
                    <a:lnTo>
                      <a:pt x="1112" y="238"/>
                    </a:lnTo>
                    <a:lnTo>
                      <a:pt x="1118" y="240"/>
                    </a:lnTo>
                    <a:lnTo>
                      <a:pt x="1126" y="240"/>
                    </a:lnTo>
                    <a:lnTo>
                      <a:pt x="1136" y="240"/>
                    </a:lnTo>
                    <a:lnTo>
                      <a:pt x="1136" y="124"/>
                    </a:lnTo>
                    <a:lnTo>
                      <a:pt x="1126" y="124"/>
                    </a:lnTo>
                    <a:lnTo>
                      <a:pt x="1126" y="124"/>
                    </a:lnTo>
                    <a:lnTo>
                      <a:pt x="1118" y="126"/>
                    </a:lnTo>
                    <a:lnTo>
                      <a:pt x="1112" y="128"/>
                    </a:lnTo>
                    <a:lnTo>
                      <a:pt x="1110" y="134"/>
                    </a:lnTo>
                    <a:lnTo>
                      <a:pt x="1108" y="142"/>
                    </a:lnTo>
                    <a:close/>
                    <a:moveTo>
                      <a:pt x="1202" y="124"/>
                    </a:moveTo>
                    <a:lnTo>
                      <a:pt x="1194" y="124"/>
                    </a:lnTo>
                    <a:lnTo>
                      <a:pt x="1194" y="240"/>
                    </a:lnTo>
                    <a:lnTo>
                      <a:pt x="1202" y="240"/>
                    </a:lnTo>
                    <a:lnTo>
                      <a:pt x="1202" y="240"/>
                    </a:lnTo>
                    <a:lnTo>
                      <a:pt x="1210" y="240"/>
                    </a:lnTo>
                    <a:lnTo>
                      <a:pt x="1216" y="238"/>
                    </a:lnTo>
                    <a:lnTo>
                      <a:pt x="1220" y="232"/>
                    </a:lnTo>
                    <a:lnTo>
                      <a:pt x="1220" y="222"/>
                    </a:lnTo>
                    <a:lnTo>
                      <a:pt x="1220" y="142"/>
                    </a:lnTo>
                    <a:lnTo>
                      <a:pt x="1220" y="142"/>
                    </a:lnTo>
                    <a:lnTo>
                      <a:pt x="1220" y="134"/>
                    </a:lnTo>
                    <a:lnTo>
                      <a:pt x="1216" y="128"/>
                    </a:lnTo>
                    <a:lnTo>
                      <a:pt x="1210" y="126"/>
                    </a:lnTo>
                    <a:lnTo>
                      <a:pt x="1202" y="124"/>
                    </a:lnTo>
                    <a:close/>
                    <a:moveTo>
                      <a:pt x="2148" y="202"/>
                    </a:moveTo>
                    <a:lnTo>
                      <a:pt x="2134" y="202"/>
                    </a:lnTo>
                    <a:lnTo>
                      <a:pt x="2134" y="268"/>
                    </a:lnTo>
                    <a:lnTo>
                      <a:pt x="2148" y="268"/>
                    </a:lnTo>
                    <a:lnTo>
                      <a:pt x="2148" y="268"/>
                    </a:lnTo>
                    <a:lnTo>
                      <a:pt x="2156" y="266"/>
                    </a:lnTo>
                    <a:lnTo>
                      <a:pt x="2162" y="264"/>
                    </a:lnTo>
                    <a:lnTo>
                      <a:pt x="2164" y="258"/>
                    </a:lnTo>
                    <a:lnTo>
                      <a:pt x="2166" y="250"/>
                    </a:lnTo>
                    <a:lnTo>
                      <a:pt x="2166" y="220"/>
                    </a:lnTo>
                    <a:lnTo>
                      <a:pt x="2166" y="220"/>
                    </a:lnTo>
                    <a:lnTo>
                      <a:pt x="2164" y="212"/>
                    </a:lnTo>
                    <a:lnTo>
                      <a:pt x="2162" y="206"/>
                    </a:lnTo>
                    <a:lnTo>
                      <a:pt x="2156" y="204"/>
                    </a:lnTo>
                    <a:lnTo>
                      <a:pt x="2148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61" name="Freeform 27"/>
              <p:cNvSpPr>
                <a:spLocks/>
              </p:cNvSpPr>
              <p:nvPr userDrawn="1"/>
            </p:nvSpPr>
            <p:spPr bwMode="auto">
              <a:xfrm>
                <a:off x="2536" y="2549"/>
                <a:ext cx="28" cy="116"/>
              </a:xfrm>
              <a:custGeom>
                <a:avLst/>
                <a:gdLst>
                  <a:gd name="T0" fmla="*/ 0 w 28"/>
                  <a:gd name="T1" fmla="*/ 18 h 116"/>
                  <a:gd name="T2" fmla="*/ 0 w 28"/>
                  <a:gd name="T3" fmla="*/ 100 h 116"/>
                  <a:gd name="T4" fmla="*/ 0 w 28"/>
                  <a:gd name="T5" fmla="*/ 100 h 116"/>
                  <a:gd name="T6" fmla="*/ 2 w 28"/>
                  <a:gd name="T7" fmla="*/ 108 h 116"/>
                  <a:gd name="T8" fmla="*/ 4 w 28"/>
                  <a:gd name="T9" fmla="*/ 114 h 116"/>
                  <a:gd name="T10" fmla="*/ 10 w 28"/>
                  <a:gd name="T11" fmla="*/ 116 h 116"/>
                  <a:gd name="T12" fmla="*/ 18 w 28"/>
                  <a:gd name="T13" fmla="*/ 116 h 116"/>
                  <a:gd name="T14" fmla="*/ 28 w 28"/>
                  <a:gd name="T15" fmla="*/ 116 h 116"/>
                  <a:gd name="T16" fmla="*/ 28 w 28"/>
                  <a:gd name="T17" fmla="*/ 0 h 116"/>
                  <a:gd name="T18" fmla="*/ 18 w 28"/>
                  <a:gd name="T19" fmla="*/ 0 h 116"/>
                  <a:gd name="T20" fmla="*/ 18 w 28"/>
                  <a:gd name="T21" fmla="*/ 0 h 116"/>
                  <a:gd name="T22" fmla="*/ 10 w 28"/>
                  <a:gd name="T23" fmla="*/ 2 h 116"/>
                  <a:gd name="T24" fmla="*/ 4 w 28"/>
                  <a:gd name="T25" fmla="*/ 4 h 116"/>
                  <a:gd name="T26" fmla="*/ 2 w 28"/>
                  <a:gd name="T27" fmla="*/ 10 h 116"/>
                  <a:gd name="T28" fmla="*/ 0 w 28"/>
                  <a:gd name="T29" fmla="*/ 1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116">
                    <a:moveTo>
                      <a:pt x="0" y="18"/>
                    </a:moveTo>
                    <a:lnTo>
                      <a:pt x="0" y="100"/>
                    </a:lnTo>
                    <a:lnTo>
                      <a:pt x="0" y="100"/>
                    </a:lnTo>
                    <a:lnTo>
                      <a:pt x="2" y="108"/>
                    </a:lnTo>
                    <a:lnTo>
                      <a:pt x="4" y="114"/>
                    </a:lnTo>
                    <a:lnTo>
                      <a:pt x="10" y="116"/>
                    </a:lnTo>
                    <a:lnTo>
                      <a:pt x="18" y="116"/>
                    </a:lnTo>
                    <a:lnTo>
                      <a:pt x="28" y="116"/>
                    </a:lnTo>
                    <a:lnTo>
                      <a:pt x="2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62" name="Freeform 28"/>
              <p:cNvSpPr>
                <a:spLocks/>
              </p:cNvSpPr>
              <p:nvPr userDrawn="1"/>
            </p:nvSpPr>
            <p:spPr bwMode="auto">
              <a:xfrm>
                <a:off x="2622" y="2549"/>
                <a:ext cx="26" cy="116"/>
              </a:xfrm>
              <a:custGeom>
                <a:avLst/>
                <a:gdLst>
                  <a:gd name="T0" fmla="*/ 8 w 26"/>
                  <a:gd name="T1" fmla="*/ 0 h 116"/>
                  <a:gd name="T2" fmla="*/ 0 w 26"/>
                  <a:gd name="T3" fmla="*/ 0 h 116"/>
                  <a:gd name="T4" fmla="*/ 0 w 26"/>
                  <a:gd name="T5" fmla="*/ 116 h 116"/>
                  <a:gd name="T6" fmla="*/ 8 w 26"/>
                  <a:gd name="T7" fmla="*/ 116 h 116"/>
                  <a:gd name="T8" fmla="*/ 8 w 26"/>
                  <a:gd name="T9" fmla="*/ 116 h 116"/>
                  <a:gd name="T10" fmla="*/ 16 w 26"/>
                  <a:gd name="T11" fmla="*/ 116 h 116"/>
                  <a:gd name="T12" fmla="*/ 22 w 26"/>
                  <a:gd name="T13" fmla="*/ 114 h 116"/>
                  <a:gd name="T14" fmla="*/ 26 w 26"/>
                  <a:gd name="T15" fmla="*/ 108 h 116"/>
                  <a:gd name="T16" fmla="*/ 26 w 26"/>
                  <a:gd name="T17" fmla="*/ 98 h 116"/>
                  <a:gd name="T18" fmla="*/ 26 w 26"/>
                  <a:gd name="T19" fmla="*/ 18 h 116"/>
                  <a:gd name="T20" fmla="*/ 26 w 26"/>
                  <a:gd name="T21" fmla="*/ 18 h 116"/>
                  <a:gd name="T22" fmla="*/ 26 w 26"/>
                  <a:gd name="T23" fmla="*/ 10 h 116"/>
                  <a:gd name="T24" fmla="*/ 22 w 26"/>
                  <a:gd name="T25" fmla="*/ 4 h 116"/>
                  <a:gd name="T26" fmla="*/ 16 w 26"/>
                  <a:gd name="T27" fmla="*/ 2 h 116"/>
                  <a:gd name="T28" fmla="*/ 8 w 26"/>
                  <a:gd name="T2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116">
                    <a:moveTo>
                      <a:pt x="8" y="0"/>
                    </a:moveTo>
                    <a:lnTo>
                      <a:pt x="0" y="0"/>
                    </a:lnTo>
                    <a:lnTo>
                      <a:pt x="0" y="116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16" y="116"/>
                    </a:lnTo>
                    <a:lnTo>
                      <a:pt x="22" y="114"/>
                    </a:lnTo>
                    <a:lnTo>
                      <a:pt x="26" y="108"/>
                    </a:lnTo>
                    <a:lnTo>
                      <a:pt x="26" y="9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0"/>
                    </a:lnTo>
                    <a:lnTo>
                      <a:pt x="22" y="4"/>
                    </a:lnTo>
                    <a:lnTo>
                      <a:pt x="16" y="2"/>
                    </a:lnTo>
                    <a:lnTo>
                      <a:pt x="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63" name="Freeform 29"/>
              <p:cNvSpPr>
                <a:spLocks/>
              </p:cNvSpPr>
              <p:nvPr userDrawn="1"/>
            </p:nvSpPr>
            <p:spPr bwMode="auto">
              <a:xfrm>
                <a:off x="3562" y="2627"/>
                <a:ext cx="32" cy="66"/>
              </a:xfrm>
              <a:custGeom>
                <a:avLst/>
                <a:gdLst>
                  <a:gd name="T0" fmla="*/ 14 w 32"/>
                  <a:gd name="T1" fmla="*/ 0 h 66"/>
                  <a:gd name="T2" fmla="*/ 0 w 32"/>
                  <a:gd name="T3" fmla="*/ 0 h 66"/>
                  <a:gd name="T4" fmla="*/ 0 w 32"/>
                  <a:gd name="T5" fmla="*/ 66 h 66"/>
                  <a:gd name="T6" fmla="*/ 14 w 32"/>
                  <a:gd name="T7" fmla="*/ 66 h 66"/>
                  <a:gd name="T8" fmla="*/ 14 w 32"/>
                  <a:gd name="T9" fmla="*/ 66 h 66"/>
                  <a:gd name="T10" fmla="*/ 22 w 32"/>
                  <a:gd name="T11" fmla="*/ 64 h 66"/>
                  <a:gd name="T12" fmla="*/ 28 w 32"/>
                  <a:gd name="T13" fmla="*/ 62 h 66"/>
                  <a:gd name="T14" fmla="*/ 30 w 32"/>
                  <a:gd name="T15" fmla="*/ 56 h 66"/>
                  <a:gd name="T16" fmla="*/ 32 w 32"/>
                  <a:gd name="T17" fmla="*/ 48 h 66"/>
                  <a:gd name="T18" fmla="*/ 32 w 32"/>
                  <a:gd name="T19" fmla="*/ 18 h 66"/>
                  <a:gd name="T20" fmla="*/ 32 w 32"/>
                  <a:gd name="T21" fmla="*/ 18 h 66"/>
                  <a:gd name="T22" fmla="*/ 30 w 32"/>
                  <a:gd name="T23" fmla="*/ 10 h 66"/>
                  <a:gd name="T24" fmla="*/ 28 w 32"/>
                  <a:gd name="T25" fmla="*/ 4 h 66"/>
                  <a:gd name="T26" fmla="*/ 22 w 32"/>
                  <a:gd name="T27" fmla="*/ 2 h 66"/>
                  <a:gd name="T28" fmla="*/ 14 w 32"/>
                  <a:gd name="T2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66">
                    <a:moveTo>
                      <a:pt x="14" y="0"/>
                    </a:moveTo>
                    <a:lnTo>
                      <a:pt x="0" y="0"/>
                    </a:lnTo>
                    <a:lnTo>
                      <a:pt x="0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22" y="64"/>
                    </a:lnTo>
                    <a:lnTo>
                      <a:pt x="28" y="62"/>
                    </a:lnTo>
                    <a:lnTo>
                      <a:pt x="30" y="56"/>
                    </a:lnTo>
                    <a:lnTo>
                      <a:pt x="32" y="4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</p:grpSp>
      </p:grpSp>
      <p:sp>
        <p:nvSpPr>
          <p:cNvPr id="171" name="Скругленный прямоугольник 170"/>
          <p:cNvSpPr/>
          <p:nvPr/>
        </p:nvSpPr>
        <p:spPr>
          <a:xfrm>
            <a:off x="3166124" y="3472033"/>
            <a:ext cx="1166891" cy="60687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35" name="Прямая со стрелкой 34"/>
          <p:cNvCxnSpPr/>
          <p:nvPr/>
        </p:nvCxnSpPr>
        <p:spPr>
          <a:xfrm>
            <a:off x="4491450" y="2403844"/>
            <a:ext cx="1134446" cy="0"/>
          </a:xfrm>
          <a:prstGeom prst="straightConnector1">
            <a:avLst/>
          </a:prstGeom>
          <a:ln w="28575">
            <a:solidFill>
              <a:srgbClr val="9ACA3C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289439"/>
            <a:ext cx="8566071" cy="457874"/>
          </a:xfrm>
        </p:spPr>
        <p:txBody>
          <a:bodyPr>
            <a:noAutofit/>
          </a:bodyPr>
          <a:lstStyle/>
          <a:p>
            <a:r>
              <a:rPr lang="ru-RU" sz="1600" b="0" dirty="0">
                <a:solidFill>
                  <a:schemeClr val="accent1"/>
                </a:solidFill>
                <a:latin typeface="+mj-lt"/>
              </a:rPr>
              <a:t>«Технологический центр «</a:t>
            </a:r>
            <a:r>
              <a:rPr lang="ru-RU" sz="1600" b="0" dirty="0" err="1">
                <a:solidFill>
                  <a:schemeClr val="accent1"/>
                </a:solidFill>
                <a:latin typeface="+mj-lt"/>
              </a:rPr>
              <a:t>Бажен</a:t>
            </a:r>
            <a:r>
              <a:rPr lang="ru-RU" sz="1600" b="0" dirty="0">
                <a:solidFill>
                  <a:schemeClr val="accent1"/>
                </a:solidFill>
                <a:latin typeface="+mj-lt"/>
              </a:rPr>
              <a:t>» – отраслевая площадка взаимодействия ВИНК, производителей, сервисных компаний и инвесторов по созданию новых технологий 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282266" y="2092847"/>
            <a:ext cx="1518285" cy="732835"/>
          </a:xfrm>
          <a:prstGeom prst="round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48" name="Прямоугольник 47"/>
          <p:cNvSpPr/>
          <p:nvPr/>
        </p:nvSpPr>
        <p:spPr>
          <a:xfrm>
            <a:off x="287338" y="3101995"/>
            <a:ext cx="2505075" cy="16748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0000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Формирует</a:t>
            </a:r>
            <a:r>
              <a:rPr lang="en-US" sz="1050" dirty="0">
                <a:solidFill>
                  <a:srgbClr val="7F7F7F"/>
                </a:solidFill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и управляет портфелем технологических проектов</a:t>
            </a:r>
          </a:p>
          <a:p>
            <a:pPr marL="270000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Предоставляет площадку</a:t>
            </a:r>
            <a:b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</a:b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для испытания технологий</a:t>
            </a:r>
          </a:p>
          <a:p>
            <a:pPr marL="270000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Создает условия для получения упрощенного доступа к мерам поддержки со стороны государства</a:t>
            </a:r>
          </a:p>
        </p:txBody>
      </p:sp>
      <p:sp>
        <p:nvSpPr>
          <p:cNvPr id="50" name="Равнобедренный треугольник 49"/>
          <p:cNvSpPr/>
          <p:nvPr/>
        </p:nvSpPr>
        <p:spPr>
          <a:xfrm rot="5400000">
            <a:off x="434677" y="3179289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434677" y="3557359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2" name="Равнобедренный треугольник 51"/>
          <p:cNvSpPr/>
          <p:nvPr/>
        </p:nvSpPr>
        <p:spPr>
          <a:xfrm rot="5400000">
            <a:off x="434677" y="3949093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4" name="Прямоугольник 53"/>
          <p:cNvSpPr/>
          <p:nvPr/>
        </p:nvSpPr>
        <p:spPr>
          <a:xfrm>
            <a:off x="3126786" y="4130664"/>
            <a:ext cx="225983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0000"/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Могут участвовать</a:t>
            </a:r>
            <a:r>
              <a:rPr lang="en-US" sz="1050" dirty="0">
                <a:solidFill>
                  <a:srgbClr val="7F7F7F"/>
                </a:solidFill>
                <a:cs typeface="Arial" panose="020B0604020202020204" pitchFamily="34" charset="0"/>
              </a:rPr>
              <a:t/>
            </a:r>
            <a:br>
              <a:rPr lang="en-US" sz="1050" dirty="0">
                <a:solidFill>
                  <a:srgbClr val="7F7F7F"/>
                </a:solidFill>
                <a:cs typeface="Arial" panose="020B0604020202020204" pitchFamily="34" charset="0"/>
              </a:rPr>
            </a:b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в финансировании проектов</a:t>
            </a:r>
          </a:p>
        </p:txBody>
      </p:sp>
      <p:sp>
        <p:nvSpPr>
          <p:cNvPr id="56" name="Равнобедренный треугольник 55"/>
          <p:cNvSpPr/>
          <p:nvPr/>
        </p:nvSpPr>
        <p:spPr>
          <a:xfrm rot="5400000">
            <a:off x="3298657" y="4227216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8" name="Прямоугольник 57"/>
          <p:cNvSpPr/>
          <p:nvPr/>
        </p:nvSpPr>
        <p:spPr>
          <a:xfrm>
            <a:off x="5596650" y="3228657"/>
            <a:ext cx="1511042" cy="1125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1413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Вносят интеллектуальный вклад (патент, разработки и т. п.)</a:t>
            </a:r>
          </a:p>
          <a:p>
            <a:pPr marL="141413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Участвуют</a:t>
            </a:r>
            <a:b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</a:b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в финансировании</a:t>
            </a:r>
          </a:p>
        </p:txBody>
      </p:sp>
      <p:sp>
        <p:nvSpPr>
          <p:cNvPr id="60" name="Равнобедренный треугольник 59"/>
          <p:cNvSpPr/>
          <p:nvPr/>
        </p:nvSpPr>
        <p:spPr>
          <a:xfrm rot="5400000">
            <a:off x="5618732" y="3313230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1" name="Равнобедренный треугольник 60"/>
          <p:cNvSpPr/>
          <p:nvPr/>
        </p:nvSpPr>
        <p:spPr>
          <a:xfrm rot="5400000">
            <a:off x="5618732" y="4005702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0" name="Прямоугольник 69"/>
          <p:cNvSpPr/>
          <p:nvPr/>
        </p:nvSpPr>
        <p:spPr>
          <a:xfrm>
            <a:off x="7278179" y="3234531"/>
            <a:ext cx="1677951" cy="1641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0000">
              <a:spcBef>
                <a:spcPts val="450"/>
              </a:spcBef>
            </a:pPr>
            <a:r>
              <a:rPr lang="ru-RU" sz="1050" b="1" dirty="0">
                <a:solidFill>
                  <a:srgbClr val="7F7F7F"/>
                </a:solidFill>
                <a:cs typeface="Arial" panose="020B0604020202020204" pitchFamily="34" charset="0"/>
              </a:rPr>
              <a:t>Предоставляет</a:t>
            </a:r>
            <a:r>
              <a:rPr lang="en-US" sz="1050" b="1" dirty="0">
                <a:solidFill>
                  <a:srgbClr val="7F7F7F"/>
                </a:solidFill>
                <a:cs typeface="Arial" panose="020B0604020202020204" pitchFamily="34" charset="0"/>
              </a:rPr>
              <a:t>:</a:t>
            </a: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 </a:t>
            </a:r>
            <a:endParaRPr lang="en-US" sz="1050" dirty="0">
              <a:solidFill>
                <a:srgbClr val="7F7F7F"/>
              </a:solidFill>
              <a:cs typeface="Arial" panose="020B0604020202020204" pitchFamily="34" charset="0"/>
            </a:endParaRPr>
          </a:p>
          <a:p>
            <a:pPr marL="270000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Налоговые льготы</a:t>
            </a:r>
            <a:endParaRPr lang="en-US" sz="1050" dirty="0">
              <a:solidFill>
                <a:srgbClr val="7F7F7F"/>
              </a:solidFill>
              <a:cs typeface="Arial" panose="020B0604020202020204" pitchFamily="34" charset="0"/>
            </a:endParaRPr>
          </a:p>
          <a:p>
            <a:pPr marL="270000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Субсидии</a:t>
            </a:r>
            <a:endParaRPr lang="en-US" sz="1050" dirty="0">
              <a:solidFill>
                <a:srgbClr val="7F7F7F"/>
              </a:solidFill>
              <a:cs typeface="Arial" panose="020B0604020202020204" pitchFamily="34" charset="0"/>
            </a:endParaRPr>
          </a:p>
          <a:p>
            <a:pPr marL="270000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Специальные условия финансирования</a:t>
            </a:r>
            <a:endParaRPr lang="en-US" sz="1050" dirty="0">
              <a:solidFill>
                <a:srgbClr val="7F7F7F"/>
              </a:solidFill>
              <a:cs typeface="Arial" panose="020B0604020202020204" pitchFamily="34" charset="0"/>
            </a:endParaRPr>
          </a:p>
          <a:p>
            <a:pPr marL="270000">
              <a:spcBef>
                <a:spcPts val="450"/>
              </a:spcBef>
            </a:pPr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Особые условия недропользования</a:t>
            </a:r>
          </a:p>
        </p:txBody>
      </p:sp>
      <p:sp>
        <p:nvSpPr>
          <p:cNvPr id="74" name="Равнобедренный треугольник 73"/>
          <p:cNvSpPr/>
          <p:nvPr/>
        </p:nvSpPr>
        <p:spPr>
          <a:xfrm rot="5400000">
            <a:off x="7478971" y="3535143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0" name="Прямоугольник 89"/>
          <p:cNvSpPr/>
          <p:nvPr/>
        </p:nvSpPr>
        <p:spPr>
          <a:xfrm>
            <a:off x="228667" y="880722"/>
            <a:ext cx="72651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450"/>
              </a:spcBef>
            </a:pPr>
            <a:r>
              <a:rPr lang="ru-RU" sz="1200" dirty="0">
                <a:solidFill>
                  <a:srgbClr val="706F6F"/>
                </a:solidFill>
              </a:rPr>
              <a:t>В результате успешной реализации проекта Компании будет доступен эффективный и конкурентный рынок услуг по разработке нетрадиционных запасов. </a:t>
            </a:r>
          </a:p>
        </p:txBody>
      </p:sp>
      <p:grpSp>
        <p:nvGrpSpPr>
          <p:cNvPr id="152" name="Группа 151"/>
          <p:cNvGrpSpPr/>
          <p:nvPr/>
        </p:nvGrpSpPr>
        <p:grpSpPr>
          <a:xfrm>
            <a:off x="796529" y="1790550"/>
            <a:ext cx="439341" cy="441722"/>
            <a:chOff x="1062038" y="2794000"/>
            <a:chExt cx="585788" cy="588963"/>
          </a:xfrm>
        </p:grpSpPr>
        <p:sp>
          <p:nvSpPr>
            <p:cNvPr id="98" name="Oval 5"/>
            <p:cNvSpPr>
              <a:spLocks noChangeArrowheads="1"/>
            </p:cNvSpPr>
            <p:nvPr/>
          </p:nvSpPr>
          <p:spPr bwMode="auto">
            <a:xfrm>
              <a:off x="1062038" y="2794000"/>
              <a:ext cx="585788" cy="588963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99" name="Freeform 6"/>
            <p:cNvSpPr>
              <a:spLocks/>
            </p:cNvSpPr>
            <p:nvPr/>
          </p:nvSpPr>
          <p:spPr bwMode="auto">
            <a:xfrm>
              <a:off x="1228725" y="2900363"/>
              <a:ext cx="190500" cy="187325"/>
            </a:xfrm>
            <a:custGeom>
              <a:avLst/>
              <a:gdLst>
                <a:gd name="T0" fmla="*/ 67 w 79"/>
                <a:gd name="T1" fmla="*/ 40 h 78"/>
                <a:gd name="T2" fmla="*/ 57 w 79"/>
                <a:gd name="T3" fmla="*/ 46 h 78"/>
                <a:gd name="T4" fmla="*/ 53 w 79"/>
                <a:gd name="T5" fmla="*/ 46 h 78"/>
                <a:gd name="T6" fmla="*/ 53 w 79"/>
                <a:gd name="T7" fmla="*/ 25 h 78"/>
                <a:gd name="T8" fmla="*/ 33 w 79"/>
                <a:gd name="T9" fmla="*/ 25 h 78"/>
                <a:gd name="T10" fmla="*/ 33 w 79"/>
                <a:gd name="T11" fmla="*/ 21 h 78"/>
                <a:gd name="T12" fmla="*/ 38 w 79"/>
                <a:gd name="T13" fmla="*/ 11 h 78"/>
                <a:gd name="T14" fmla="*/ 26 w 79"/>
                <a:gd name="T15" fmla="*/ 0 h 78"/>
                <a:gd name="T16" fmla="*/ 15 w 79"/>
                <a:gd name="T17" fmla="*/ 11 h 78"/>
                <a:gd name="T18" fmla="*/ 20 w 79"/>
                <a:gd name="T19" fmla="*/ 21 h 78"/>
                <a:gd name="T20" fmla="*/ 20 w 79"/>
                <a:gd name="T21" fmla="*/ 25 h 78"/>
                <a:gd name="T22" fmla="*/ 6 w 79"/>
                <a:gd name="T23" fmla="*/ 25 h 78"/>
                <a:gd name="T24" fmla="*/ 0 w 79"/>
                <a:gd name="T25" fmla="*/ 32 h 78"/>
                <a:gd name="T26" fmla="*/ 0 w 79"/>
                <a:gd name="T27" fmla="*/ 78 h 78"/>
                <a:gd name="T28" fmla="*/ 0 w 79"/>
                <a:gd name="T29" fmla="*/ 78 h 78"/>
                <a:gd name="T30" fmla="*/ 0 w 79"/>
                <a:gd name="T31" fmla="*/ 78 h 78"/>
                <a:gd name="T32" fmla="*/ 20 w 79"/>
                <a:gd name="T33" fmla="*/ 78 h 78"/>
                <a:gd name="T34" fmla="*/ 20 w 79"/>
                <a:gd name="T35" fmla="*/ 73 h 78"/>
                <a:gd name="T36" fmla="*/ 15 w 79"/>
                <a:gd name="T37" fmla="*/ 63 h 78"/>
                <a:gd name="T38" fmla="*/ 27 w 79"/>
                <a:gd name="T39" fmla="*/ 50 h 78"/>
                <a:gd name="T40" fmla="*/ 40 w 79"/>
                <a:gd name="T41" fmla="*/ 63 h 78"/>
                <a:gd name="T42" fmla="*/ 35 w 79"/>
                <a:gd name="T43" fmla="*/ 73 h 78"/>
                <a:gd name="T44" fmla="*/ 35 w 79"/>
                <a:gd name="T45" fmla="*/ 78 h 78"/>
                <a:gd name="T46" fmla="*/ 53 w 79"/>
                <a:gd name="T47" fmla="*/ 78 h 78"/>
                <a:gd name="T48" fmla="*/ 53 w 79"/>
                <a:gd name="T49" fmla="*/ 78 h 78"/>
                <a:gd name="T50" fmla="*/ 53 w 79"/>
                <a:gd name="T51" fmla="*/ 78 h 78"/>
                <a:gd name="T52" fmla="*/ 53 w 79"/>
                <a:gd name="T53" fmla="*/ 58 h 78"/>
                <a:gd name="T54" fmla="*/ 57 w 79"/>
                <a:gd name="T55" fmla="*/ 58 h 78"/>
                <a:gd name="T56" fmla="*/ 67 w 79"/>
                <a:gd name="T57" fmla="*/ 64 h 78"/>
                <a:gd name="T58" fmla="*/ 79 w 79"/>
                <a:gd name="T59" fmla="*/ 52 h 78"/>
                <a:gd name="T60" fmla="*/ 67 w 79"/>
                <a:gd name="T61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78">
                  <a:moveTo>
                    <a:pt x="67" y="40"/>
                  </a:moveTo>
                  <a:cubicBezTo>
                    <a:pt x="63" y="40"/>
                    <a:pt x="60" y="42"/>
                    <a:pt x="57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6" y="19"/>
                    <a:pt x="38" y="15"/>
                    <a:pt x="38" y="11"/>
                  </a:cubicBezTo>
                  <a:cubicBezTo>
                    <a:pt x="38" y="5"/>
                    <a:pt x="33" y="0"/>
                    <a:pt x="26" y="0"/>
                  </a:cubicBezTo>
                  <a:cubicBezTo>
                    <a:pt x="20" y="0"/>
                    <a:pt x="15" y="5"/>
                    <a:pt x="15" y="11"/>
                  </a:cubicBezTo>
                  <a:cubicBezTo>
                    <a:pt x="15" y="15"/>
                    <a:pt x="17" y="19"/>
                    <a:pt x="20" y="2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4" y="26"/>
                    <a:pt x="0" y="27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7" y="70"/>
                    <a:pt x="15" y="67"/>
                    <a:pt x="15" y="63"/>
                  </a:cubicBezTo>
                  <a:cubicBezTo>
                    <a:pt x="15" y="56"/>
                    <a:pt x="21" y="50"/>
                    <a:pt x="27" y="50"/>
                  </a:cubicBezTo>
                  <a:cubicBezTo>
                    <a:pt x="34" y="50"/>
                    <a:pt x="40" y="56"/>
                    <a:pt x="40" y="63"/>
                  </a:cubicBezTo>
                  <a:cubicBezTo>
                    <a:pt x="40" y="67"/>
                    <a:pt x="38" y="70"/>
                    <a:pt x="35" y="73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60" y="62"/>
                    <a:pt x="63" y="64"/>
                    <a:pt x="67" y="64"/>
                  </a:cubicBezTo>
                  <a:cubicBezTo>
                    <a:pt x="74" y="64"/>
                    <a:pt x="79" y="58"/>
                    <a:pt x="79" y="52"/>
                  </a:cubicBezTo>
                  <a:cubicBezTo>
                    <a:pt x="79" y="46"/>
                    <a:pt x="74" y="40"/>
                    <a:pt x="67" y="40"/>
                  </a:cubicBez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0" name="Freeform 7"/>
            <p:cNvSpPr>
              <a:spLocks/>
            </p:cNvSpPr>
            <p:nvPr/>
          </p:nvSpPr>
          <p:spPr bwMode="auto">
            <a:xfrm>
              <a:off x="1354138" y="2960688"/>
              <a:ext cx="190500" cy="190500"/>
            </a:xfrm>
            <a:custGeom>
              <a:avLst/>
              <a:gdLst>
                <a:gd name="T0" fmla="*/ 68 w 79"/>
                <a:gd name="T1" fmla="*/ 15 h 79"/>
                <a:gd name="T2" fmla="*/ 58 w 79"/>
                <a:gd name="T3" fmla="*/ 21 h 79"/>
                <a:gd name="T4" fmla="*/ 53 w 79"/>
                <a:gd name="T5" fmla="*/ 21 h 79"/>
                <a:gd name="T6" fmla="*/ 53 w 79"/>
                <a:gd name="T7" fmla="*/ 8 h 79"/>
                <a:gd name="T8" fmla="*/ 47 w 79"/>
                <a:gd name="T9" fmla="*/ 0 h 79"/>
                <a:gd name="T10" fmla="*/ 0 w 79"/>
                <a:gd name="T11" fmla="*/ 0 h 79"/>
                <a:gd name="T12" fmla="*/ 0 w 79"/>
                <a:gd name="T13" fmla="*/ 0 h 79"/>
                <a:gd name="T14" fmla="*/ 1 w 79"/>
                <a:gd name="T15" fmla="*/ 0 h 79"/>
                <a:gd name="T16" fmla="*/ 1 w 79"/>
                <a:gd name="T17" fmla="*/ 21 h 79"/>
                <a:gd name="T18" fmla="*/ 5 w 79"/>
                <a:gd name="T19" fmla="*/ 21 h 79"/>
                <a:gd name="T20" fmla="*/ 15 w 79"/>
                <a:gd name="T21" fmla="*/ 15 h 79"/>
                <a:gd name="T22" fmla="*/ 27 w 79"/>
                <a:gd name="T23" fmla="*/ 27 h 79"/>
                <a:gd name="T24" fmla="*/ 15 w 79"/>
                <a:gd name="T25" fmla="*/ 39 h 79"/>
                <a:gd name="T26" fmla="*/ 5 w 79"/>
                <a:gd name="T27" fmla="*/ 33 h 79"/>
                <a:gd name="T28" fmla="*/ 1 w 79"/>
                <a:gd name="T29" fmla="*/ 33 h 79"/>
                <a:gd name="T30" fmla="*/ 1 w 79"/>
                <a:gd name="T31" fmla="*/ 53 h 79"/>
                <a:gd name="T32" fmla="*/ 20 w 79"/>
                <a:gd name="T33" fmla="*/ 53 h 79"/>
                <a:gd name="T34" fmla="*/ 20 w 79"/>
                <a:gd name="T35" fmla="*/ 58 h 79"/>
                <a:gd name="T36" fmla="*/ 15 w 79"/>
                <a:gd name="T37" fmla="*/ 68 h 79"/>
                <a:gd name="T38" fmla="*/ 27 w 79"/>
                <a:gd name="T39" fmla="*/ 79 h 79"/>
                <a:gd name="T40" fmla="*/ 38 w 79"/>
                <a:gd name="T41" fmla="*/ 68 h 79"/>
                <a:gd name="T42" fmla="*/ 33 w 79"/>
                <a:gd name="T43" fmla="*/ 58 h 79"/>
                <a:gd name="T44" fmla="*/ 33 w 79"/>
                <a:gd name="T45" fmla="*/ 53 h 79"/>
                <a:gd name="T46" fmla="*/ 53 w 79"/>
                <a:gd name="T47" fmla="*/ 53 h 79"/>
                <a:gd name="T48" fmla="*/ 53 w 79"/>
                <a:gd name="T49" fmla="*/ 33 h 79"/>
                <a:gd name="T50" fmla="*/ 58 w 79"/>
                <a:gd name="T51" fmla="*/ 33 h 79"/>
                <a:gd name="T52" fmla="*/ 68 w 79"/>
                <a:gd name="T53" fmla="*/ 39 h 79"/>
                <a:gd name="T54" fmla="*/ 79 w 79"/>
                <a:gd name="T55" fmla="*/ 27 h 79"/>
                <a:gd name="T56" fmla="*/ 68 w 79"/>
                <a:gd name="T57" fmla="*/ 1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9" h="79">
                  <a:moveTo>
                    <a:pt x="68" y="15"/>
                  </a:moveTo>
                  <a:cubicBezTo>
                    <a:pt x="64" y="15"/>
                    <a:pt x="60" y="17"/>
                    <a:pt x="58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2"/>
                    <a:pt x="50" y="1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8" y="17"/>
                    <a:pt x="11" y="15"/>
                    <a:pt x="15" y="15"/>
                  </a:cubicBezTo>
                  <a:cubicBezTo>
                    <a:pt x="22" y="15"/>
                    <a:pt x="27" y="21"/>
                    <a:pt x="27" y="27"/>
                  </a:cubicBezTo>
                  <a:cubicBezTo>
                    <a:pt x="27" y="33"/>
                    <a:pt x="22" y="39"/>
                    <a:pt x="15" y="39"/>
                  </a:cubicBezTo>
                  <a:cubicBezTo>
                    <a:pt x="11" y="39"/>
                    <a:pt x="8" y="37"/>
                    <a:pt x="5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7" y="60"/>
                    <a:pt x="15" y="64"/>
                    <a:pt x="15" y="68"/>
                  </a:cubicBezTo>
                  <a:cubicBezTo>
                    <a:pt x="15" y="74"/>
                    <a:pt x="20" y="79"/>
                    <a:pt x="27" y="79"/>
                  </a:cubicBezTo>
                  <a:cubicBezTo>
                    <a:pt x="33" y="79"/>
                    <a:pt x="38" y="74"/>
                    <a:pt x="38" y="68"/>
                  </a:cubicBezTo>
                  <a:cubicBezTo>
                    <a:pt x="38" y="64"/>
                    <a:pt x="36" y="60"/>
                    <a:pt x="33" y="5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60" y="37"/>
                    <a:pt x="64" y="39"/>
                    <a:pt x="68" y="39"/>
                  </a:cubicBezTo>
                  <a:cubicBezTo>
                    <a:pt x="74" y="39"/>
                    <a:pt x="79" y="33"/>
                    <a:pt x="79" y="27"/>
                  </a:cubicBezTo>
                  <a:cubicBezTo>
                    <a:pt x="79" y="21"/>
                    <a:pt x="74" y="15"/>
                    <a:pt x="68" y="15"/>
                  </a:cubicBez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1" name="Freeform 8"/>
            <p:cNvSpPr>
              <a:spLocks/>
            </p:cNvSpPr>
            <p:nvPr/>
          </p:nvSpPr>
          <p:spPr bwMode="auto">
            <a:xfrm>
              <a:off x="1293813" y="3087688"/>
              <a:ext cx="187325" cy="192088"/>
            </a:xfrm>
            <a:custGeom>
              <a:avLst/>
              <a:gdLst>
                <a:gd name="T0" fmla="*/ 58 w 78"/>
                <a:gd name="T1" fmla="*/ 5 h 79"/>
                <a:gd name="T2" fmla="*/ 63 w 78"/>
                <a:gd name="T3" fmla="*/ 15 h 79"/>
                <a:gd name="T4" fmla="*/ 52 w 78"/>
                <a:gd name="T5" fmla="*/ 26 h 79"/>
                <a:gd name="T6" fmla="*/ 40 w 78"/>
                <a:gd name="T7" fmla="*/ 15 h 79"/>
                <a:gd name="T8" fmla="*/ 45 w 78"/>
                <a:gd name="T9" fmla="*/ 5 h 79"/>
                <a:gd name="T10" fmla="*/ 45 w 78"/>
                <a:gd name="T11" fmla="*/ 0 h 79"/>
                <a:gd name="T12" fmla="*/ 26 w 78"/>
                <a:gd name="T13" fmla="*/ 0 h 79"/>
                <a:gd name="T14" fmla="*/ 26 w 78"/>
                <a:gd name="T15" fmla="*/ 0 h 79"/>
                <a:gd name="T16" fmla="*/ 26 w 78"/>
                <a:gd name="T17" fmla="*/ 20 h 79"/>
                <a:gd name="T18" fmla="*/ 21 w 78"/>
                <a:gd name="T19" fmla="*/ 20 h 79"/>
                <a:gd name="T20" fmla="*/ 12 w 78"/>
                <a:gd name="T21" fmla="*/ 15 h 79"/>
                <a:gd name="T22" fmla="*/ 0 w 78"/>
                <a:gd name="T23" fmla="*/ 27 h 79"/>
                <a:gd name="T24" fmla="*/ 12 w 78"/>
                <a:gd name="T25" fmla="*/ 38 h 79"/>
                <a:gd name="T26" fmla="*/ 21 w 78"/>
                <a:gd name="T27" fmla="*/ 33 h 79"/>
                <a:gd name="T28" fmla="*/ 26 w 78"/>
                <a:gd name="T29" fmla="*/ 33 h 79"/>
                <a:gd name="T30" fmla="*/ 26 w 78"/>
                <a:gd name="T31" fmla="*/ 53 h 79"/>
                <a:gd name="T32" fmla="*/ 46 w 78"/>
                <a:gd name="T33" fmla="*/ 53 h 79"/>
                <a:gd name="T34" fmla="*/ 46 w 78"/>
                <a:gd name="T35" fmla="*/ 58 h 79"/>
                <a:gd name="T36" fmla="*/ 41 w 78"/>
                <a:gd name="T37" fmla="*/ 67 h 79"/>
                <a:gd name="T38" fmla="*/ 52 w 78"/>
                <a:gd name="T39" fmla="*/ 79 h 79"/>
                <a:gd name="T40" fmla="*/ 64 w 78"/>
                <a:gd name="T41" fmla="*/ 67 h 79"/>
                <a:gd name="T42" fmla="*/ 59 w 78"/>
                <a:gd name="T43" fmla="*/ 58 h 79"/>
                <a:gd name="T44" fmla="*/ 59 w 78"/>
                <a:gd name="T45" fmla="*/ 53 h 79"/>
                <a:gd name="T46" fmla="*/ 72 w 78"/>
                <a:gd name="T47" fmla="*/ 53 h 79"/>
                <a:gd name="T48" fmla="*/ 78 w 78"/>
                <a:gd name="T49" fmla="*/ 46 h 79"/>
                <a:gd name="T50" fmla="*/ 78 w 78"/>
                <a:gd name="T51" fmla="*/ 0 h 79"/>
                <a:gd name="T52" fmla="*/ 58 w 78"/>
                <a:gd name="T53" fmla="*/ 0 h 79"/>
                <a:gd name="T54" fmla="*/ 58 w 78"/>
                <a:gd name="T55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9">
                  <a:moveTo>
                    <a:pt x="58" y="5"/>
                  </a:moveTo>
                  <a:cubicBezTo>
                    <a:pt x="61" y="7"/>
                    <a:pt x="63" y="11"/>
                    <a:pt x="63" y="15"/>
                  </a:cubicBezTo>
                  <a:cubicBezTo>
                    <a:pt x="63" y="21"/>
                    <a:pt x="58" y="26"/>
                    <a:pt x="52" y="26"/>
                  </a:cubicBezTo>
                  <a:cubicBezTo>
                    <a:pt x="45" y="26"/>
                    <a:pt x="40" y="21"/>
                    <a:pt x="40" y="15"/>
                  </a:cubicBezTo>
                  <a:cubicBezTo>
                    <a:pt x="40" y="11"/>
                    <a:pt x="42" y="7"/>
                    <a:pt x="45" y="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9" y="17"/>
                    <a:pt x="16" y="15"/>
                    <a:pt x="12" y="15"/>
                  </a:cubicBezTo>
                  <a:cubicBezTo>
                    <a:pt x="5" y="15"/>
                    <a:pt x="0" y="20"/>
                    <a:pt x="0" y="27"/>
                  </a:cubicBezTo>
                  <a:cubicBezTo>
                    <a:pt x="0" y="33"/>
                    <a:pt x="5" y="38"/>
                    <a:pt x="12" y="38"/>
                  </a:cubicBezTo>
                  <a:cubicBezTo>
                    <a:pt x="16" y="38"/>
                    <a:pt x="19" y="36"/>
                    <a:pt x="2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3" y="60"/>
                    <a:pt x="41" y="63"/>
                    <a:pt x="41" y="67"/>
                  </a:cubicBezTo>
                  <a:cubicBezTo>
                    <a:pt x="41" y="74"/>
                    <a:pt x="46" y="79"/>
                    <a:pt x="52" y="79"/>
                  </a:cubicBezTo>
                  <a:cubicBezTo>
                    <a:pt x="59" y="79"/>
                    <a:pt x="64" y="74"/>
                    <a:pt x="64" y="67"/>
                  </a:cubicBezTo>
                  <a:cubicBezTo>
                    <a:pt x="64" y="63"/>
                    <a:pt x="62" y="60"/>
                    <a:pt x="59" y="58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5" y="53"/>
                    <a:pt x="78" y="51"/>
                    <a:pt x="78" y="4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58" y="5"/>
                  </a:ln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2" name="Freeform 9"/>
            <p:cNvSpPr>
              <a:spLocks/>
            </p:cNvSpPr>
            <p:nvPr/>
          </p:nvSpPr>
          <p:spPr bwMode="auto">
            <a:xfrm>
              <a:off x="1165225" y="3021013"/>
              <a:ext cx="190500" cy="195263"/>
            </a:xfrm>
            <a:custGeom>
              <a:avLst/>
              <a:gdLst>
                <a:gd name="T0" fmla="*/ 74 w 79"/>
                <a:gd name="T1" fmla="*/ 61 h 81"/>
                <a:gd name="T2" fmla="*/ 65 w 79"/>
                <a:gd name="T3" fmla="*/ 66 h 81"/>
                <a:gd name="T4" fmla="*/ 53 w 79"/>
                <a:gd name="T5" fmla="*/ 55 h 81"/>
                <a:gd name="T6" fmla="*/ 65 w 79"/>
                <a:gd name="T7" fmla="*/ 43 h 81"/>
                <a:gd name="T8" fmla="*/ 74 w 79"/>
                <a:gd name="T9" fmla="*/ 48 h 81"/>
                <a:gd name="T10" fmla="*/ 79 w 79"/>
                <a:gd name="T11" fmla="*/ 48 h 81"/>
                <a:gd name="T12" fmla="*/ 79 w 79"/>
                <a:gd name="T13" fmla="*/ 28 h 81"/>
                <a:gd name="T14" fmla="*/ 61 w 79"/>
                <a:gd name="T15" fmla="*/ 28 h 81"/>
                <a:gd name="T16" fmla="*/ 61 w 79"/>
                <a:gd name="T17" fmla="*/ 23 h 81"/>
                <a:gd name="T18" fmla="*/ 66 w 79"/>
                <a:gd name="T19" fmla="*/ 13 h 81"/>
                <a:gd name="T20" fmla="*/ 53 w 79"/>
                <a:gd name="T21" fmla="*/ 0 h 81"/>
                <a:gd name="T22" fmla="*/ 41 w 79"/>
                <a:gd name="T23" fmla="*/ 13 h 81"/>
                <a:gd name="T24" fmla="*/ 46 w 79"/>
                <a:gd name="T25" fmla="*/ 23 h 81"/>
                <a:gd name="T26" fmla="*/ 46 w 79"/>
                <a:gd name="T27" fmla="*/ 28 h 81"/>
                <a:gd name="T28" fmla="*/ 26 w 79"/>
                <a:gd name="T29" fmla="*/ 28 h 81"/>
                <a:gd name="T30" fmla="*/ 26 w 79"/>
                <a:gd name="T31" fmla="*/ 46 h 81"/>
                <a:gd name="T32" fmla="*/ 23 w 79"/>
                <a:gd name="T33" fmla="*/ 46 h 81"/>
                <a:gd name="T34" fmla="*/ 13 w 79"/>
                <a:gd name="T35" fmla="*/ 41 h 81"/>
                <a:gd name="T36" fmla="*/ 0 w 79"/>
                <a:gd name="T37" fmla="*/ 53 h 81"/>
                <a:gd name="T38" fmla="*/ 13 w 79"/>
                <a:gd name="T39" fmla="*/ 66 h 81"/>
                <a:gd name="T40" fmla="*/ 23 w 79"/>
                <a:gd name="T41" fmla="*/ 61 h 81"/>
                <a:gd name="T42" fmla="*/ 26 w 79"/>
                <a:gd name="T43" fmla="*/ 61 h 81"/>
                <a:gd name="T44" fmla="*/ 26 w 79"/>
                <a:gd name="T45" fmla="*/ 75 h 81"/>
                <a:gd name="T46" fmla="*/ 32 w 79"/>
                <a:gd name="T47" fmla="*/ 81 h 81"/>
                <a:gd name="T48" fmla="*/ 34 w 79"/>
                <a:gd name="T49" fmla="*/ 81 h 81"/>
                <a:gd name="T50" fmla="*/ 34 w 79"/>
                <a:gd name="T51" fmla="*/ 81 h 81"/>
                <a:gd name="T52" fmla="*/ 34 w 79"/>
                <a:gd name="T53" fmla="*/ 81 h 81"/>
                <a:gd name="T54" fmla="*/ 79 w 79"/>
                <a:gd name="T55" fmla="*/ 81 h 81"/>
                <a:gd name="T56" fmla="*/ 79 w 79"/>
                <a:gd name="T57" fmla="*/ 61 h 81"/>
                <a:gd name="T58" fmla="*/ 74 w 79"/>
                <a:gd name="T59" fmla="*/ 6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9" h="81">
                  <a:moveTo>
                    <a:pt x="74" y="61"/>
                  </a:moveTo>
                  <a:cubicBezTo>
                    <a:pt x="72" y="64"/>
                    <a:pt x="69" y="66"/>
                    <a:pt x="65" y="66"/>
                  </a:cubicBezTo>
                  <a:cubicBezTo>
                    <a:pt x="58" y="66"/>
                    <a:pt x="53" y="61"/>
                    <a:pt x="53" y="55"/>
                  </a:cubicBezTo>
                  <a:cubicBezTo>
                    <a:pt x="53" y="48"/>
                    <a:pt x="58" y="43"/>
                    <a:pt x="65" y="43"/>
                  </a:cubicBezTo>
                  <a:cubicBezTo>
                    <a:pt x="69" y="43"/>
                    <a:pt x="72" y="45"/>
                    <a:pt x="74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4" y="20"/>
                    <a:pt x="66" y="17"/>
                    <a:pt x="66" y="13"/>
                  </a:cubicBezTo>
                  <a:cubicBezTo>
                    <a:pt x="66" y="6"/>
                    <a:pt x="60" y="0"/>
                    <a:pt x="53" y="0"/>
                  </a:cubicBezTo>
                  <a:cubicBezTo>
                    <a:pt x="47" y="0"/>
                    <a:pt x="41" y="6"/>
                    <a:pt x="41" y="13"/>
                  </a:cubicBezTo>
                  <a:cubicBezTo>
                    <a:pt x="41" y="17"/>
                    <a:pt x="43" y="20"/>
                    <a:pt x="46" y="23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1" y="43"/>
                    <a:pt x="17" y="41"/>
                    <a:pt x="13" y="41"/>
                  </a:cubicBezTo>
                  <a:cubicBezTo>
                    <a:pt x="6" y="41"/>
                    <a:pt x="0" y="46"/>
                    <a:pt x="0" y="53"/>
                  </a:cubicBezTo>
                  <a:cubicBezTo>
                    <a:pt x="0" y="60"/>
                    <a:pt x="6" y="66"/>
                    <a:pt x="13" y="66"/>
                  </a:cubicBezTo>
                  <a:cubicBezTo>
                    <a:pt x="17" y="66"/>
                    <a:pt x="21" y="64"/>
                    <a:pt x="23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80"/>
                    <a:pt x="30" y="81"/>
                    <a:pt x="32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61"/>
                    <a:pt x="79" y="61"/>
                    <a:pt x="79" y="61"/>
                  </a:cubicBezTo>
                  <a:lnTo>
                    <a:pt x="74" y="61"/>
                  </a:ln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3163278" y="3700778"/>
            <a:ext cx="117258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rgbClr val="7F7F7F"/>
                </a:solidFill>
                <a:cs typeface="Arial" panose="020B0604020202020204" pitchFamily="34" charset="0"/>
              </a:rPr>
              <a:t>Инвесторы</a:t>
            </a:r>
            <a:endParaRPr lang="ru-RU" sz="825" dirty="0">
              <a:solidFill>
                <a:srgbClr val="7F7F7F"/>
              </a:solidFill>
              <a:cs typeface="Arial" panose="020B0604020202020204" pitchFamily="34" charset="0"/>
            </a:endParaRPr>
          </a:p>
        </p:txBody>
      </p:sp>
      <p:grpSp>
        <p:nvGrpSpPr>
          <p:cNvPr id="136" name="Группа 135"/>
          <p:cNvGrpSpPr/>
          <p:nvPr/>
        </p:nvGrpSpPr>
        <p:grpSpPr>
          <a:xfrm>
            <a:off x="3529899" y="3234791"/>
            <a:ext cx="439341" cy="441722"/>
            <a:chOff x="5802313" y="5113338"/>
            <a:chExt cx="585788" cy="588963"/>
          </a:xfrm>
        </p:grpSpPr>
        <p:sp>
          <p:nvSpPr>
            <p:cNvPr id="128" name="Oval 35"/>
            <p:cNvSpPr>
              <a:spLocks noChangeArrowheads="1"/>
            </p:cNvSpPr>
            <p:nvPr/>
          </p:nvSpPr>
          <p:spPr bwMode="auto">
            <a:xfrm>
              <a:off x="5802313" y="5113338"/>
              <a:ext cx="585788" cy="588963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9" name="Freeform 36"/>
            <p:cNvSpPr>
              <a:spLocks/>
            </p:cNvSpPr>
            <p:nvPr/>
          </p:nvSpPr>
          <p:spPr bwMode="auto">
            <a:xfrm>
              <a:off x="5972176" y="5227638"/>
              <a:ext cx="309563" cy="184150"/>
            </a:xfrm>
            <a:custGeom>
              <a:avLst/>
              <a:gdLst>
                <a:gd name="T0" fmla="*/ 128 w 128"/>
                <a:gd name="T1" fmla="*/ 76 h 76"/>
                <a:gd name="T2" fmla="*/ 52 w 128"/>
                <a:gd name="T3" fmla="*/ 0 h 76"/>
                <a:gd name="T4" fmla="*/ 0 w 128"/>
                <a:gd name="T5" fmla="*/ 2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" h="76">
                  <a:moveTo>
                    <a:pt x="128" y="76"/>
                  </a:moveTo>
                  <a:cubicBezTo>
                    <a:pt x="128" y="34"/>
                    <a:pt x="94" y="0"/>
                    <a:pt x="52" y="0"/>
                  </a:cubicBezTo>
                  <a:cubicBezTo>
                    <a:pt x="32" y="0"/>
                    <a:pt x="14" y="8"/>
                    <a:pt x="0" y="21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0" name="Freeform 37"/>
            <p:cNvSpPr>
              <a:spLocks/>
            </p:cNvSpPr>
            <p:nvPr/>
          </p:nvSpPr>
          <p:spPr bwMode="auto">
            <a:xfrm>
              <a:off x="5915026" y="5405438"/>
              <a:ext cx="306388" cy="184150"/>
            </a:xfrm>
            <a:custGeom>
              <a:avLst/>
              <a:gdLst>
                <a:gd name="T0" fmla="*/ 0 w 127"/>
                <a:gd name="T1" fmla="*/ 0 h 76"/>
                <a:gd name="T2" fmla="*/ 76 w 127"/>
                <a:gd name="T3" fmla="*/ 76 h 76"/>
                <a:gd name="T4" fmla="*/ 126 w 127"/>
                <a:gd name="T5" fmla="*/ 57 h 76"/>
                <a:gd name="T6" fmla="*/ 127 w 127"/>
                <a:gd name="T7" fmla="*/ 5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76">
                  <a:moveTo>
                    <a:pt x="0" y="0"/>
                  </a:moveTo>
                  <a:cubicBezTo>
                    <a:pt x="0" y="42"/>
                    <a:pt x="34" y="76"/>
                    <a:pt x="76" y="76"/>
                  </a:cubicBezTo>
                  <a:cubicBezTo>
                    <a:pt x="95" y="76"/>
                    <a:pt x="112" y="69"/>
                    <a:pt x="126" y="57"/>
                  </a:cubicBezTo>
                  <a:cubicBezTo>
                    <a:pt x="126" y="57"/>
                    <a:pt x="127" y="56"/>
                    <a:pt x="127" y="56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1" name="Freeform 38"/>
            <p:cNvSpPr>
              <a:spLocks/>
            </p:cNvSpPr>
            <p:nvPr/>
          </p:nvSpPr>
          <p:spPr bwMode="auto">
            <a:xfrm>
              <a:off x="5867401" y="5330825"/>
              <a:ext cx="95250" cy="80963"/>
            </a:xfrm>
            <a:custGeom>
              <a:avLst/>
              <a:gdLst>
                <a:gd name="T0" fmla="*/ 0 w 60"/>
                <a:gd name="T1" fmla="*/ 51 h 51"/>
                <a:gd name="T2" fmla="*/ 30 w 60"/>
                <a:gd name="T3" fmla="*/ 0 h 51"/>
                <a:gd name="T4" fmla="*/ 60 w 60"/>
                <a:gd name="T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51">
                  <a:moveTo>
                    <a:pt x="0" y="51"/>
                  </a:moveTo>
                  <a:lnTo>
                    <a:pt x="30" y="0"/>
                  </a:lnTo>
                  <a:lnTo>
                    <a:pt x="60" y="51"/>
                  </a:ln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2" name="Freeform 39"/>
            <p:cNvSpPr>
              <a:spLocks/>
            </p:cNvSpPr>
            <p:nvPr/>
          </p:nvSpPr>
          <p:spPr bwMode="auto">
            <a:xfrm>
              <a:off x="6238876" y="5405438"/>
              <a:ext cx="85725" cy="73025"/>
            </a:xfrm>
            <a:custGeom>
              <a:avLst/>
              <a:gdLst>
                <a:gd name="T0" fmla="*/ 54 w 54"/>
                <a:gd name="T1" fmla="*/ 0 h 46"/>
                <a:gd name="T2" fmla="*/ 27 w 54"/>
                <a:gd name="T3" fmla="*/ 46 h 46"/>
                <a:gd name="T4" fmla="*/ 0 w 54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" h="46">
                  <a:moveTo>
                    <a:pt x="54" y="0"/>
                  </a:moveTo>
                  <a:lnTo>
                    <a:pt x="27" y="46"/>
                  </a:lnTo>
                  <a:lnTo>
                    <a:pt x="0" y="0"/>
                  </a:ln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3" name="Line 40"/>
            <p:cNvSpPr>
              <a:spLocks noChangeShapeType="1"/>
            </p:cNvSpPr>
            <p:nvPr/>
          </p:nvSpPr>
          <p:spPr bwMode="auto">
            <a:xfrm>
              <a:off x="6064251" y="5321300"/>
              <a:ext cx="0" cy="179388"/>
            </a:xfrm>
            <a:prstGeom prst="lin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4" name="Freeform 41"/>
            <p:cNvSpPr>
              <a:spLocks/>
            </p:cNvSpPr>
            <p:nvPr/>
          </p:nvSpPr>
          <p:spPr bwMode="auto">
            <a:xfrm>
              <a:off x="6038851" y="5321300"/>
              <a:ext cx="117475" cy="90488"/>
            </a:xfrm>
            <a:custGeom>
              <a:avLst/>
              <a:gdLst>
                <a:gd name="T0" fmla="*/ 11 w 49"/>
                <a:gd name="T1" fmla="*/ 0 h 37"/>
                <a:gd name="T2" fmla="*/ 31 w 49"/>
                <a:gd name="T3" fmla="*/ 0 h 37"/>
                <a:gd name="T4" fmla="*/ 49 w 49"/>
                <a:gd name="T5" fmla="*/ 19 h 37"/>
                <a:gd name="T6" fmla="*/ 31 w 49"/>
                <a:gd name="T7" fmla="*/ 37 h 37"/>
                <a:gd name="T8" fmla="*/ 0 w 49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1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41" y="0"/>
                    <a:pt x="49" y="9"/>
                    <a:pt x="49" y="19"/>
                  </a:cubicBezTo>
                  <a:cubicBezTo>
                    <a:pt x="49" y="29"/>
                    <a:pt x="41" y="37"/>
                    <a:pt x="31" y="37"/>
                  </a:cubicBezTo>
                  <a:cubicBezTo>
                    <a:pt x="0" y="37"/>
                    <a:pt x="0" y="37"/>
                    <a:pt x="0" y="37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5" name="Line 42"/>
            <p:cNvSpPr>
              <a:spLocks noChangeShapeType="1"/>
            </p:cNvSpPr>
            <p:nvPr/>
          </p:nvSpPr>
          <p:spPr bwMode="auto">
            <a:xfrm>
              <a:off x="6038851" y="5456238"/>
              <a:ext cx="85725" cy="0"/>
            </a:xfrm>
            <a:prstGeom prst="lin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282266" y="2216890"/>
            <a:ext cx="1467186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chemeClr val="bg1"/>
                </a:solidFill>
                <a:cs typeface="Arial" panose="020B0604020202020204" pitchFamily="34" charset="0"/>
              </a:rPr>
              <a:t>Технологический центр «</a:t>
            </a:r>
            <a:r>
              <a:rPr lang="ru-RU" sz="1350" b="1" dirty="0" err="1">
                <a:solidFill>
                  <a:schemeClr val="bg1"/>
                </a:solidFill>
                <a:cs typeface="Arial" panose="020B0604020202020204" pitchFamily="34" charset="0"/>
              </a:rPr>
              <a:t>Бажен</a:t>
            </a:r>
            <a:r>
              <a:rPr lang="ru-RU" sz="1350" b="1" dirty="0">
                <a:solidFill>
                  <a:schemeClr val="bg1"/>
                </a:solidFill>
                <a:cs typeface="Arial" panose="020B0604020202020204" pitchFamily="34" charset="0"/>
              </a:rPr>
              <a:t>»</a:t>
            </a:r>
          </a:p>
        </p:txBody>
      </p:sp>
      <p:cxnSp>
        <p:nvCxnSpPr>
          <p:cNvPr id="166" name="Прямая со стрелкой 165"/>
          <p:cNvCxnSpPr/>
          <p:nvPr/>
        </p:nvCxnSpPr>
        <p:spPr>
          <a:xfrm>
            <a:off x="4491450" y="2163106"/>
            <a:ext cx="1134446" cy="0"/>
          </a:xfrm>
          <a:prstGeom prst="straightConnector1">
            <a:avLst/>
          </a:prstGeom>
          <a:ln w="28575">
            <a:solidFill>
              <a:srgbClr val="9ACA3C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Прямая со стрелкой 166"/>
          <p:cNvCxnSpPr/>
          <p:nvPr/>
        </p:nvCxnSpPr>
        <p:spPr>
          <a:xfrm>
            <a:off x="4491450" y="2636363"/>
            <a:ext cx="1134446" cy="0"/>
          </a:xfrm>
          <a:prstGeom prst="straightConnector1">
            <a:avLst/>
          </a:prstGeom>
          <a:ln w="28575">
            <a:solidFill>
              <a:srgbClr val="9ACA3C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Скругленный прямоугольник 40"/>
          <p:cNvSpPr/>
          <p:nvPr/>
        </p:nvSpPr>
        <p:spPr>
          <a:xfrm>
            <a:off x="5483506" y="2092847"/>
            <a:ext cx="1166891" cy="606870"/>
          </a:xfrm>
          <a:prstGeom prst="roundRect">
            <a:avLst/>
          </a:prstGeom>
          <a:solidFill>
            <a:srgbClr val="9ACA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" name="Прямоугольник 5"/>
          <p:cNvSpPr/>
          <p:nvPr/>
        </p:nvSpPr>
        <p:spPr>
          <a:xfrm>
            <a:off x="5555369" y="2227107"/>
            <a:ext cx="102295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bg1"/>
                </a:solidFill>
                <a:cs typeface="Arial" panose="020B0604020202020204" pitchFamily="34" charset="0"/>
              </a:rPr>
              <a:t>Разработчики инноваций</a:t>
            </a:r>
          </a:p>
        </p:txBody>
      </p:sp>
      <p:grpSp>
        <p:nvGrpSpPr>
          <p:cNvPr id="151" name="Группа 150"/>
          <p:cNvGrpSpPr/>
          <p:nvPr/>
        </p:nvGrpSpPr>
        <p:grpSpPr>
          <a:xfrm>
            <a:off x="5846687" y="1782215"/>
            <a:ext cx="440531" cy="439341"/>
            <a:chOff x="10383838" y="2782888"/>
            <a:chExt cx="587375" cy="585788"/>
          </a:xfrm>
        </p:grpSpPr>
        <p:sp>
          <p:nvSpPr>
            <p:cNvPr id="139" name="Oval 46"/>
            <p:cNvSpPr>
              <a:spLocks noChangeArrowheads="1"/>
            </p:cNvSpPr>
            <p:nvPr/>
          </p:nvSpPr>
          <p:spPr bwMode="auto">
            <a:xfrm>
              <a:off x="10383838" y="2782888"/>
              <a:ext cx="587375" cy="58578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0" name="Freeform 47"/>
            <p:cNvSpPr>
              <a:spLocks/>
            </p:cNvSpPr>
            <p:nvPr/>
          </p:nvSpPr>
          <p:spPr bwMode="auto">
            <a:xfrm>
              <a:off x="10577513" y="3201988"/>
              <a:ext cx="236537" cy="42863"/>
            </a:xfrm>
            <a:custGeom>
              <a:avLst/>
              <a:gdLst>
                <a:gd name="T0" fmla="*/ 93 w 98"/>
                <a:gd name="T1" fmla="*/ 18 h 18"/>
                <a:gd name="T2" fmla="*/ 5 w 98"/>
                <a:gd name="T3" fmla="*/ 18 h 18"/>
                <a:gd name="T4" fmla="*/ 0 w 98"/>
                <a:gd name="T5" fmla="*/ 13 h 18"/>
                <a:gd name="T6" fmla="*/ 0 w 98"/>
                <a:gd name="T7" fmla="*/ 5 h 18"/>
                <a:gd name="T8" fmla="*/ 5 w 98"/>
                <a:gd name="T9" fmla="*/ 0 h 18"/>
                <a:gd name="T10" fmla="*/ 93 w 98"/>
                <a:gd name="T11" fmla="*/ 0 h 18"/>
                <a:gd name="T12" fmla="*/ 98 w 98"/>
                <a:gd name="T13" fmla="*/ 5 h 18"/>
                <a:gd name="T14" fmla="*/ 98 w 98"/>
                <a:gd name="T15" fmla="*/ 13 h 18"/>
                <a:gd name="T16" fmla="*/ 93 w 98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18">
                  <a:moveTo>
                    <a:pt x="93" y="18"/>
                  </a:moveTo>
                  <a:cubicBezTo>
                    <a:pt x="5" y="18"/>
                    <a:pt x="5" y="18"/>
                    <a:pt x="5" y="18"/>
                  </a:cubicBezTo>
                  <a:cubicBezTo>
                    <a:pt x="2" y="18"/>
                    <a:pt x="0" y="16"/>
                    <a:pt x="0" y="1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6" y="0"/>
                    <a:pt x="98" y="2"/>
                    <a:pt x="98" y="5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8" y="16"/>
                    <a:pt x="96" y="18"/>
                    <a:pt x="93" y="18"/>
                  </a:cubicBezTo>
                  <a:close/>
                </a:path>
              </a:pathLst>
            </a:cu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1" name="Freeform 48"/>
            <p:cNvSpPr>
              <a:spLocks/>
            </p:cNvSpPr>
            <p:nvPr/>
          </p:nvSpPr>
          <p:spPr bwMode="auto">
            <a:xfrm>
              <a:off x="10639425" y="3108326"/>
              <a:ext cx="125412" cy="19050"/>
            </a:xfrm>
            <a:custGeom>
              <a:avLst/>
              <a:gdLst>
                <a:gd name="T0" fmla="*/ 48 w 52"/>
                <a:gd name="T1" fmla="*/ 8 h 8"/>
                <a:gd name="T2" fmla="*/ 4 w 52"/>
                <a:gd name="T3" fmla="*/ 8 h 8"/>
                <a:gd name="T4" fmla="*/ 0 w 52"/>
                <a:gd name="T5" fmla="*/ 4 h 8"/>
                <a:gd name="T6" fmla="*/ 4 w 52"/>
                <a:gd name="T7" fmla="*/ 0 h 8"/>
                <a:gd name="T8" fmla="*/ 48 w 52"/>
                <a:gd name="T9" fmla="*/ 0 h 8"/>
                <a:gd name="T10" fmla="*/ 52 w 52"/>
                <a:gd name="T11" fmla="*/ 4 h 8"/>
                <a:gd name="T12" fmla="*/ 48 w 5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8">
                  <a:moveTo>
                    <a:pt x="48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1" y="0"/>
                    <a:pt x="52" y="2"/>
                    <a:pt x="52" y="4"/>
                  </a:cubicBezTo>
                  <a:cubicBezTo>
                    <a:pt x="52" y="7"/>
                    <a:pt x="51" y="8"/>
                    <a:pt x="48" y="8"/>
                  </a:cubicBezTo>
                  <a:close/>
                </a:path>
              </a:pathLst>
            </a:cu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2" name="Line 49"/>
            <p:cNvSpPr>
              <a:spLocks noChangeShapeType="1"/>
            </p:cNvSpPr>
            <p:nvPr/>
          </p:nvSpPr>
          <p:spPr bwMode="auto">
            <a:xfrm flipH="1">
              <a:off x="10610850" y="3117851"/>
              <a:ext cx="28575" cy="0"/>
            </a:xfrm>
            <a:prstGeom prst="line">
              <a:avLst/>
            </a:pr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3" name="Rectangle 50"/>
            <p:cNvSpPr>
              <a:spLocks noChangeArrowheads="1"/>
            </p:cNvSpPr>
            <p:nvPr/>
          </p:nvSpPr>
          <p:spPr bwMode="auto">
            <a:xfrm>
              <a:off x="10675938" y="2898776"/>
              <a:ext cx="53975" cy="84138"/>
            </a:xfrm>
            <a:prstGeom prst="rect">
              <a:avLst/>
            </a:pr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4" name="Freeform 51"/>
            <p:cNvSpPr>
              <a:spLocks/>
            </p:cNvSpPr>
            <p:nvPr/>
          </p:nvSpPr>
          <p:spPr bwMode="auto">
            <a:xfrm>
              <a:off x="10658475" y="2881313"/>
              <a:ext cx="87312" cy="17463"/>
            </a:xfrm>
            <a:custGeom>
              <a:avLst/>
              <a:gdLst>
                <a:gd name="T0" fmla="*/ 32 w 36"/>
                <a:gd name="T1" fmla="*/ 7 h 7"/>
                <a:gd name="T2" fmla="*/ 4 w 36"/>
                <a:gd name="T3" fmla="*/ 7 h 7"/>
                <a:gd name="T4" fmla="*/ 0 w 36"/>
                <a:gd name="T5" fmla="*/ 4 h 7"/>
                <a:gd name="T6" fmla="*/ 4 w 36"/>
                <a:gd name="T7" fmla="*/ 0 h 7"/>
                <a:gd name="T8" fmla="*/ 32 w 36"/>
                <a:gd name="T9" fmla="*/ 0 h 7"/>
                <a:gd name="T10" fmla="*/ 36 w 36"/>
                <a:gd name="T11" fmla="*/ 4 h 7"/>
                <a:gd name="T12" fmla="*/ 32 w 36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7">
                  <a:moveTo>
                    <a:pt x="32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6" y="2"/>
                    <a:pt x="36" y="4"/>
                  </a:cubicBezTo>
                  <a:cubicBezTo>
                    <a:pt x="36" y="6"/>
                    <a:pt x="34" y="7"/>
                    <a:pt x="32" y="7"/>
                  </a:cubicBezTo>
                  <a:close/>
                </a:path>
              </a:pathLst>
            </a:cu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5" name="Oval 52"/>
            <p:cNvSpPr>
              <a:spLocks noChangeArrowheads="1"/>
            </p:cNvSpPr>
            <p:nvPr/>
          </p:nvSpPr>
          <p:spPr bwMode="auto">
            <a:xfrm>
              <a:off x="10542588" y="2933701"/>
              <a:ext cx="90487" cy="90488"/>
            </a:xfrm>
            <a:prstGeom prst="ellipse">
              <a:avLst/>
            </a:pr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6" name="Freeform 53"/>
            <p:cNvSpPr>
              <a:spLocks/>
            </p:cNvSpPr>
            <p:nvPr/>
          </p:nvSpPr>
          <p:spPr bwMode="auto">
            <a:xfrm>
              <a:off x="10541000" y="2998788"/>
              <a:ext cx="134937" cy="203200"/>
            </a:xfrm>
            <a:custGeom>
              <a:avLst/>
              <a:gdLst>
                <a:gd name="T0" fmla="*/ 18 w 56"/>
                <a:gd name="T1" fmla="*/ 21 h 84"/>
                <a:gd name="T2" fmla="*/ 19 w 56"/>
                <a:gd name="T3" fmla="*/ 10 h 84"/>
                <a:gd name="T4" fmla="*/ 4 w 56"/>
                <a:gd name="T5" fmla="*/ 0 h 84"/>
                <a:gd name="T6" fmla="*/ 0 w 56"/>
                <a:gd name="T7" fmla="*/ 21 h 84"/>
                <a:gd name="T8" fmla="*/ 32 w 56"/>
                <a:gd name="T9" fmla="*/ 73 h 84"/>
                <a:gd name="T10" fmla="*/ 32 w 56"/>
                <a:gd name="T11" fmla="*/ 84 h 84"/>
                <a:gd name="T12" fmla="*/ 56 w 56"/>
                <a:gd name="T13" fmla="*/ 84 h 84"/>
                <a:gd name="T14" fmla="*/ 56 w 56"/>
                <a:gd name="T15" fmla="*/ 61 h 84"/>
                <a:gd name="T16" fmla="*/ 18 w 56"/>
                <a:gd name="T17" fmla="*/ 2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84">
                  <a:moveTo>
                    <a:pt x="18" y="21"/>
                  </a:moveTo>
                  <a:cubicBezTo>
                    <a:pt x="18" y="17"/>
                    <a:pt x="18" y="13"/>
                    <a:pt x="19" y="10"/>
                  </a:cubicBezTo>
                  <a:cubicBezTo>
                    <a:pt x="13" y="10"/>
                    <a:pt x="7" y="6"/>
                    <a:pt x="4" y="0"/>
                  </a:cubicBezTo>
                  <a:cubicBezTo>
                    <a:pt x="1" y="7"/>
                    <a:pt x="0" y="14"/>
                    <a:pt x="0" y="21"/>
                  </a:cubicBezTo>
                  <a:cubicBezTo>
                    <a:pt x="0" y="44"/>
                    <a:pt x="13" y="63"/>
                    <a:pt x="32" y="73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35" y="60"/>
                    <a:pt x="18" y="43"/>
                    <a:pt x="18" y="21"/>
                  </a:cubicBezTo>
                  <a:close/>
                </a:path>
              </a:pathLst>
            </a:cu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7" name="Freeform 54"/>
            <p:cNvSpPr>
              <a:spLocks/>
            </p:cNvSpPr>
            <p:nvPr/>
          </p:nvSpPr>
          <p:spPr bwMode="auto">
            <a:xfrm>
              <a:off x="10601325" y="2913063"/>
              <a:ext cx="74612" cy="55563"/>
            </a:xfrm>
            <a:custGeom>
              <a:avLst/>
              <a:gdLst>
                <a:gd name="T0" fmla="*/ 0 w 31"/>
                <a:gd name="T1" fmla="*/ 10 h 23"/>
                <a:gd name="T2" fmla="*/ 13 w 31"/>
                <a:gd name="T3" fmla="*/ 23 h 23"/>
                <a:gd name="T4" fmla="*/ 31 w 31"/>
                <a:gd name="T5" fmla="*/ 18 h 23"/>
                <a:gd name="T6" fmla="*/ 31 w 31"/>
                <a:gd name="T7" fmla="*/ 0 h 23"/>
                <a:gd name="T8" fmla="*/ 0 w 31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3">
                  <a:moveTo>
                    <a:pt x="0" y="10"/>
                  </a:moveTo>
                  <a:cubicBezTo>
                    <a:pt x="6" y="12"/>
                    <a:pt x="11" y="17"/>
                    <a:pt x="13" y="23"/>
                  </a:cubicBezTo>
                  <a:cubicBezTo>
                    <a:pt x="18" y="20"/>
                    <a:pt x="25" y="18"/>
                    <a:pt x="31" y="18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0" y="0"/>
                    <a:pt x="9" y="4"/>
                    <a:pt x="0" y="10"/>
                  </a:cubicBezTo>
                  <a:close/>
                </a:path>
              </a:pathLst>
            </a:cu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8" name="Oval 55"/>
            <p:cNvSpPr>
              <a:spLocks noChangeArrowheads="1"/>
            </p:cNvSpPr>
            <p:nvPr/>
          </p:nvSpPr>
          <p:spPr bwMode="auto">
            <a:xfrm>
              <a:off x="10561638" y="2951163"/>
              <a:ext cx="53975" cy="52388"/>
            </a:xfrm>
            <a:prstGeom prst="ellipse">
              <a:avLst/>
            </a:pr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9" name="Rectangle 56"/>
            <p:cNvSpPr>
              <a:spLocks noChangeArrowheads="1"/>
            </p:cNvSpPr>
            <p:nvPr/>
          </p:nvSpPr>
          <p:spPr bwMode="auto">
            <a:xfrm>
              <a:off x="10683875" y="2982913"/>
              <a:ext cx="38100" cy="41275"/>
            </a:xfrm>
            <a:prstGeom prst="rect">
              <a:avLst/>
            </a:pr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0" name="Freeform 57"/>
            <p:cNvSpPr>
              <a:spLocks/>
            </p:cNvSpPr>
            <p:nvPr/>
          </p:nvSpPr>
          <p:spPr bwMode="auto">
            <a:xfrm>
              <a:off x="10690225" y="3024188"/>
              <a:ext cx="23812" cy="39688"/>
            </a:xfrm>
            <a:custGeom>
              <a:avLst/>
              <a:gdLst>
                <a:gd name="T0" fmla="*/ 0 w 10"/>
                <a:gd name="T1" fmla="*/ 0 h 17"/>
                <a:gd name="T2" fmla="*/ 0 w 10"/>
                <a:gd name="T3" fmla="*/ 13 h 17"/>
                <a:gd name="T4" fmla="*/ 5 w 10"/>
                <a:gd name="T5" fmla="*/ 17 h 17"/>
                <a:gd name="T6" fmla="*/ 10 w 10"/>
                <a:gd name="T7" fmla="*/ 13 h 17"/>
                <a:gd name="T8" fmla="*/ 10 w 10"/>
                <a:gd name="T9" fmla="*/ 0 h 17"/>
                <a:gd name="T10" fmla="*/ 0 w 10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7">
                  <a:moveTo>
                    <a:pt x="0" y="0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2" y="17"/>
                    <a:pt x="5" y="17"/>
                  </a:cubicBezTo>
                  <a:cubicBezTo>
                    <a:pt x="8" y="17"/>
                    <a:pt x="10" y="15"/>
                    <a:pt x="10" y="1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rgbClr val="9ACA3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168" name="Равнобедренный треугольник 167"/>
          <p:cNvSpPr/>
          <p:nvPr/>
        </p:nvSpPr>
        <p:spPr>
          <a:xfrm rot="5400000">
            <a:off x="7478971" y="3740703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69" name="Равнобедренный треугольник 168"/>
          <p:cNvSpPr/>
          <p:nvPr/>
        </p:nvSpPr>
        <p:spPr>
          <a:xfrm rot="5400000">
            <a:off x="7478971" y="3963472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70" name="Равнобедренный треугольник 169"/>
          <p:cNvSpPr/>
          <p:nvPr/>
        </p:nvSpPr>
        <p:spPr>
          <a:xfrm rot="5400000">
            <a:off x="7478971" y="4349154"/>
            <a:ext cx="72170" cy="62216"/>
          </a:xfrm>
          <a:prstGeom prst="triangl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164" name="Прямая со стрелкой 163"/>
          <p:cNvCxnSpPr/>
          <p:nvPr/>
        </p:nvCxnSpPr>
        <p:spPr>
          <a:xfrm>
            <a:off x="3334589" y="3115842"/>
            <a:ext cx="0" cy="828644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3159490" y="2084349"/>
            <a:ext cx="1433406" cy="230832"/>
          </a:xfrm>
          <a:prstGeom prst="rect">
            <a:avLst/>
          </a:prstGeom>
          <a:solidFill>
            <a:srgbClr val="0070BA"/>
          </a:solidFill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Технический проект </a:t>
            </a:r>
            <a:r>
              <a:rPr lang="ru-RU" sz="900" b="1" dirty="0">
                <a:solidFill>
                  <a:schemeClr val="bg1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159490" y="2327221"/>
            <a:ext cx="1433406" cy="230832"/>
          </a:xfrm>
          <a:prstGeom prst="rect">
            <a:avLst/>
          </a:prstGeom>
          <a:solidFill>
            <a:srgbClr val="0070BA"/>
          </a:solidFill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Технический проект </a:t>
            </a:r>
            <a:r>
              <a:rPr lang="ru-RU" sz="900" b="1" dirty="0">
                <a:solidFill>
                  <a:schemeClr val="bg1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159490" y="2575354"/>
            <a:ext cx="1433406" cy="230832"/>
          </a:xfrm>
          <a:prstGeom prst="rect">
            <a:avLst/>
          </a:prstGeom>
          <a:solidFill>
            <a:srgbClr val="0070BA"/>
          </a:solidFill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Технический проект </a:t>
            </a:r>
            <a:r>
              <a:rPr lang="ru-RU" sz="900" b="1" dirty="0">
                <a:solidFill>
                  <a:schemeClr val="bg1"/>
                </a:solidFill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3111924" y="1742460"/>
            <a:ext cx="1528537" cy="1149906"/>
            <a:chOff x="-2654300" y="-741363"/>
            <a:chExt cx="1684338" cy="1393825"/>
          </a:xfrm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-2171700" y="-741363"/>
              <a:ext cx="715963" cy="231775"/>
            </a:xfrm>
            <a:custGeom>
              <a:avLst/>
              <a:gdLst>
                <a:gd name="T0" fmla="*/ 0 w 168"/>
                <a:gd name="T1" fmla="*/ 54 h 54"/>
                <a:gd name="T2" fmla="*/ 0 w 168"/>
                <a:gd name="T3" fmla="*/ 31 h 54"/>
                <a:gd name="T4" fmla="*/ 31 w 168"/>
                <a:gd name="T5" fmla="*/ 0 h 54"/>
                <a:gd name="T6" fmla="*/ 137 w 168"/>
                <a:gd name="T7" fmla="*/ 0 h 54"/>
                <a:gd name="T8" fmla="*/ 168 w 168"/>
                <a:gd name="T9" fmla="*/ 31 h 54"/>
                <a:gd name="T10" fmla="*/ 168 w 168"/>
                <a:gd name="T1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54">
                  <a:moveTo>
                    <a:pt x="0" y="54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54" y="0"/>
                    <a:pt x="168" y="14"/>
                    <a:pt x="168" y="31"/>
                  </a:cubicBezTo>
                  <a:cubicBezTo>
                    <a:pt x="168" y="54"/>
                    <a:pt x="168" y="54"/>
                    <a:pt x="168" y="54"/>
                  </a:cubicBezTo>
                </a:path>
              </a:pathLst>
            </a:custGeom>
            <a:noFill/>
            <a:ln w="17463" cap="flat">
              <a:solidFill>
                <a:srgbClr val="0070B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-2035175" y="-604838"/>
              <a:ext cx="442913" cy="95250"/>
            </a:xfrm>
            <a:custGeom>
              <a:avLst/>
              <a:gdLst>
                <a:gd name="T0" fmla="*/ 279 w 279"/>
                <a:gd name="T1" fmla="*/ 60 h 60"/>
                <a:gd name="T2" fmla="*/ 279 w 279"/>
                <a:gd name="T3" fmla="*/ 0 h 60"/>
                <a:gd name="T4" fmla="*/ 0 w 279"/>
                <a:gd name="T5" fmla="*/ 0 h 60"/>
                <a:gd name="T6" fmla="*/ 0 w 279"/>
                <a:gd name="T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9" h="60">
                  <a:moveTo>
                    <a:pt x="279" y="60"/>
                  </a:moveTo>
                  <a:lnTo>
                    <a:pt x="279" y="0"/>
                  </a:lnTo>
                  <a:lnTo>
                    <a:pt x="0" y="0"/>
                  </a:lnTo>
                  <a:lnTo>
                    <a:pt x="0" y="60"/>
                  </a:lnTo>
                </a:path>
              </a:pathLst>
            </a:custGeom>
            <a:noFill/>
            <a:ln w="17463" cap="flat">
              <a:solidFill>
                <a:srgbClr val="0070B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-2654300" y="-509588"/>
              <a:ext cx="1684338" cy="1162050"/>
            </a:xfrm>
            <a:custGeom>
              <a:avLst/>
              <a:gdLst>
                <a:gd name="T0" fmla="*/ 381 w 395"/>
                <a:gd name="T1" fmla="*/ 272 h 272"/>
                <a:gd name="T2" fmla="*/ 14 w 395"/>
                <a:gd name="T3" fmla="*/ 272 h 272"/>
                <a:gd name="T4" fmla="*/ 0 w 395"/>
                <a:gd name="T5" fmla="*/ 258 h 272"/>
                <a:gd name="T6" fmla="*/ 0 w 395"/>
                <a:gd name="T7" fmla="*/ 14 h 272"/>
                <a:gd name="T8" fmla="*/ 14 w 395"/>
                <a:gd name="T9" fmla="*/ 0 h 272"/>
                <a:gd name="T10" fmla="*/ 381 w 395"/>
                <a:gd name="T11" fmla="*/ 0 h 272"/>
                <a:gd name="T12" fmla="*/ 395 w 395"/>
                <a:gd name="T13" fmla="*/ 14 h 272"/>
                <a:gd name="T14" fmla="*/ 395 w 395"/>
                <a:gd name="T15" fmla="*/ 258 h 272"/>
                <a:gd name="T16" fmla="*/ 381 w 395"/>
                <a:gd name="T17" fmla="*/ 272 h 272"/>
                <a:gd name="T18" fmla="*/ 381 w 395"/>
                <a:gd name="T19" fmla="*/ 272 h 272"/>
                <a:gd name="T20" fmla="*/ 381 w 395"/>
                <a:gd name="T21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5" h="272">
                  <a:moveTo>
                    <a:pt x="381" y="272"/>
                  </a:moveTo>
                  <a:cubicBezTo>
                    <a:pt x="14" y="272"/>
                    <a:pt x="14" y="272"/>
                    <a:pt x="14" y="272"/>
                  </a:cubicBezTo>
                  <a:cubicBezTo>
                    <a:pt x="6" y="272"/>
                    <a:pt x="0" y="266"/>
                    <a:pt x="0" y="25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381" y="0"/>
                    <a:pt x="381" y="0"/>
                    <a:pt x="381" y="0"/>
                  </a:cubicBezTo>
                  <a:cubicBezTo>
                    <a:pt x="388" y="0"/>
                    <a:pt x="395" y="6"/>
                    <a:pt x="395" y="14"/>
                  </a:cubicBezTo>
                  <a:cubicBezTo>
                    <a:pt x="395" y="258"/>
                    <a:pt x="395" y="258"/>
                    <a:pt x="395" y="258"/>
                  </a:cubicBezTo>
                  <a:cubicBezTo>
                    <a:pt x="395" y="266"/>
                    <a:pt x="388" y="272"/>
                    <a:pt x="381" y="272"/>
                  </a:cubicBezTo>
                  <a:close/>
                  <a:moveTo>
                    <a:pt x="381" y="272"/>
                  </a:moveTo>
                  <a:cubicBezTo>
                    <a:pt x="381" y="272"/>
                    <a:pt x="381" y="272"/>
                    <a:pt x="381" y="272"/>
                  </a:cubicBezTo>
                </a:path>
              </a:pathLst>
            </a:custGeom>
            <a:noFill/>
            <a:ln w="17463" cap="flat">
              <a:solidFill>
                <a:srgbClr val="0070B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Rectangle 10"/>
            <p:cNvSpPr>
              <a:spLocks noChangeArrowheads="1"/>
            </p:cNvSpPr>
            <p:nvPr/>
          </p:nvSpPr>
          <p:spPr bwMode="auto">
            <a:xfrm>
              <a:off x="-2509838" y="-595313"/>
              <a:ext cx="231775" cy="85725"/>
            </a:xfrm>
            <a:prstGeom prst="rect">
              <a:avLst/>
            </a:prstGeom>
            <a:noFill/>
            <a:ln w="17463" cap="flat">
              <a:solidFill>
                <a:srgbClr val="0070B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Rectangle 11"/>
            <p:cNvSpPr>
              <a:spLocks noChangeArrowheads="1"/>
            </p:cNvSpPr>
            <p:nvPr/>
          </p:nvSpPr>
          <p:spPr bwMode="auto">
            <a:xfrm>
              <a:off x="-1349375" y="-595313"/>
              <a:ext cx="234950" cy="85725"/>
            </a:xfrm>
            <a:prstGeom prst="rect">
              <a:avLst/>
            </a:prstGeom>
            <a:noFill/>
            <a:ln w="17463" cap="flat">
              <a:solidFill>
                <a:srgbClr val="0070B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cxnSp>
        <p:nvCxnSpPr>
          <p:cNvPr id="176" name="Прямая соединительная линия 175"/>
          <p:cNvCxnSpPr/>
          <p:nvPr/>
        </p:nvCxnSpPr>
        <p:spPr>
          <a:xfrm>
            <a:off x="5623709" y="2699717"/>
            <a:ext cx="0" cy="1926965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/>
          <p:cNvCxnSpPr/>
          <p:nvPr/>
        </p:nvCxnSpPr>
        <p:spPr>
          <a:xfrm>
            <a:off x="7480937" y="2699717"/>
            <a:ext cx="0" cy="1926965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7335124" y="2099825"/>
            <a:ext cx="1518285" cy="732835"/>
          </a:xfrm>
          <a:prstGeom prst="round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3" name="Прямоугольник 2"/>
          <p:cNvSpPr/>
          <p:nvPr/>
        </p:nvSpPr>
        <p:spPr>
          <a:xfrm>
            <a:off x="7335124" y="2328400"/>
            <a:ext cx="1518284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chemeClr val="bg1"/>
                </a:solidFill>
                <a:cs typeface="Arial" panose="020B0604020202020204" pitchFamily="34" charset="0"/>
              </a:rPr>
              <a:t>Государство</a:t>
            </a:r>
            <a:endParaRPr lang="ru-RU" sz="105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874002" y="1869021"/>
            <a:ext cx="440531" cy="444104"/>
            <a:chOff x="5832475" y="1208088"/>
            <a:chExt cx="587375" cy="592138"/>
          </a:xfrm>
        </p:grpSpPr>
        <p:sp>
          <p:nvSpPr>
            <p:cNvPr id="106" name="Oval 13"/>
            <p:cNvSpPr>
              <a:spLocks noChangeArrowheads="1"/>
            </p:cNvSpPr>
            <p:nvPr/>
          </p:nvSpPr>
          <p:spPr bwMode="auto">
            <a:xfrm>
              <a:off x="5832475" y="1208088"/>
              <a:ext cx="587375" cy="592138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7" name="Freeform 14"/>
            <p:cNvSpPr>
              <a:spLocks/>
            </p:cNvSpPr>
            <p:nvPr/>
          </p:nvSpPr>
          <p:spPr bwMode="auto">
            <a:xfrm>
              <a:off x="6056313" y="1636713"/>
              <a:ext cx="74612" cy="96838"/>
            </a:xfrm>
            <a:custGeom>
              <a:avLst/>
              <a:gdLst>
                <a:gd name="T0" fmla="*/ 21 w 31"/>
                <a:gd name="T1" fmla="*/ 0 h 40"/>
                <a:gd name="T2" fmla="*/ 21 w 31"/>
                <a:gd name="T3" fmla="*/ 4 h 40"/>
                <a:gd name="T4" fmla="*/ 0 w 31"/>
                <a:gd name="T5" fmla="*/ 22 h 40"/>
                <a:gd name="T6" fmla="*/ 31 w 31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40">
                  <a:moveTo>
                    <a:pt x="21" y="0"/>
                  </a:moveTo>
                  <a:cubicBezTo>
                    <a:pt x="21" y="2"/>
                    <a:pt x="21" y="2"/>
                    <a:pt x="21" y="4"/>
                  </a:cubicBezTo>
                  <a:cubicBezTo>
                    <a:pt x="18" y="15"/>
                    <a:pt x="0" y="18"/>
                    <a:pt x="0" y="22"/>
                  </a:cubicBezTo>
                  <a:cubicBezTo>
                    <a:pt x="0" y="26"/>
                    <a:pt x="15" y="40"/>
                    <a:pt x="31" y="40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8" name="Freeform 15"/>
            <p:cNvSpPr>
              <a:spLocks/>
            </p:cNvSpPr>
            <p:nvPr/>
          </p:nvSpPr>
          <p:spPr bwMode="auto">
            <a:xfrm>
              <a:off x="6019800" y="1581150"/>
              <a:ext cx="58737" cy="76200"/>
            </a:xfrm>
            <a:custGeom>
              <a:avLst/>
              <a:gdLst>
                <a:gd name="T0" fmla="*/ 15 w 24"/>
                <a:gd name="T1" fmla="*/ 0 h 31"/>
                <a:gd name="T2" fmla="*/ 2 w 24"/>
                <a:gd name="T3" fmla="*/ 13 h 31"/>
                <a:gd name="T4" fmla="*/ 11 w 24"/>
                <a:gd name="T5" fmla="*/ 28 h 31"/>
                <a:gd name="T6" fmla="*/ 21 w 24"/>
                <a:gd name="T7" fmla="*/ 28 h 31"/>
                <a:gd name="T8" fmla="*/ 24 w 24"/>
                <a:gd name="T9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1">
                  <a:moveTo>
                    <a:pt x="15" y="0"/>
                  </a:moveTo>
                  <a:cubicBezTo>
                    <a:pt x="10" y="2"/>
                    <a:pt x="4" y="6"/>
                    <a:pt x="2" y="13"/>
                  </a:cubicBezTo>
                  <a:cubicBezTo>
                    <a:pt x="0" y="23"/>
                    <a:pt x="11" y="28"/>
                    <a:pt x="11" y="28"/>
                  </a:cubicBezTo>
                  <a:cubicBezTo>
                    <a:pt x="11" y="28"/>
                    <a:pt x="17" y="31"/>
                    <a:pt x="21" y="28"/>
                  </a:cubicBezTo>
                  <a:cubicBezTo>
                    <a:pt x="23" y="27"/>
                    <a:pt x="23" y="24"/>
                    <a:pt x="24" y="21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09" name="Freeform 16"/>
            <p:cNvSpPr>
              <a:spLocks/>
            </p:cNvSpPr>
            <p:nvPr/>
          </p:nvSpPr>
          <p:spPr bwMode="auto">
            <a:xfrm>
              <a:off x="5878513" y="1350963"/>
              <a:ext cx="177800" cy="209550"/>
            </a:xfrm>
            <a:custGeom>
              <a:avLst/>
              <a:gdLst>
                <a:gd name="T0" fmla="*/ 74 w 74"/>
                <a:gd name="T1" fmla="*/ 55 h 86"/>
                <a:gd name="T2" fmla="*/ 68 w 74"/>
                <a:gd name="T3" fmla="*/ 42 h 86"/>
                <a:gd name="T4" fmla="*/ 29 w 74"/>
                <a:gd name="T5" fmla="*/ 0 h 86"/>
                <a:gd name="T6" fmla="*/ 31 w 74"/>
                <a:gd name="T7" fmla="*/ 76 h 86"/>
                <a:gd name="T8" fmla="*/ 53 w 74"/>
                <a:gd name="T9" fmla="*/ 86 h 86"/>
                <a:gd name="T10" fmla="*/ 66 w 74"/>
                <a:gd name="T11" fmla="*/ 83 h 86"/>
                <a:gd name="T12" fmla="*/ 74 w 74"/>
                <a:gd name="T13" fmla="*/ 7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86">
                  <a:moveTo>
                    <a:pt x="74" y="55"/>
                  </a:moveTo>
                  <a:cubicBezTo>
                    <a:pt x="69" y="52"/>
                    <a:pt x="68" y="42"/>
                    <a:pt x="68" y="42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0" y="47"/>
                    <a:pt x="31" y="76"/>
                  </a:cubicBezTo>
                  <a:cubicBezTo>
                    <a:pt x="37" y="82"/>
                    <a:pt x="45" y="85"/>
                    <a:pt x="53" y="86"/>
                  </a:cubicBezTo>
                  <a:cubicBezTo>
                    <a:pt x="58" y="86"/>
                    <a:pt x="62" y="85"/>
                    <a:pt x="66" y="83"/>
                  </a:cubicBezTo>
                  <a:cubicBezTo>
                    <a:pt x="69" y="81"/>
                    <a:pt x="71" y="78"/>
                    <a:pt x="74" y="77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0" name="Freeform 17"/>
            <p:cNvSpPr>
              <a:spLocks/>
            </p:cNvSpPr>
            <p:nvPr/>
          </p:nvSpPr>
          <p:spPr bwMode="auto">
            <a:xfrm>
              <a:off x="6024563" y="1371600"/>
              <a:ext cx="106362" cy="96838"/>
            </a:xfrm>
            <a:custGeom>
              <a:avLst/>
              <a:gdLst>
                <a:gd name="T0" fmla="*/ 44 w 44"/>
                <a:gd name="T1" fmla="*/ 28 h 40"/>
                <a:gd name="T2" fmla="*/ 20 w 44"/>
                <a:gd name="T3" fmla="*/ 2 h 40"/>
                <a:gd name="T4" fmla="*/ 9 w 44"/>
                <a:gd name="T5" fmla="*/ 6 h 40"/>
                <a:gd name="T6" fmla="*/ 0 w 44"/>
                <a:gd name="T7" fmla="*/ 13 h 40"/>
                <a:gd name="T8" fmla="*/ 10 w 44"/>
                <a:gd name="T9" fmla="*/ 13 h 40"/>
                <a:gd name="T10" fmla="*/ 23 w 44"/>
                <a:gd name="T11" fmla="*/ 27 h 40"/>
                <a:gd name="T12" fmla="*/ 22 w 4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0">
                  <a:moveTo>
                    <a:pt x="44" y="28"/>
                  </a:moveTo>
                  <a:cubicBezTo>
                    <a:pt x="44" y="28"/>
                    <a:pt x="37" y="6"/>
                    <a:pt x="20" y="2"/>
                  </a:cubicBezTo>
                  <a:cubicBezTo>
                    <a:pt x="20" y="2"/>
                    <a:pt x="13" y="0"/>
                    <a:pt x="9" y="6"/>
                  </a:cubicBezTo>
                  <a:cubicBezTo>
                    <a:pt x="9" y="6"/>
                    <a:pt x="1" y="7"/>
                    <a:pt x="0" y="13"/>
                  </a:cubicBezTo>
                  <a:cubicBezTo>
                    <a:pt x="0" y="13"/>
                    <a:pt x="7" y="11"/>
                    <a:pt x="10" y="13"/>
                  </a:cubicBezTo>
                  <a:cubicBezTo>
                    <a:pt x="10" y="13"/>
                    <a:pt x="22" y="19"/>
                    <a:pt x="23" y="27"/>
                  </a:cubicBezTo>
                  <a:cubicBezTo>
                    <a:pt x="24" y="31"/>
                    <a:pt x="24" y="36"/>
                    <a:pt x="22" y="40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1" name="Line 18"/>
            <p:cNvSpPr>
              <a:spLocks noChangeShapeType="1"/>
            </p:cNvSpPr>
            <p:nvPr/>
          </p:nvSpPr>
          <p:spPr bwMode="auto">
            <a:xfrm flipH="1">
              <a:off x="5999163" y="1641475"/>
              <a:ext cx="36512" cy="30163"/>
            </a:xfrm>
            <a:prstGeom prst="lin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2" name="Line 19"/>
            <p:cNvSpPr>
              <a:spLocks noChangeShapeType="1"/>
            </p:cNvSpPr>
            <p:nvPr/>
          </p:nvSpPr>
          <p:spPr bwMode="auto">
            <a:xfrm>
              <a:off x="6226175" y="1641475"/>
              <a:ext cx="38100" cy="30163"/>
            </a:xfrm>
            <a:prstGeom prst="lin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3" name="Line 20"/>
            <p:cNvSpPr>
              <a:spLocks noChangeShapeType="1"/>
            </p:cNvSpPr>
            <p:nvPr/>
          </p:nvSpPr>
          <p:spPr bwMode="auto">
            <a:xfrm>
              <a:off x="5935663" y="1595438"/>
              <a:ext cx="77787" cy="95250"/>
            </a:xfrm>
            <a:prstGeom prst="lin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4" name="Freeform 21"/>
            <p:cNvSpPr>
              <a:spLocks/>
            </p:cNvSpPr>
            <p:nvPr/>
          </p:nvSpPr>
          <p:spPr bwMode="auto">
            <a:xfrm>
              <a:off x="6129338" y="1636713"/>
              <a:ext cx="74612" cy="96838"/>
            </a:xfrm>
            <a:custGeom>
              <a:avLst/>
              <a:gdLst>
                <a:gd name="T0" fmla="*/ 9 w 31"/>
                <a:gd name="T1" fmla="*/ 0 h 40"/>
                <a:gd name="T2" fmla="*/ 10 w 31"/>
                <a:gd name="T3" fmla="*/ 4 h 40"/>
                <a:gd name="T4" fmla="*/ 31 w 31"/>
                <a:gd name="T5" fmla="*/ 22 h 40"/>
                <a:gd name="T6" fmla="*/ 0 w 31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40">
                  <a:moveTo>
                    <a:pt x="9" y="0"/>
                  </a:moveTo>
                  <a:cubicBezTo>
                    <a:pt x="9" y="2"/>
                    <a:pt x="10" y="2"/>
                    <a:pt x="10" y="4"/>
                  </a:cubicBezTo>
                  <a:cubicBezTo>
                    <a:pt x="13" y="15"/>
                    <a:pt x="31" y="18"/>
                    <a:pt x="31" y="22"/>
                  </a:cubicBezTo>
                  <a:cubicBezTo>
                    <a:pt x="31" y="26"/>
                    <a:pt x="16" y="40"/>
                    <a:pt x="0" y="40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5" name="Freeform 22"/>
            <p:cNvSpPr>
              <a:spLocks/>
            </p:cNvSpPr>
            <p:nvPr/>
          </p:nvSpPr>
          <p:spPr bwMode="auto">
            <a:xfrm>
              <a:off x="6181725" y="1581150"/>
              <a:ext cx="58737" cy="76200"/>
            </a:xfrm>
            <a:custGeom>
              <a:avLst/>
              <a:gdLst>
                <a:gd name="T0" fmla="*/ 9 w 24"/>
                <a:gd name="T1" fmla="*/ 0 h 31"/>
                <a:gd name="T2" fmla="*/ 21 w 24"/>
                <a:gd name="T3" fmla="*/ 13 h 31"/>
                <a:gd name="T4" fmla="*/ 13 w 24"/>
                <a:gd name="T5" fmla="*/ 28 h 31"/>
                <a:gd name="T6" fmla="*/ 3 w 24"/>
                <a:gd name="T7" fmla="*/ 28 h 31"/>
                <a:gd name="T8" fmla="*/ 0 w 24"/>
                <a:gd name="T9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1">
                  <a:moveTo>
                    <a:pt x="9" y="0"/>
                  </a:moveTo>
                  <a:cubicBezTo>
                    <a:pt x="14" y="2"/>
                    <a:pt x="20" y="6"/>
                    <a:pt x="21" y="13"/>
                  </a:cubicBezTo>
                  <a:cubicBezTo>
                    <a:pt x="24" y="23"/>
                    <a:pt x="13" y="28"/>
                    <a:pt x="13" y="28"/>
                  </a:cubicBezTo>
                  <a:cubicBezTo>
                    <a:pt x="13" y="28"/>
                    <a:pt x="7" y="31"/>
                    <a:pt x="3" y="28"/>
                  </a:cubicBezTo>
                  <a:cubicBezTo>
                    <a:pt x="1" y="27"/>
                    <a:pt x="1" y="24"/>
                    <a:pt x="0" y="21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6" name="Freeform 23"/>
            <p:cNvSpPr>
              <a:spLocks/>
            </p:cNvSpPr>
            <p:nvPr/>
          </p:nvSpPr>
          <p:spPr bwMode="auto">
            <a:xfrm>
              <a:off x="6203950" y="1350963"/>
              <a:ext cx="179387" cy="209550"/>
            </a:xfrm>
            <a:custGeom>
              <a:avLst/>
              <a:gdLst>
                <a:gd name="T0" fmla="*/ 0 w 74"/>
                <a:gd name="T1" fmla="*/ 55 h 86"/>
                <a:gd name="T2" fmla="*/ 6 w 74"/>
                <a:gd name="T3" fmla="*/ 42 h 86"/>
                <a:gd name="T4" fmla="*/ 45 w 74"/>
                <a:gd name="T5" fmla="*/ 0 h 86"/>
                <a:gd name="T6" fmla="*/ 43 w 74"/>
                <a:gd name="T7" fmla="*/ 76 h 86"/>
                <a:gd name="T8" fmla="*/ 20 w 74"/>
                <a:gd name="T9" fmla="*/ 86 h 86"/>
                <a:gd name="T10" fmla="*/ 8 w 74"/>
                <a:gd name="T11" fmla="*/ 83 h 86"/>
                <a:gd name="T12" fmla="*/ 0 w 74"/>
                <a:gd name="T13" fmla="*/ 7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86">
                  <a:moveTo>
                    <a:pt x="0" y="55"/>
                  </a:moveTo>
                  <a:cubicBezTo>
                    <a:pt x="5" y="52"/>
                    <a:pt x="6" y="42"/>
                    <a:pt x="6" y="42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5" y="0"/>
                    <a:pt x="74" y="47"/>
                    <a:pt x="43" y="76"/>
                  </a:cubicBezTo>
                  <a:cubicBezTo>
                    <a:pt x="37" y="82"/>
                    <a:pt x="29" y="85"/>
                    <a:pt x="20" y="86"/>
                  </a:cubicBezTo>
                  <a:cubicBezTo>
                    <a:pt x="16" y="86"/>
                    <a:pt x="11" y="85"/>
                    <a:pt x="8" y="83"/>
                  </a:cubicBezTo>
                  <a:cubicBezTo>
                    <a:pt x="5" y="81"/>
                    <a:pt x="3" y="78"/>
                    <a:pt x="0" y="77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7" name="Freeform 24"/>
            <p:cNvSpPr>
              <a:spLocks/>
            </p:cNvSpPr>
            <p:nvPr/>
          </p:nvSpPr>
          <p:spPr bwMode="auto">
            <a:xfrm>
              <a:off x="6129338" y="1371600"/>
              <a:ext cx="106362" cy="96838"/>
            </a:xfrm>
            <a:custGeom>
              <a:avLst/>
              <a:gdLst>
                <a:gd name="T0" fmla="*/ 0 w 44"/>
                <a:gd name="T1" fmla="*/ 28 h 40"/>
                <a:gd name="T2" fmla="*/ 24 w 44"/>
                <a:gd name="T3" fmla="*/ 2 h 40"/>
                <a:gd name="T4" fmla="*/ 35 w 44"/>
                <a:gd name="T5" fmla="*/ 6 h 40"/>
                <a:gd name="T6" fmla="*/ 44 w 44"/>
                <a:gd name="T7" fmla="*/ 13 h 40"/>
                <a:gd name="T8" fmla="*/ 34 w 44"/>
                <a:gd name="T9" fmla="*/ 13 h 40"/>
                <a:gd name="T10" fmla="*/ 21 w 44"/>
                <a:gd name="T11" fmla="*/ 27 h 40"/>
                <a:gd name="T12" fmla="*/ 21 w 4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0">
                  <a:moveTo>
                    <a:pt x="0" y="28"/>
                  </a:moveTo>
                  <a:cubicBezTo>
                    <a:pt x="0" y="28"/>
                    <a:pt x="7" y="6"/>
                    <a:pt x="24" y="2"/>
                  </a:cubicBezTo>
                  <a:cubicBezTo>
                    <a:pt x="24" y="2"/>
                    <a:pt x="31" y="0"/>
                    <a:pt x="35" y="6"/>
                  </a:cubicBezTo>
                  <a:cubicBezTo>
                    <a:pt x="35" y="6"/>
                    <a:pt x="43" y="7"/>
                    <a:pt x="44" y="13"/>
                  </a:cubicBezTo>
                  <a:cubicBezTo>
                    <a:pt x="44" y="13"/>
                    <a:pt x="37" y="11"/>
                    <a:pt x="34" y="13"/>
                  </a:cubicBezTo>
                  <a:cubicBezTo>
                    <a:pt x="34" y="13"/>
                    <a:pt x="22" y="19"/>
                    <a:pt x="21" y="27"/>
                  </a:cubicBezTo>
                  <a:cubicBezTo>
                    <a:pt x="20" y="31"/>
                    <a:pt x="20" y="36"/>
                    <a:pt x="21" y="40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8" name="Oval 25"/>
            <p:cNvSpPr>
              <a:spLocks noChangeArrowheads="1"/>
            </p:cNvSpPr>
            <p:nvPr/>
          </p:nvSpPr>
          <p:spPr bwMode="auto">
            <a:xfrm>
              <a:off x="6254750" y="1625600"/>
              <a:ext cx="52387" cy="52388"/>
            </a:xfrm>
            <a:prstGeom prst="ellips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19" name="Freeform 26"/>
            <p:cNvSpPr>
              <a:spLocks/>
            </p:cNvSpPr>
            <p:nvPr/>
          </p:nvSpPr>
          <p:spPr bwMode="auto">
            <a:xfrm>
              <a:off x="5907088" y="1560513"/>
              <a:ext cx="38100" cy="39688"/>
            </a:xfrm>
            <a:custGeom>
              <a:avLst/>
              <a:gdLst>
                <a:gd name="T0" fmla="*/ 13 w 16"/>
                <a:gd name="T1" fmla="*/ 5 h 17"/>
                <a:gd name="T2" fmla="*/ 12 w 16"/>
                <a:gd name="T3" fmla="*/ 14 h 17"/>
                <a:gd name="T4" fmla="*/ 2 w 16"/>
                <a:gd name="T5" fmla="*/ 13 h 17"/>
                <a:gd name="T6" fmla="*/ 0 w 16"/>
                <a:gd name="T7" fmla="*/ 0 h 17"/>
                <a:gd name="T8" fmla="*/ 13 w 16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13" y="5"/>
                  </a:moveTo>
                  <a:cubicBezTo>
                    <a:pt x="16" y="8"/>
                    <a:pt x="15" y="12"/>
                    <a:pt x="12" y="14"/>
                  </a:cubicBezTo>
                  <a:cubicBezTo>
                    <a:pt x="9" y="17"/>
                    <a:pt x="5" y="16"/>
                    <a:pt x="2" y="13"/>
                  </a:cubicBezTo>
                  <a:cubicBezTo>
                    <a:pt x="0" y="10"/>
                    <a:pt x="0" y="0"/>
                    <a:pt x="0" y="0"/>
                  </a:cubicBezTo>
                  <a:cubicBezTo>
                    <a:pt x="0" y="0"/>
                    <a:pt x="11" y="2"/>
                    <a:pt x="13" y="5"/>
                  </a:cubicBezTo>
                  <a:close/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0" name="Freeform 27"/>
            <p:cNvSpPr>
              <a:spLocks/>
            </p:cNvSpPr>
            <p:nvPr/>
          </p:nvSpPr>
          <p:spPr bwMode="auto">
            <a:xfrm>
              <a:off x="6056313" y="1468438"/>
              <a:ext cx="147637" cy="184150"/>
            </a:xfrm>
            <a:custGeom>
              <a:avLst/>
              <a:gdLst>
                <a:gd name="T0" fmla="*/ 30 w 61"/>
                <a:gd name="T1" fmla="*/ 0 h 76"/>
                <a:gd name="T2" fmla="*/ 52 w 61"/>
                <a:gd name="T3" fmla="*/ 0 h 76"/>
                <a:gd name="T4" fmla="*/ 61 w 61"/>
                <a:gd name="T5" fmla="*/ 0 h 76"/>
                <a:gd name="T6" fmla="*/ 61 w 61"/>
                <a:gd name="T7" fmla="*/ 59 h 76"/>
                <a:gd name="T8" fmla="*/ 58 w 61"/>
                <a:gd name="T9" fmla="*/ 65 h 76"/>
                <a:gd name="T10" fmla="*/ 44 w 61"/>
                <a:gd name="T11" fmla="*/ 69 h 76"/>
                <a:gd name="T12" fmla="*/ 30 w 61"/>
                <a:gd name="T13" fmla="*/ 76 h 76"/>
                <a:gd name="T14" fmla="*/ 17 w 61"/>
                <a:gd name="T15" fmla="*/ 69 h 76"/>
                <a:gd name="T16" fmla="*/ 3 w 61"/>
                <a:gd name="T17" fmla="*/ 65 h 76"/>
                <a:gd name="T18" fmla="*/ 0 w 61"/>
                <a:gd name="T19" fmla="*/ 59 h 76"/>
                <a:gd name="T20" fmla="*/ 0 w 61"/>
                <a:gd name="T21" fmla="*/ 0 h 76"/>
                <a:gd name="T22" fmla="*/ 9 w 61"/>
                <a:gd name="T23" fmla="*/ 0 h 76"/>
                <a:gd name="T24" fmla="*/ 30 w 61"/>
                <a:gd name="T2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76">
                  <a:moveTo>
                    <a:pt x="30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1" y="61"/>
                    <a:pt x="60" y="64"/>
                    <a:pt x="58" y="65"/>
                  </a:cubicBezTo>
                  <a:cubicBezTo>
                    <a:pt x="55" y="68"/>
                    <a:pt x="48" y="68"/>
                    <a:pt x="44" y="69"/>
                  </a:cubicBezTo>
                  <a:cubicBezTo>
                    <a:pt x="39" y="70"/>
                    <a:pt x="34" y="72"/>
                    <a:pt x="30" y="76"/>
                  </a:cubicBezTo>
                  <a:cubicBezTo>
                    <a:pt x="26" y="72"/>
                    <a:pt x="22" y="70"/>
                    <a:pt x="17" y="69"/>
                  </a:cubicBezTo>
                  <a:cubicBezTo>
                    <a:pt x="13" y="68"/>
                    <a:pt x="6" y="68"/>
                    <a:pt x="3" y="65"/>
                  </a:cubicBezTo>
                  <a:cubicBezTo>
                    <a:pt x="1" y="64"/>
                    <a:pt x="0" y="61"/>
                    <a:pt x="0" y="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lnTo>
                    <a:pt x="30" y="0"/>
                  </a:lnTo>
                  <a:close/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1" name="Line 28"/>
            <p:cNvSpPr>
              <a:spLocks noChangeShapeType="1"/>
            </p:cNvSpPr>
            <p:nvPr/>
          </p:nvSpPr>
          <p:spPr bwMode="auto">
            <a:xfrm>
              <a:off x="6129338" y="1274763"/>
              <a:ext cx="0" cy="23813"/>
            </a:xfrm>
            <a:prstGeom prst="lin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2" name="Line 29"/>
            <p:cNvSpPr>
              <a:spLocks noChangeShapeType="1"/>
            </p:cNvSpPr>
            <p:nvPr/>
          </p:nvSpPr>
          <p:spPr bwMode="auto">
            <a:xfrm>
              <a:off x="6119813" y="1281113"/>
              <a:ext cx="19050" cy="0"/>
            </a:xfrm>
            <a:prstGeom prst="line">
              <a:avLst/>
            </a:pr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3" name="Freeform 30"/>
            <p:cNvSpPr>
              <a:spLocks/>
            </p:cNvSpPr>
            <p:nvPr/>
          </p:nvSpPr>
          <p:spPr bwMode="auto">
            <a:xfrm>
              <a:off x="6075363" y="1290638"/>
              <a:ext cx="53975" cy="82550"/>
            </a:xfrm>
            <a:custGeom>
              <a:avLst/>
              <a:gdLst>
                <a:gd name="T0" fmla="*/ 22 w 22"/>
                <a:gd name="T1" fmla="*/ 3 h 34"/>
                <a:gd name="T2" fmla="*/ 4 w 22"/>
                <a:gd name="T3" fmla="*/ 8 h 34"/>
                <a:gd name="T4" fmla="*/ 9 w 22"/>
                <a:gd name="T5" fmla="*/ 29 h 34"/>
                <a:gd name="T6" fmla="*/ 9 w 22"/>
                <a:gd name="T7" fmla="*/ 34 h 34"/>
                <a:gd name="T8" fmla="*/ 22 w 22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4">
                  <a:moveTo>
                    <a:pt x="22" y="3"/>
                  </a:moveTo>
                  <a:cubicBezTo>
                    <a:pt x="16" y="0"/>
                    <a:pt x="7" y="1"/>
                    <a:pt x="4" y="8"/>
                  </a:cubicBezTo>
                  <a:cubicBezTo>
                    <a:pt x="0" y="15"/>
                    <a:pt x="3" y="23"/>
                    <a:pt x="9" y="29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22" y="34"/>
                    <a:pt x="22" y="34"/>
                    <a:pt x="22" y="34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4" name="Freeform 31"/>
            <p:cNvSpPr>
              <a:spLocks/>
            </p:cNvSpPr>
            <p:nvPr/>
          </p:nvSpPr>
          <p:spPr bwMode="auto">
            <a:xfrm>
              <a:off x="6129338" y="1290638"/>
              <a:ext cx="52387" cy="82550"/>
            </a:xfrm>
            <a:custGeom>
              <a:avLst/>
              <a:gdLst>
                <a:gd name="T0" fmla="*/ 0 w 22"/>
                <a:gd name="T1" fmla="*/ 3 h 34"/>
                <a:gd name="T2" fmla="*/ 19 w 22"/>
                <a:gd name="T3" fmla="*/ 8 h 34"/>
                <a:gd name="T4" fmla="*/ 14 w 22"/>
                <a:gd name="T5" fmla="*/ 29 h 34"/>
                <a:gd name="T6" fmla="*/ 14 w 22"/>
                <a:gd name="T7" fmla="*/ 34 h 34"/>
                <a:gd name="T8" fmla="*/ 0 w 22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34">
                  <a:moveTo>
                    <a:pt x="0" y="3"/>
                  </a:moveTo>
                  <a:cubicBezTo>
                    <a:pt x="6" y="0"/>
                    <a:pt x="16" y="1"/>
                    <a:pt x="19" y="8"/>
                  </a:cubicBezTo>
                  <a:cubicBezTo>
                    <a:pt x="22" y="15"/>
                    <a:pt x="19" y="23"/>
                    <a:pt x="14" y="29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0" y="34"/>
                    <a:pt x="0" y="34"/>
                    <a:pt x="0" y="34"/>
                  </a:cubicBezTo>
                </a:path>
              </a:pathLst>
            </a:custGeom>
            <a:noFill/>
            <a:ln w="9525" cap="rnd">
              <a:solidFill>
                <a:srgbClr val="7F7F7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3445261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Скругленный прямоугольник 108"/>
          <p:cNvSpPr/>
          <p:nvPr/>
        </p:nvSpPr>
        <p:spPr>
          <a:xfrm>
            <a:off x="476026" y="1033464"/>
            <a:ext cx="8205395" cy="19417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grpSp>
        <p:nvGrpSpPr>
          <p:cNvPr id="113" name="Группа 112"/>
          <p:cNvGrpSpPr/>
          <p:nvPr/>
        </p:nvGrpSpPr>
        <p:grpSpPr>
          <a:xfrm>
            <a:off x="4650964" y="1315377"/>
            <a:ext cx="926193" cy="447048"/>
            <a:chOff x="1508200" y="2453440"/>
            <a:chExt cx="1234924" cy="596064"/>
          </a:xfrm>
        </p:grpSpPr>
        <p:sp>
          <p:nvSpPr>
            <p:cNvPr id="114" name="Скругленный прямоугольник 113"/>
            <p:cNvSpPr/>
            <p:nvPr/>
          </p:nvSpPr>
          <p:spPr>
            <a:xfrm>
              <a:off x="1508200" y="2453440"/>
              <a:ext cx="1234924" cy="59606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grpSp>
          <p:nvGrpSpPr>
            <p:cNvPr id="115" name="TitleLogoRus"/>
            <p:cNvGrpSpPr>
              <a:grpSpLocks noChangeAspect="1"/>
            </p:cNvGrpSpPr>
            <p:nvPr/>
          </p:nvGrpSpPr>
          <p:grpSpPr bwMode="auto">
            <a:xfrm>
              <a:off x="1813853" y="2518477"/>
              <a:ext cx="717318" cy="338939"/>
              <a:chOff x="264" y="1159"/>
              <a:chExt cx="3492" cy="1650"/>
            </a:xfrm>
            <a:solidFill>
              <a:srgbClr val="0070BA"/>
            </a:solidFill>
          </p:grpSpPr>
          <p:sp>
            <p:nvSpPr>
              <p:cNvPr id="116" name="Freeform 6"/>
              <p:cNvSpPr>
                <a:spLocks noEditPoints="1"/>
              </p:cNvSpPr>
              <p:nvPr userDrawn="1"/>
            </p:nvSpPr>
            <p:spPr bwMode="auto">
              <a:xfrm>
                <a:off x="2996" y="1657"/>
                <a:ext cx="258" cy="576"/>
              </a:xfrm>
              <a:custGeom>
                <a:avLst/>
                <a:gdLst>
                  <a:gd name="T0" fmla="*/ 128 w 258"/>
                  <a:gd name="T1" fmla="*/ 504 h 576"/>
                  <a:gd name="T2" fmla="*/ 112 w 258"/>
                  <a:gd name="T3" fmla="*/ 498 h 576"/>
                  <a:gd name="T4" fmla="*/ 104 w 258"/>
                  <a:gd name="T5" fmla="*/ 482 h 576"/>
                  <a:gd name="T6" fmla="*/ 104 w 258"/>
                  <a:gd name="T7" fmla="*/ 94 h 576"/>
                  <a:gd name="T8" fmla="*/ 104 w 258"/>
                  <a:gd name="T9" fmla="*/ 92 h 576"/>
                  <a:gd name="T10" fmla="*/ 106 w 258"/>
                  <a:gd name="T11" fmla="*/ 84 h 576"/>
                  <a:gd name="T12" fmla="*/ 120 w 258"/>
                  <a:gd name="T13" fmla="*/ 72 h 576"/>
                  <a:gd name="T14" fmla="*/ 128 w 258"/>
                  <a:gd name="T15" fmla="*/ 72 h 576"/>
                  <a:gd name="T16" fmla="*/ 146 w 258"/>
                  <a:gd name="T17" fmla="*/ 78 h 576"/>
                  <a:gd name="T18" fmla="*/ 154 w 258"/>
                  <a:gd name="T19" fmla="*/ 92 h 576"/>
                  <a:gd name="T20" fmla="*/ 154 w 258"/>
                  <a:gd name="T21" fmla="*/ 94 h 576"/>
                  <a:gd name="T22" fmla="*/ 154 w 258"/>
                  <a:gd name="T23" fmla="*/ 482 h 576"/>
                  <a:gd name="T24" fmla="*/ 152 w 258"/>
                  <a:gd name="T25" fmla="*/ 490 h 576"/>
                  <a:gd name="T26" fmla="*/ 138 w 258"/>
                  <a:gd name="T27" fmla="*/ 502 h 576"/>
                  <a:gd name="T28" fmla="*/ 176 w 258"/>
                  <a:gd name="T29" fmla="*/ 0 h 576"/>
                  <a:gd name="T30" fmla="*/ 82 w 258"/>
                  <a:gd name="T31" fmla="*/ 0 h 576"/>
                  <a:gd name="T32" fmla="*/ 56 w 258"/>
                  <a:gd name="T33" fmla="*/ 2 h 576"/>
                  <a:gd name="T34" fmla="*/ 36 w 258"/>
                  <a:gd name="T35" fmla="*/ 10 h 576"/>
                  <a:gd name="T36" fmla="*/ 22 w 258"/>
                  <a:gd name="T37" fmla="*/ 22 h 576"/>
                  <a:gd name="T38" fmla="*/ 12 w 258"/>
                  <a:gd name="T39" fmla="*/ 36 h 576"/>
                  <a:gd name="T40" fmla="*/ 2 w 258"/>
                  <a:gd name="T41" fmla="*/ 70 h 576"/>
                  <a:gd name="T42" fmla="*/ 0 w 258"/>
                  <a:gd name="T43" fmla="*/ 102 h 576"/>
                  <a:gd name="T44" fmla="*/ 0 w 258"/>
                  <a:gd name="T45" fmla="*/ 472 h 576"/>
                  <a:gd name="T46" fmla="*/ 2 w 258"/>
                  <a:gd name="T47" fmla="*/ 506 h 576"/>
                  <a:gd name="T48" fmla="*/ 12 w 258"/>
                  <a:gd name="T49" fmla="*/ 540 h 576"/>
                  <a:gd name="T50" fmla="*/ 22 w 258"/>
                  <a:gd name="T51" fmla="*/ 554 h 576"/>
                  <a:gd name="T52" fmla="*/ 36 w 258"/>
                  <a:gd name="T53" fmla="*/ 566 h 576"/>
                  <a:gd name="T54" fmla="*/ 56 w 258"/>
                  <a:gd name="T55" fmla="*/ 572 h 576"/>
                  <a:gd name="T56" fmla="*/ 82 w 258"/>
                  <a:gd name="T57" fmla="*/ 576 h 576"/>
                  <a:gd name="T58" fmla="*/ 176 w 258"/>
                  <a:gd name="T59" fmla="*/ 576 h 576"/>
                  <a:gd name="T60" fmla="*/ 202 w 258"/>
                  <a:gd name="T61" fmla="*/ 572 h 576"/>
                  <a:gd name="T62" fmla="*/ 222 w 258"/>
                  <a:gd name="T63" fmla="*/ 566 h 576"/>
                  <a:gd name="T64" fmla="*/ 236 w 258"/>
                  <a:gd name="T65" fmla="*/ 554 h 576"/>
                  <a:gd name="T66" fmla="*/ 246 w 258"/>
                  <a:gd name="T67" fmla="*/ 540 h 576"/>
                  <a:gd name="T68" fmla="*/ 256 w 258"/>
                  <a:gd name="T69" fmla="*/ 506 h 576"/>
                  <a:gd name="T70" fmla="*/ 258 w 258"/>
                  <a:gd name="T71" fmla="*/ 472 h 576"/>
                  <a:gd name="T72" fmla="*/ 258 w 258"/>
                  <a:gd name="T73" fmla="*/ 102 h 576"/>
                  <a:gd name="T74" fmla="*/ 256 w 258"/>
                  <a:gd name="T75" fmla="*/ 70 h 576"/>
                  <a:gd name="T76" fmla="*/ 246 w 258"/>
                  <a:gd name="T77" fmla="*/ 36 h 576"/>
                  <a:gd name="T78" fmla="*/ 236 w 258"/>
                  <a:gd name="T79" fmla="*/ 22 h 576"/>
                  <a:gd name="T80" fmla="*/ 222 w 258"/>
                  <a:gd name="T81" fmla="*/ 10 h 576"/>
                  <a:gd name="T82" fmla="*/ 202 w 258"/>
                  <a:gd name="T83" fmla="*/ 2 h 576"/>
                  <a:gd name="T84" fmla="*/ 176 w 258"/>
                  <a:gd name="T85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8" h="576">
                    <a:moveTo>
                      <a:pt x="128" y="504"/>
                    </a:moveTo>
                    <a:lnTo>
                      <a:pt x="128" y="504"/>
                    </a:lnTo>
                    <a:lnTo>
                      <a:pt x="120" y="502"/>
                    </a:lnTo>
                    <a:lnTo>
                      <a:pt x="112" y="498"/>
                    </a:lnTo>
                    <a:lnTo>
                      <a:pt x="106" y="490"/>
                    </a:lnTo>
                    <a:lnTo>
                      <a:pt x="104" y="482"/>
                    </a:lnTo>
                    <a:lnTo>
                      <a:pt x="104" y="482"/>
                    </a:lnTo>
                    <a:lnTo>
                      <a:pt x="104" y="94"/>
                    </a:lnTo>
                    <a:lnTo>
                      <a:pt x="104" y="94"/>
                    </a:lnTo>
                    <a:lnTo>
                      <a:pt x="104" y="92"/>
                    </a:lnTo>
                    <a:lnTo>
                      <a:pt x="104" y="92"/>
                    </a:lnTo>
                    <a:lnTo>
                      <a:pt x="106" y="84"/>
                    </a:lnTo>
                    <a:lnTo>
                      <a:pt x="112" y="78"/>
                    </a:lnTo>
                    <a:lnTo>
                      <a:pt x="120" y="72"/>
                    </a:lnTo>
                    <a:lnTo>
                      <a:pt x="128" y="72"/>
                    </a:lnTo>
                    <a:lnTo>
                      <a:pt x="128" y="72"/>
                    </a:lnTo>
                    <a:lnTo>
                      <a:pt x="138" y="72"/>
                    </a:lnTo>
                    <a:lnTo>
                      <a:pt x="146" y="78"/>
                    </a:lnTo>
                    <a:lnTo>
                      <a:pt x="150" y="84"/>
                    </a:lnTo>
                    <a:lnTo>
                      <a:pt x="154" y="92"/>
                    </a:lnTo>
                    <a:lnTo>
                      <a:pt x="154" y="94"/>
                    </a:lnTo>
                    <a:lnTo>
                      <a:pt x="154" y="94"/>
                    </a:lnTo>
                    <a:lnTo>
                      <a:pt x="154" y="480"/>
                    </a:lnTo>
                    <a:lnTo>
                      <a:pt x="154" y="482"/>
                    </a:lnTo>
                    <a:lnTo>
                      <a:pt x="154" y="482"/>
                    </a:lnTo>
                    <a:lnTo>
                      <a:pt x="152" y="490"/>
                    </a:lnTo>
                    <a:lnTo>
                      <a:pt x="146" y="498"/>
                    </a:lnTo>
                    <a:lnTo>
                      <a:pt x="138" y="502"/>
                    </a:lnTo>
                    <a:lnTo>
                      <a:pt x="128" y="504"/>
                    </a:lnTo>
                    <a:close/>
                    <a:moveTo>
                      <a:pt x="176" y="0"/>
                    </a:moveTo>
                    <a:lnTo>
                      <a:pt x="82" y="0"/>
                    </a:lnTo>
                    <a:lnTo>
                      <a:pt x="82" y="0"/>
                    </a:lnTo>
                    <a:lnTo>
                      <a:pt x="68" y="0"/>
                    </a:lnTo>
                    <a:lnTo>
                      <a:pt x="56" y="2"/>
                    </a:lnTo>
                    <a:lnTo>
                      <a:pt x="46" y="6"/>
                    </a:lnTo>
                    <a:lnTo>
                      <a:pt x="36" y="10"/>
                    </a:lnTo>
                    <a:lnTo>
                      <a:pt x="28" y="16"/>
                    </a:lnTo>
                    <a:lnTo>
                      <a:pt x="22" y="22"/>
                    </a:lnTo>
                    <a:lnTo>
                      <a:pt x="16" y="28"/>
                    </a:lnTo>
                    <a:lnTo>
                      <a:pt x="12" y="36"/>
                    </a:lnTo>
                    <a:lnTo>
                      <a:pt x="6" y="52"/>
                    </a:lnTo>
                    <a:lnTo>
                      <a:pt x="2" y="70"/>
                    </a:lnTo>
                    <a:lnTo>
                      <a:pt x="0" y="86"/>
                    </a:lnTo>
                    <a:lnTo>
                      <a:pt x="0" y="102"/>
                    </a:lnTo>
                    <a:lnTo>
                      <a:pt x="0" y="472"/>
                    </a:lnTo>
                    <a:lnTo>
                      <a:pt x="0" y="472"/>
                    </a:lnTo>
                    <a:lnTo>
                      <a:pt x="0" y="488"/>
                    </a:lnTo>
                    <a:lnTo>
                      <a:pt x="2" y="506"/>
                    </a:lnTo>
                    <a:lnTo>
                      <a:pt x="6" y="524"/>
                    </a:lnTo>
                    <a:lnTo>
                      <a:pt x="12" y="540"/>
                    </a:lnTo>
                    <a:lnTo>
                      <a:pt x="16" y="546"/>
                    </a:lnTo>
                    <a:lnTo>
                      <a:pt x="22" y="554"/>
                    </a:lnTo>
                    <a:lnTo>
                      <a:pt x="28" y="560"/>
                    </a:lnTo>
                    <a:lnTo>
                      <a:pt x="36" y="566"/>
                    </a:lnTo>
                    <a:lnTo>
                      <a:pt x="46" y="570"/>
                    </a:lnTo>
                    <a:lnTo>
                      <a:pt x="56" y="572"/>
                    </a:lnTo>
                    <a:lnTo>
                      <a:pt x="68" y="574"/>
                    </a:lnTo>
                    <a:lnTo>
                      <a:pt x="82" y="576"/>
                    </a:lnTo>
                    <a:lnTo>
                      <a:pt x="176" y="576"/>
                    </a:lnTo>
                    <a:lnTo>
                      <a:pt x="176" y="576"/>
                    </a:lnTo>
                    <a:lnTo>
                      <a:pt x="188" y="574"/>
                    </a:lnTo>
                    <a:lnTo>
                      <a:pt x="202" y="572"/>
                    </a:lnTo>
                    <a:lnTo>
                      <a:pt x="212" y="570"/>
                    </a:lnTo>
                    <a:lnTo>
                      <a:pt x="222" y="566"/>
                    </a:lnTo>
                    <a:lnTo>
                      <a:pt x="228" y="560"/>
                    </a:lnTo>
                    <a:lnTo>
                      <a:pt x="236" y="554"/>
                    </a:lnTo>
                    <a:lnTo>
                      <a:pt x="242" y="546"/>
                    </a:lnTo>
                    <a:lnTo>
                      <a:pt x="246" y="540"/>
                    </a:lnTo>
                    <a:lnTo>
                      <a:pt x="252" y="524"/>
                    </a:lnTo>
                    <a:lnTo>
                      <a:pt x="256" y="506"/>
                    </a:lnTo>
                    <a:lnTo>
                      <a:pt x="258" y="488"/>
                    </a:lnTo>
                    <a:lnTo>
                      <a:pt x="258" y="472"/>
                    </a:lnTo>
                    <a:lnTo>
                      <a:pt x="258" y="102"/>
                    </a:lnTo>
                    <a:lnTo>
                      <a:pt x="258" y="102"/>
                    </a:lnTo>
                    <a:lnTo>
                      <a:pt x="258" y="86"/>
                    </a:lnTo>
                    <a:lnTo>
                      <a:pt x="256" y="70"/>
                    </a:lnTo>
                    <a:lnTo>
                      <a:pt x="252" y="52"/>
                    </a:lnTo>
                    <a:lnTo>
                      <a:pt x="246" y="36"/>
                    </a:lnTo>
                    <a:lnTo>
                      <a:pt x="242" y="28"/>
                    </a:lnTo>
                    <a:lnTo>
                      <a:pt x="236" y="22"/>
                    </a:lnTo>
                    <a:lnTo>
                      <a:pt x="228" y="16"/>
                    </a:lnTo>
                    <a:lnTo>
                      <a:pt x="222" y="10"/>
                    </a:lnTo>
                    <a:lnTo>
                      <a:pt x="212" y="6"/>
                    </a:lnTo>
                    <a:lnTo>
                      <a:pt x="202" y="2"/>
                    </a:lnTo>
                    <a:lnTo>
                      <a:pt x="188" y="0"/>
                    </a:lnTo>
                    <a:lnTo>
                      <a:pt x="17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1" name="Freeform 9"/>
              <p:cNvSpPr>
                <a:spLocks/>
              </p:cNvSpPr>
              <p:nvPr userDrawn="1"/>
            </p:nvSpPr>
            <p:spPr bwMode="auto">
              <a:xfrm>
                <a:off x="1428" y="1657"/>
                <a:ext cx="214" cy="576"/>
              </a:xfrm>
              <a:custGeom>
                <a:avLst/>
                <a:gdLst>
                  <a:gd name="T0" fmla="*/ 0 w 214"/>
                  <a:gd name="T1" fmla="*/ 0 h 576"/>
                  <a:gd name="T2" fmla="*/ 214 w 214"/>
                  <a:gd name="T3" fmla="*/ 0 h 576"/>
                  <a:gd name="T4" fmla="*/ 214 w 214"/>
                  <a:gd name="T5" fmla="*/ 72 h 576"/>
                  <a:gd name="T6" fmla="*/ 112 w 214"/>
                  <a:gd name="T7" fmla="*/ 72 h 576"/>
                  <a:gd name="T8" fmla="*/ 112 w 214"/>
                  <a:gd name="T9" fmla="*/ 576 h 576"/>
                  <a:gd name="T10" fmla="*/ 0 w 214"/>
                  <a:gd name="T11" fmla="*/ 576 h 576"/>
                  <a:gd name="T12" fmla="*/ 0 w 214"/>
                  <a:gd name="T13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576">
                    <a:moveTo>
                      <a:pt x="0" y="0"/>
                    </a:moveTo>
                    <a:lnTo>
                      <a:pt x="214" y="0"/>
                    </a:lnTo>
                    <a:lnTo>
                      <a:pt x="214" y="72"/>
                    </a:lnTo>
                    <a:lnTo>
                      <a:pt x="112" y="72"/>
                    </a:lnTo>
                    <a:lnTo>
                      <a:pt x="112" y="576"/>
                    </a:lnTo>
                    <a:lnTo>
                      <a:pt x="0" y="57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2" name="Freeform 10"/>
              <p:cNvSpPr>
                <a:spLocks noEditPoints="1"/>
              </p:cNvSpPr>
              <p:nvPr userDrawn="1"/>
            </p:nvSpPr>
            <p:spPr bwMode="auto">
              <a:xfrm>
                <a:off x="1658" y="1657"/>
                <a:ext cx="292" cy="576"/>
              </a:xfrm>
              <a:custGeom>
                <a:avLst/>
                <a:gdLst>
                  <a:gd name="T0" fmla="*/ 0 w 292"/>
                  <a:gd name="T1" fmla="*/ 576 h 576"/>
                  <a:gd name="T2" fmla="*/ 110 w 292"/>
                  <a:gd name="T3" fmla="*/ 576 h 576"/>
                  <a:gd name="T4" fmla="*/ 120 w 292"/>
                  <a:gd name="T5" fmla="*/ 422 h 576"/>
                  <a:gd name="T6" fmla="*/ 172 w 292"/>
                  <a:gd name="T7" fmla="*/ 422 h 576"/>
                  <a:gd name="T8" fmla="*/ 182 w 292"/>
                  <a:gd name="T9" fmla="*/ 576 h 576"/>
                  <a:gd name="T10" fmla="*/ 292 w 292"/>
                  <a:gd name="T11" fmla="*/ 576 h 576"/>
                  <a:gd name="T12" fmla="*/ 234 w 292"/>
                  <a:gd name="T13" fmla="*/ 0 h 576"/>
                  <a:gd name="T14" fmla="*/ 58 w 292"/>
                  <a:gd name="T15" fmla="*/ 0 h 576"/>
                  <a:gd name="T16" fmla="*/ 0 w 292"/>
                  <a:gd name="T17" fmla="*/ 576 h 576"/>
                  <a:gd name="T18" fmla="*/ 124 w 292"/>
                  <a:gd name="T19" fmla="*/ 360 h 576"/>
                  <a:gd name="T20" fmla="*/ 144 w 292"/>
                  <a:gd name="T21" fmla="*/ 72 h 576"/>
                  <a:gd name="T22" fmla="*/ 150 w 292"/>
                  <a:gd name="T23" fmla="*/ 72 h 576"/>
                  <a:gd name="T24" fmla="*/ 168 w 292"/>
                  <a:gd name="T25" fmla="*/ 360 h 576"/>
                  <a:gd name="T26" fmla="*/ 124 w 292"/>
                  <a:gd name="T27" fmla="*/ 36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2" h="576">
                    <a:moveTo>
                      <a:pt x="0" y="576"/>
                    </a:moveTo>
                    <a:lnTo>
                      <a:pt x="110" y="576"/>
                    </a:lnTo>
                    <a:lnTo>
                      <a:pt x="120" y="422"/>
                    </a:lnTo>
                    <a:lnTo>
                      <a:pt x="172" y="422"/>
                    </a:lnTo>
                    <a:lnTo>
                      <a:pt x="182" y="576"/>
                    </a:lnTo>
                    <a:lnTo>
                      <a:pt x="292" y="576"/>
                    </a:lnTo>
                    <a:lnTo>
                      <a:pt x="234" y="0"/>
                    </a:lnTo>
                    <a:lnTo>
                      <a:pt x="58" y="0"/>
                    </a:lnTo>
                    <a:lnTo>
                      <a:pt x="0" y="576"/>
                    </a:lnTo>
                    <a:close/>
                    <a:moveTo>
                      <a:pt x="124" y="360"/>
                    </a:moveTo>
                    <a:lnTo>
                      <a:pt x="144" y="72"/>
                    </a:lnTo>
                    <a:lnTo>
                      <a:pt x="150" y="72"/>
                    </a:lnTo>
                    <a:lnTo>
                      <a:pt x="168" y="360"/>
                    </a:lnTo>
                    <a:lnTo>
                      <a:pt x="124" y="3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3" name="Freeform 11"/>
              <p:cNvSpPr>
                <a:spLocks/>
              </p:cNvSpPr>
              <p:nvPr userDrawn="1"/>
            </p:nvSpPr>
            <p:spPr bwMode="auto">
              <a:xfrm>
                <a:off x="1998" y="1657"/>
                <a:ext cx="260" cy="576"/>
              </a:xfrm>
              <a:custGeom>
                <a:avLst/>
                <a:gdLst>
                  <a:gd name="T0" fmla="*/ 112 w 260"/>
                  <a:gd name="T1" fmla="*/ 482 h 576"/>
                  <a:gd name="T2" fmla="*/ 114 w 260"/>
                  <a:gd name="T3" fmla="*/ 492 h 576"/>
                  <a:gd name="T4" fmla="*/ 124 w 260"/>
                  <a:gd name="T5" fmla="*/ 500 h 576"/>
                  <a:gd name="T6" fmla="*/ 130 w 260"/>
                  <a:gd name="T7" fmla="*/ 502 h 576"/>
                  <a:gd name="T8" fmla="*/ 142 w 260"/>
                  <a:gd name="T9" fmla="*/ 496 h 576"/>
                  <a:gd name="T10" fmla="*/ 148 w 260"/>
                  <a:gd name="T11" fmla="*/ 482 h 576"/>
                  <a:gd name="T12" fmla="*/ 148 w 260"/>
                  <a:gd name="T13" fmla="*/ 348 h 576"/>
                  <a:gd name="T14" fmla="*/ 144 w 260"/>
                  <a:gd name="T15" fmla="*/ 328 h 576"/>
                  <a:gd name="T16" fmla="*/ 136 w 260"/>
                  <a:gd name="T17" fmla="*/ 318 h 576"/>
                  <a:gd name="T18" fmla="*/ 116 w 260"/>
                  <a:gd name="T19" fmla="*/ 312 h 576"/>
                  <a:gd name="T20" fmla="*/ 58 w 260"/>
                  <a:gd name="T21" fmla="*/ 310 h 576"/>
                  <a:gd name="T22" fmla="*/ 104 w 260"/>
                  <a:gd name="T23" fmla="*/ 248 h 576"/>
                  <a:gd name="T24" fmla="*/ 124 w 260"/>
                  <a:gd name="T25" fmla="*/ 246 h 576"/>
                  <a:gd name="T26" fmla="*/ 138 w 260"/>
                  <a:gd name="T27" fmla="*/ 240 h 576"/>
                  <a:gd name="T28" fmla="*/ 146 w 260"/>
                  <a:gd name="T29" fmla="*/ 226 h 576"/>
                  <a:gd name="T30" fmla="*/ 148 w 260"/>
                  <a:gd name="T31" fmla="*/ 204 h 576"/>
                  <a:gd name="T32" fmla="*/ 148 w 260"/>
                  <a:gd name="T33" fmla="*/ 90 h 576"/>
                  <a:gd name="T34" fmla="*/ 142 w 260"/>
                  <a:gd name="T35" fmla="*/ 78 h 576"/>
                  <a:gd name="T36" fmla="*/ 130 w 260"/>
                  <a:gd name="T37" fmla="*/ 72 h 576"/>
                  <a:gd name="T38" fmla="*/ 124 w 260"/>
                  <a:gd name="T39" fmla="*/ 72 h 576"/>
                  <a:gd name="T40" fmla="*/ 114 w 260"/>
                  <a:gd name="T41" fmla="*/ 82 h 576"/>
                  <a:gd name="T42" fmla="*/ 112 w 260"/>
                  <a:gd name="T43" fmla="*/ 184 h 576"/>
                  <a:gd name="T44" fmla="*/ 0 w 260"/>
                  <a:gd name="T45" fmla="*/ 102 h 576"/>
                  <a:gd name="T46" fmla="*/ 0 w 260"/>
                  <a:gd name="T47" fmla="*/ 86 h 576"/>
                  <a:gd name="T48" fmla="*/ 6 w 260"/>
                  <a:gd name="T49" fmla="*/ 52 h 576"/>
                  <a:gd name="T50" fmla="*/ 18 w 260"/>
                  <a:gd name="T51" fmla="*/ 28 h 576"/>
                  <a:gd name="T52" fmla="*/ 30 w 260"/>
                  <a:gd name="T53" fmla="*/ 16 h 576"/>
                  <a:gd name="T54" fmla="*/ 46 w 260"/>
                  <a:gd name="T55" fmla="*/ 6 h 576"/>
                  <a:gd name="T56" fmla="*/ 70 w 260"/>
                  <a:gd name="T57" fmla="*/ 0 h 576"/>
                  <a:gd name="T58" fmla="*/ 176 w 260"/>
                  <a:gd name="T59" fmla="*/ 0 h 576"/>
                  <a:gd name="T60" fmla="*/ 190 w 260"/>
                  <a:gd name="T61" fmla="*/ 0 h 576"/>
                  <a:gd name="T62" fmla="*/ 214 w 260"/>
                  <a:gd name="T63" fmla="*/ 6 h 576"/>
                  <a:gd name="T64" fmla="*/ 230 w 260"/>
                  <a:gd name="T65" fmla="*/ 16 h 576"/>
                  <a:gd name="T66" fmla="*/ 242 w 260"/>
                  <a:gd name="T67" fmla="*/ 28 h 576"/>
                  <a:gd name="T68" fmla="*/ 254 w 260"/>
                  <a:gd name="T69" fmla="*/ 52 h 576"/>
                  <a:gd name="T70" fmla="*/ 260 w 260"/>
                  <a:gd name="T71" fmla="*/ 86 h 576"/>
                  <a:gd name="T72" fmla="*/ 260 w 260"/>
                  <a:gd name="T73" fmla="*/ 194 h 576"/>
                  <a:gd name="T74" fmla="*/ 258 w 260"/>
                  <a:gd name="T75" fmla="*/ 216 h 576"/>
                  <a:gd name="T76" fmla="*/ 244 w 260"/>
                  <a:gd name="T77" fmla="*/ 248 h 576"/>
                  <a:gd name="T78" fmla="*/ 222 w 260"/>
                  <a:gd name="T79" fmla="*/ 266 h 576"/>
                  <a:gd name="T80" fmla="*/ 196 w 260"/>
                  <a:gd name="T81" fmla="*/ 272 h 576"/>
                  <a:gd name="T82" fmla="*/ 184 w 260"/>
                  <a:gd name="T83" fmla="*/ 278 h 576"/>
                  <a:gd name="T84" fmla="*/ 196 w 260"/>
                  <a:gd name="T85" fmla="*/ 280 h 576"/>
                  <a:gd name="T86" fmla="*/ 218 w 260"/>
                  <a:gd name="T87" fmla="*/ 284 h 576"/>
                  <a:gd name="T88" fmla="*/ 234 w 260"/>
                  <a:gd name="T89" fmla="*/ 292 h 576"/>
                  <a:gd name="T90" fmla="*/ 250 w 260"/>
                  <a:gd name="T91" fmla="*/ 310 h 576"/>
                  <a:gd name="T92" fmla="*/ 258 w 260"/>
                  <a:gd name="T93" fmla="*/ 336 h 576"/>
                  <a:gd name="T94" fmla="*/ 260 w 260"/>
                  <a:gd name="T95" fmla="*/ 472 h 576"/>
                  <a:gd name="T96" fmla="*/ 260 w 260"/>
                  <a:gd name="T97" fmla="*/ 488 h 576"/>
                  <a:gd name="T98" fmla="*/ 254 w 260"/>
                  <a:gd name="T99" fmla="*/ 522 h 576"/>
                  <a:gd name="T100" fmla="*/ 242 w 260"/>
                  <a:gd name="T101" fmla="*/ 546 h 576"/>
                  <a:gd name="T102" fmla="*/ 230 w 260"/>
                  <a:gd name="T103" fmla="*/ 560 h 576"/>
                  <a:gd name="T104" fmla="*/ 214 w 260"/>
                  <a:gd name="T105" fmla="*/ 570 h 576"/>
                  <a:gd name="T106" fmla="*/ 190 w 260"/>
                  <a:gd name="T107" fmla="*/ 574 h 576"/>
                  <a:gd name="T108" fmla="*/ 84 w 260"/>
                  <a:gd name="T109" fmla="*/ 576 h 576"/>
                  <a:gd name="T110" fmla="*/ 70 w 260"/>
                  <a:gd name="T111" fmla="*/ 574 h 576"/>
                  <a:gd name="T112" fmla="*/ 46 w 260"/>
                  <a:gd name="T113" fmla="*/ 570 h 576"/>
                  <a:gd name="T114" fmla="*/ 30 w 260"/>
                  <a:gd name="T115" fmla="*/ 560 h 576"/>
                  <a:gd name="T116" fmla="*/ 18 w 260"/>
                  <a:gd name="T117" fmla="*/ 546 h 576"/>
                  <a:gd name="T118" fmla="*/ 6 w 260"/>
                  <a:gd name="T119" fmla="*/ 522 h 576"/>
                  <a:gd name="T120" fmla="*/ 0 w 260"/>
                  <a:gd name="T121" fmla="*/ 488 h 576"/>
                  <a:gd name="T122" fmla="*/ 0 w 260"/>
                  <a:gd name="T123" fmla="*/ 374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60" h="576">
                    <a:moveTo>
                      <a:pt x="112" y="374"/>
                    </a:moveTo>
                    <a:lnTo>
                      <a:pt x="112" y="482"/>
                    </a:lnTo>
                    <a:lnTo>
                      <a:pt x="112" y="482"/>
                    </a:lnTo>
                    <a:lnTo>
                      <a:pt x="114" y="492"/>
                    </a:lnTo>
                    <a:lnTo>
                      <a:pt x="118" y="498"/>
                    </a:lnTo>
                    <a:lnTo>
                      <a:pt x="124" y="500"/>
                    </a:lnTo>
                    <a:lnTo>
                      <a:pt x="130" y="502"/>
                    </a:lnTo>
                    <a:lnTo>
                      <a:pt x="130" y="502"/>
                    </a:lnTo>
                    <a:lnTo>
                      <a:pt x="138" y="500"/>
                    </a:lnTo>
                    <a:lnTo>
                      <a:pt x="142" y="496"/>
                    </a:lnTo>
                    <a:lnTo>
                      <a:pt x="146" y="490"/>
                    </a:lnTo>
                    <a:lnTo>
                      <a:pt x="148" y="482"/>
                    </a:lnTo>
                    <a:lnTo>
                      <a:pt x="148" y="348"/>
                    </a:lnTo>
                    <a:lnTo>
                      <a:pt x="148" y="348"/>
                    </a:lnTo>
                    <a:lnTo>
                      <a:pt x="146" y="336"/>
                    </a:lnTo>
                    <a:lnTo>
                      <a:pt x="144" y="328"/>
                    </a:lnTo>
                    <a:lnTo>
                      <a:pt x="140" y="322"/>
                    </a:lnTo>
                    <a:lnTo>
                      <a:pt x="136" y="318"/>
                    </a:lnTo>
                    <a:lnTo>
                      <a:pt x="128" y="314"/>
                    </a:lnTo>
                    <a:lnTo>
                      <a:pt x="116" y="312"/>
                    </a:lnTo>
                    <a:lnTo>
                      <a:pt x="102" y="310"/>
                    </a:lnTo>
                    <a:lnTo>
                      <a:pt x="58" y="310"/>
                    </a:lnTo>
                    <a:lnTo>
                      <a:pt x="58" y="248"/>
                    </a:lnTo>
                    <a:lnTo>
                      <a:pt x="104" y="248"/>
                    </a:lnTo>
                    <a:lnTo>
                      <a:pt x="104" y="248"/>
                    </a:lnTo>
                    <a:lnTo>
                      <a:pt x="124" y="246"/>
                    </a:lnTo>
                    <a:lnTo>
                      <a:pt x="132" y="244"/>
                    </a:lnTo>
                    <a:lnTo>
                      <a:pt x="138" y="240"/>
                    </a:lnTo>
                    <a:lnTo>
                      <a:pt x="142" y="234"/>
                    </a:lnTo>
                    <a:lnTo>
                      <a:pt x="146" y="226"/>
                    </a:lnTo>
                    <a:lnTo>
                      <a:pt x="146" y="216"/>
                    </a:lnTo>
                    <a:lnTo>
                      <a:pt x="148" y="204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46" y="84"/>
                    </a:lnTo>
                    <a:lnTo>
                      <a:pt x="142" y="78"/>
                    </a:lnTo>
                    <a:lnTo>
                      <a:pt x="138" y="74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4" y="72"/>
                    </a:lnTo>
                    <a:lnTo>
                      <a:pt x="118" y="76"/>
                    </a:lnTo>
                    <a:lnTo>
                      <a:pt x="114" y="82"/>
                    </a:lnTo>
                    <a:lnTo>
                      <a:pt x="112" y="90"/>
                    </a:lnTo>
                    <a:lnTo>
                      <a:pt x="112" y="184"/>
                    </a:lnTo>
                    <a:lnTo>
                      <a:pt x="0" y="184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86"/>
                    </a:lnTo>
                    <a:lnTo>
                      <a:pt x="2" y="70"/>
                    </a:lnTo>
                    <a:lnTo>
                      <a:pt x="6" y="52"/>
                    </a:lnTo>
                    <a:lnTo>
                      <a:pt x="12" y="36"/>
                    </a:lnTo>
                    <a:lnTo>
                      <a:pt x="18" y="28"/>
                    </a:lnTo>
                    <a:lnTo>
                      <a:pt x="22" y="22"/>
                    </a:lnTo>
                    <a:lnTo>
                      <a:pt x="30" y="16"/>
                    </a:lnTo>
                    <a:lnTo>
                      <a:pt x="38" y="10"/>
                    </a:lnTo>
                    <a:lnTo>
                      <a:pt x="46" y="6"/>
                    </a:lnTo>
                    <a:lnTo>
                      <a:pt x="58" y="2"/>
                    </a:lnTo>
                    <a:lnTo>
                      <a:pt x="70" y="0"/>
                    </a:lnTo>
                    <a:lnTo>
                      <a:pt x="84" y="0"/>
                    </a:lnTo>
                    <a:lnTo>
                      <a:pt x="176" y="0"/>
                    </a:lnTo>
                    <a:lnTo>
                      <a:pt x="176" y="0"/>
                    </a:lnTo>
                    <a:lnTo>
                      <a:pt x="190" y="0"/>
                    </a:lnTo>
                    <a:lnTo>
                      <a:pt x="202" y="2"/>
                    </a:lnTo>
                    <a:lnTo>
                      <a:pt x="214" y="6"/>
                    </a:lnTo>
                    <a:lnTo>
                      <a:pt x="222" y="10"/>
                    </a:lnTo>
                    <a:lnTo>
                      <a:pt x="230" y="16"/>
                    </a:lnTo>
                    <a:lnTo>
                      <a:pt x="238" y="22"/>
                    </a:lnTo>
                    <a:lnTo>
                      <a:pt x="242" y="28"/>
                    </a:lnTo>
                    <a:lnTo>
                      <a:pt x="248" y="36"/>
                    </a:lnTo>
                    <a:lnTo>
                      <a:pt x="254" y="52"/>
                    </a:lnTo>
                    <a:lnTo>
                      <a:pt x="258" y="70"/>
                    </a:lnTo>
                    <a:lnTo>
                      <a:pt x="260" y="86"/>
                    </a:lnTo>
                    <a:lnTo>
                      <a:pt x="260" y="102"/>
                    </a:lnTo>
                    <a:lnTo>
                      <a:pt x="260" y="194"/>
                    </a:lnTo>
                    <a:lnTo>
                      <a:pt x="260" y="194"/>
                    </a:lnTo>
                    <a:lnTo>
                      <a:pt x="258" y="216"/>
                    </a:lnTo>
                    <a:lnTo>
                      <a:pt x="252" y="234"/>
                    </a:lnTo>
                    <a:lnTo>
                      <a:pt x="244" y="248"/>
                    </a:lnTo>
                    <a:lnTo>
                      <a:pt x="234" y="258"/>
                    </a:lnTo>
                    <a:lnTo>
                      <a:pt x="222" y="266"/>
                    </a:lnTo>
                    <a:lnTo>
                      <a:pt x="210" y="270"/>
                    </a:lnTo>
                    <a:lnTo>
                      <a:pt x="196" y="272"/>
                    </a:lnTo>
                    <a:lnTo>
                      <a:pt x="184" y="272"/>
                    </a:lnTo>
                    <a:lnTo>
                      <a:pt x="184" y="278"/>
                    </a:lnTo>
                    <a:lnTo>
                      <a:pt x="184" y="278"/>
                    </a:lnTo>
                    <a:lnTo>
                      <a:pt x="196" y="280"/>
                    </a:lnTo>
                    <a:lnTo>
                      <a:pt x="208" y="280"/>
                    </a:lnTo>
                    <a:lnTo>
                      <a:pt x="218" y="284"/>
                    </a:lnTo>
                    <a:lnTo>
                      <a:pt x="228" y="288"/>
                    </a:lnTo>
                    <a:lnTo>
                      <a:pt x="234" y="292"/>
                    </a:lnTo>
                    <a:lnTo>
                      <a:pt x="240" y="298"/>
                    </a:lnTo>
                    <a:lnTo>
                      <a:pt x="250" y="310"/>
                    </a:lnTo>
                    <a:lnTo>
                      <a:pt x="256" y="322"/>
                    </a:lnTo>
                    <a:lnTo>
                      <a:pt x="258" y="336"/>
                    </a:lnTo>
                    <a:lnTo>
                      <a:pt x="260" y="358"/>
                    </a:lnTo>
                    <a:lnTo>
                      <a:pt x="260" y="472"/>
                    </a:lnTo>
                    <a:lnTo>
                      <a:pt x="260" y="472"/>
                    </a:lnTo>
                    <a:lnTo>
                      <a:pt x="260" y="488"/>
                    </a:lnTo>
                    <a:lnTo>
                      <a:pt x="258" y="506"/>
                    </a:lnTo>
                    <a:lnTo>
                      <a:pt x="254" y="522"/>
                    </a:lnTo>
                    <a:lnTo>
                      <a:pt x="248" y="540"/>
                    </a:lnTo>
                    <a:lnTo>
                      <a:pt x="242" y="546"/>
                    </a:lnTo>
                    <a:lnTo>
                      <a:pt x="238" y="554"/>
                    </a:lnTo>
                    <a:lnTo>
                      <a:pt x="230" y="560"/>
                    </a:lnTo>
                    <a:lnTo>
                      <a:pt x="222" y="566"/>
                    </a:lnTo>
                    <a:lnTo>
                      <a:pt x="214" y="570"/>
                    </a:lnTo>
                    <a:lnTo>
                      <a:pt x="202" y="572"/>
                    </a:lnTo>
                    <a:lnTo>
                      <a:pt x="190" y="574"/>
                    </a:lnTo>
                    <a:lnTo>
                      <a:pt x="176" y="576"/>
                    </a:lnTo>
                    <a:lnTo>
                      <a:pt x="84" y="576"/>
                    </a:lnTo>
                    <a:lnTo>
                      <a:pt x="84" y="576"/>
                    </a:lnTo>
                    <a:lnTo>
                      <a:pt x="70" y="574"/>
                    </a:lnTo>
                    <a:lnTo>
                      <a:pt x="58" y="572"/>
                    </a:lnTo>
                    <a:lnTo>
                      <a:pt x="46" y="570"/>
                    </a:lnTo>
                    <a:lnTo>
                      <a:pt x="38" y="566"/>
                    </a:lnTo>
                    <a:lnTo>
                      <a:pt x="30" y="560"/>
                    </a:lnTo>
                    <a:lnTo>
                      <a:pt x="22" y="554"/>
                    </a:lnTo>
                    <a:lnTo>
                      <a:pt x="18" y="546"/>
                    </a:lnTo>
                    <a:lnTo>
                      <a:pt x="12" y="540"/>
                    </a:lnTo>
                    <a:lnTo>
                      <a:pt x="6" y="522"/>
                    </a:lnTo>
                    <a:lnTo>
                      <a:pt x="2" y="506"/>
                    </a:lnTo>
                    <a:lnTo>
                      <a:pt x="0" y="488"/>
                    </a:lnTo>
                    <a:lnTo>
                      <a:pt x="0" y="472"/>
                    </a:lnTo>
                    <a:lnTo>
                      <a:pt x="0" y="374"/>
                    </a:lnTo>
                    <a:lnTo>
                      <a:pt x="112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4" name="Freeform 12"/>
              <p:cNvSpPr>
                <a:spLocks/>
              </p:cNvSpPr>
              <p:nvPr userDrawn="1"/>
            </p:nvSpPr>
            <p:spPr bwMode="auto">
              <a:xfrm>
                <a:off x="2332" y="1657"/>
                <a:ext cx="258" cy="576"/>
              </a:xfrm>
              <a:custGeom>
                <a:avLst/>
                <a:gdLst>
                  <a:gd name="T0" fmla="*/ 0 w 258"/>
                  <a:gd name="T1" fmla="*/ 0 h 576"/>
                  <a:gd name="T2" fmla="*/ 258 w 258"/>
                  <a:gd name="T3" fmla="*/ 0 h 576"/>
                  <a:gd name="T4" fmla="*/ 258 w 258"/>
                  <a:gd name="T5" fmla="*/ 576 h 576"/>
                  <a:gd name="T6" fmla="*/ 154 w 258"/>
                  <a:gd name="T7" fmla="*/ 576 h 576"/>
                  <a:gd name="T8" fmla="*/ 154 w 258"/>
                  <a:gd name="T9" fmla="*/ 72 h 576"/>
                  <a:gd name="T10" fmla="*/ 104 w 258"/>
                  <a:gd name="T11" fmla="*/ 72 h 576"/>
                  <a:gd name="T12" fmla="*/ 104 w 258"/>
                  <a:gd name="T13" fmla="*/ 576 h 576"/>
                  <a:gd name="T14" fmla="*/ 0 w 258"/>
                  <a:gd name="T15" fmla="*/ 576 h 576"/>
                  <a:gd name="T16" fmla="*/ 0 w 258"/>
                  <a:gd name="T17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576">
                    <a:moveTo>
                      <a:pt x="0" y="0"/>
                    </a:moveTo>
                    <a:lnTo>
                      <a:pt x="258" y="0"/>
                    </a:lnTo>
                    <a:lnTo>
                      <a:pt x="258" y="576"/>
                    </a:lnTo>
                    <a:lnTo>
                      <a:pt x="154" y="576"/>
                    </a:lnTo>
                    <a:lnTo>
                      <a:pt x="154" y="72"/>
                    </a:lnTo>
                    <a:lnTo>
                      <a:pt x="104" y="72"/>
                    </a:lnTo>
                    <a:lnTo>
                      <a:pt x="104" y="576"/>
                    </a:lnTo>
                    <a:lnTo>
                      <a:pt x="0" y="57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5" name="Freeform 13"/>
              <p:cNvSpPr>
                <a:spLocks noEditPoints="1"/>
              </p:cNvSpPr>
              <p:nvPr userDrawn="1"/>
            </p:nvSpPr>
            <p:spPr bwMode="auto">
              <a:xfrm>
                <a:off x="2670" y="1657"/>
                <a:ext cx="268" cy="576"/>
              </a:xfrm>
              <a:custGeom>
                <a:avLst/>
                <a:gdLst>
                  <a:gd name="T0" fmla="*/ 0 w 268"/>
                  <a:gd name="T1" fmla="*/ 576 h 576"/>
                  <a:gd name="T2" fmla="*/ 112 w 268"/>
                  <a:gd name="T3" fmla="*/ 576 h 576"/>
                  <a:gd name="T4" fmla="*/ 112 w 268"/>
                  <a:gd name="T5" fmla="*/ 380 h 576"/>
                  <a:gd name="T6" fmla="*/ 176 w 268"/>
                  <a:gd name="T7" fmla="*/ 380 h 576"/>
                  <a:gd name="T8" fmla="*/ 176 w 268"/>
                  <a:gd name="T9" fmla="*/ 380 h 576"/>
                  <a:gd name="T10" fmla="*/ 190 w 268"/>
                  <a:gd name="T11" fmla="*/ 380 h 576"/>
                  <a:gd name="T12" fmla="*/ 202 w 268"/>
                  <a:gd name="T13" fmla="*/ 378 h 576"/>
                  <a:gd name="T14" fmla="*/ 214 w 268"/>
                  <a:gd name="T15" fmla="*/ 374 h 576"/>
                  <a:gd name="T16" fmla="*/ 224 w 268"/>
                  <a:gd name="T17" fmla="*/ 370 h 576"/>
                  <a:gd name="T18" fmla="*/ 232 w 268"/>
                  <a:gd name="T19" fmla="*/ 364 h 576"/>
                  <a:gd name="T20" fmla="*/ 240 w 268"/>
                  <a:gd name="T21" fmla="*/ 358 h 576"/>
                  <a:gd name="T22" fmla="*/ 252 w 268"/>
                  <a:gd name="T23" fmla="*/ 344 h 576"/>
                  <a:gd name="T24" fmla="*/ 260 w 268"/>
                  <a:gd name="T25" fmla="*/ 328 h 576"/>
                  <a:gd name="T26" fmla="*/ 264 w 268"/>
                  <a:gd name="T27" fmla="*/ 310 h 576"/>
                  <a:gd name="T28" fmla="*/ 266 w 268"/>
                  <a:gd name="T29" fmla="*/ 294 h 576"/>
                  <a:gd name="T30" fmla="*/ 268 w 268"/>
                  <a:gd name="T31" fmla="*/ 278 h 576"/>
                  <a:gd name="T32" fmla="*/ 268 w 268"/>
                  <a:gd name="T33" fmla="*/ 102 h 576"/>
                  <a:gd name="T34" fmla="*/ 268 w 268"/>
                  <a:gd name="T35" fmla="*/ 102 h 576"/>
                  <a:gd name="T36" fmla="*/ 266 w 268"/>
                  <a:gd name="T37" fmla="*/ 86 h 576"/>
                  <a:gd name="T38" fmla="*/ 264 w 268"/>
                  <a:gd name="T39" fmla="*/ 70 h 576"/>
                  <a:gd name="T40" fmla="*/ 260 w 268"/>
                  <a:gd name="T41" fmla="*/ 52 h 576"/>
                  <a:gd name="T42" fmla="*/ 252 w 268"/>
                  <a:gd name="T43" fmla="*/ 36 h 576"/>
                  <a:gd name="T44" fmla="*/ 240 w 268"/>
                  <a:gd name="T45" fmla="*/ 22 h 576"/>
                  <a:gd name="T46" fmla="*/ 232 w 268"/>
                  <a:gd name="T47" fmla="*/ 16 h 576"/>
                  <a:gd name="T48" fmla="*/ 224 w 268"/>
                  <a:gd name="T49" fmla="*/ 10 h 576"/>
                  <a:gd name="T50" fmla="*/ 214 w 268"/>
                  <a:gd name="T51" fmla="*/ 6 h 576"/>
                  <a:gd name="T52" fmla="*/ 202 w 268"/>
                  <a:gd name="T53" fmla="*/ 2 h 576"/>
                  <a:gd name="T54" fmla="*/ 190 w 268"/>
                  <a:gd name="T55" fmla="*/ 0 h 576"/>
                  <a:gd name="T56" fmla="*/ 176 w 268"/>
                  <a:gd name="T57" fmla="*/ 0 h 576"/>
                  <a:gd name="T58" fmla="*/ 0 w 268"/>
                  <a:gd name="T59" fmla="*/ 0 h 576"/>
                  <a:gd name="T60" fmla="*/ 0 w 268"/>
                  <a:gd name="T61" fmla="*/ 576 h 576"/>
                  <a:gd name="T62" fmla="*/ 112 w 268"/>
                  <a:gd name="T63" fmla="*/ 316 h 576"/>
                  <a:gd name="T64" fmla="*/ 112 w 268"/>
                  <a:gd name="T65" fmla="*/ 72 h 576"/>
                  <a:gd name="T66" fmla="*/ 142 w 268"/>
                  <a:gd name="T67" fmla="*/ 72 h 576"/>
                  <a:gd name="T68" fmla="*/ 142 w 268"/>
                  <a:gd name="T69" fmla="*/ 72 h 576"/>
                  <a:gd name="T70" fmla="*/ 150 w 268"/>
                  <a:gd name="T71" fmla="*/ 74 h 576"/>
                  <a:gd name="T72" fmla="*/ 156 w 268"/>
                  <a:gd name="T73" fmla="*/ 80 h 576"/>
                  <a:gd name="T74" fmla="*/ 162 w 268"/>
                  <a:gd name="T75" fmla="*/ 88 h 576"/>
                  <a:gd name="T76" fmla="*/ 162 w 268"/>
                  <a:gd name="T77" fmla="*/ 100 h 576"/>
                  <a:gd name="T78" fmla="*/ 162 w 268"/>
                  <a:gd name="T79" fmla="*/ 288 h 576"/>
                  <a:gd name="T80" fmla="*/ 162 w 268"/>
                  <a:gd name="T81" fmla="*/ 288 h 576"/>
                  <a:gd name="T82" fmla="*/ 162 w 268"/>
                  <a:gd name="T83" fmla="*/ 300 h 576"/>
                  <a:gd name="T84" fmla="*/ 156 w 268"/>
                  <a:gd name="T85" fmla="*/ 310 h 576"/>
                  <a:gd name="T86" fmla="*/ 150 w 268"/>
                  <a:gd name="T87" fmla="*/ 314 h 576"/>
                  <a:gd name="T88" fmla="*/ 142 w 268"/>
                  <a:gd name="T89" fmla="*/ 316 h 576"/>
                  <a:gd name="T90" fmla="*/ 112 w 268"/>
                  <a:gd name="T91" fmla="*/ 31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68" h="576">
                    <a:moveTo>
                      <a:pt x="0" y="576"/>
                    </a:moveTo>
                    <a:lnTo>
                      <a:pt x="112" y="576"/>
                    </a:lnTo>
                    <a:lnTo>
                      <a:pt x="112" y="380"/>
                    </a:lnTo>
                    <a:lnTo>
                      <a:pt x="176" y="380"/>
                    </a:lnTo>
                    <a:lnTo>
                      <a:pt x="176" y="380"/>
                    </a:lnTo>
                    <a:lnTo>
                      <a:pt x="190" y="380"/>
                    </a:lnTo>
                    <a:lnTo>
                      <a:pt x="202" y="378"/>
                    </a:lnTo>
                    <a:lnTo>
                      <a:pt x="214" y="374"/>
                    </a:lnTo>
                    <a:lnTo>
                      <a:pt x="224" y="370"/>
                    </a:lnTo>
                    <a:lnTo>
                      <a:pt x="232" y="364"/>
                    </a:lnTo>
                    <a:lnTo>
                      <a:pt x="240" y="358"/>
                    </a:lnTo>
                    <a:lnTo>
                      <a:pt x="252" y="344"/>
                    </a:lnTo>
                    <a:lnTo>
                      <a:pt x="260" y="328"/>
                    </a:lnTo>
                    <a:lnTo>
                      <a:pt x="264" y="310"/>
                    </a:lnTo>
                    <a:lnTo>
                      <a:pt x="266" y="294"/>
                    </a:lnTo>
                    <a:lnTo>
                      <a:pt x="268" y="278"/>
                    </a:lnTo>
                    <a:lnTo>
                      <a:pt x="268" y="102"/>
                    </a:lnTo>
                    <a:lnTo>
                      <a:pt x="268" y="102"/>
                    </a:lnTo>
                    <a:lnTo>
                      <a:pt x="266" y="86"/>
                    </a:lnTo>
                    <a:lnTo>
                      <a:pt x="264" y="70"/>
                    </a:lnTo>
                    <a:lnTo>
                      <a:pt x="260" y="52"/>
                    </a:lnTo>
                    <a:lnTo>
                      <a:pt x="252" y="36"/>
                    </a:lnTo>
                    <a:lnTo>
                      <a:pt x="240" y="22"/>
                    </a:lnTo>
                    <a:lnTo>
                      <a:pt x="232" y="16"/>
                    </a:lnTo>
                    <a:lnTo>
                      <a:pt x="224" y="10"/>
                    </a:lnTo>
                    <a:lnTo>
                      <a:pt x="214" y="6"/>
                    </a:lnTo>
                    <a:lnTo>
                      <a:pt x="202" y="2"/>
                    </a:lnTo>
                    <a:lnTo>
                      <a:pt x="190" y="0"/>
                    </a:lnTo>
                    <a:lnTo>
                      <a:pt x="176" y="0"/>
                    </a:lnTo>
                    <a:lnTo>
                      <a:pt x="0" y="0"/>
                    </a:lnTo>
                    <a:lnTo>
                      <a:pt x="0" y="576"/>
                    </a:lnTo>
                    <a:close/>
                    <a:moveTo>
                      <a:pt x="112" y="316"/>
                    </a:moveTo>
                    <a:lnTo>
                      <a:pt x="112" y="72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50" y="74"/>
                    </a:lnTo>
                    <a:lnTo>
                      <a:pt x="156" y="80"/>
                    </a:lnTo>
                    <a:lnTo>
                      <a:pt x="162" y="88"/>
                    </a:lnTo>
                    <a:lnTo>
                      <a:pt x="162" y="100"/>
                    </a:lnTo>
                    <a:lnTo>
                      <a:pt x="162" y="288"/>
                    </a:lnTo>
                    <a:lnTo>
                      <a:pt x="162" y="288"/>
                    </a:lnTo>
                    <a:lnTo>
                      <a:pt x="162" y="300"/>
                    </a:lnTo>
                    <a:lnTo>
                      <a:pt x="156" y="310"/>
                    </a:lnTo>
                    <a:lnTo>
                      <a:pt x="150" y="314"/>
                    </a:lnTo>
                    <a:lnTo>
                      <a:pt x="142" y="316"/>
                    </a:lnTo>
                    <a:lnTo>
                      <a:pt x="112" y="3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6" name="Freeform 14"/>
              <p:cNvSpPr>
                <a:spLocks/>
              </p:cNvSpPr>
              <p:nvPr userDrawn="1"/>
            </p:nvSpPr>
            <p:spPr bwMode="auto">
              <a:xfrm>
                <a:off x="3320" y="1657"/>
                <a:ext cx="436" cy="576"/>
              </a:xfrm>
              <a:custGeom>
                <a:avLst/>
                <a:gdLst>
                  <a:gd name="T0" fmla="*/ 292 w 436"/>
                  <a:gd name="T1" fmla="*/ 0 h 576"/>
                  <a:gd name="T2" fmla="*/ 436 w 436"/>
                  <a:gd name="T3" fmla="*/ 0 h 576"/>
                  <a:gd name="T4" fmla="*/ 436 w 436"/>
                  <a:gd name="T5" fmla="*/ 576 h 576"/>
                  <a:gd name="T6" fmla="*/ 324 w 436"/>
                  <a:gd name="T7" fmla="*/ 576 h 576"/>
                  <a:gd name="T8" fmla="*/ 324 w 436"/>
                  <a:gd name="T9" fmla="*/ 214 h 576"/>
                  <a:gd name="T10" fmla="*/ 320 w 436"/>
                  <a:gd name="T11" fmla="*/ 214 h 576"/>
                  <a:gd name="T12" fmla="*/ 262 w 436"/>
                  <a:gd name="T13" fmla="*/ 576 h 576"/>
                  <a:gd name="T14" fmla="*/ 174 w 436"/>
                  <a:gd name="T15" fmla="*/ 576 h 576"/>
                  <a:gd name="T16" fmla="*/ 116 w 436"/>
                  <a:gd name="T17" fmla="*/ 214 h 576"/>
                  <a:gd name="T18" fmla="*/ 112 w 436"/>
                  <a:gd name="T19" fmla="*/ 214 h 576"/>
                  <a:gd name="T20" fmla="*/ 112 w 436"/>
                  <a:gd name="T21" fmla="*/ 576 h 576"/>
                  <a:gd name="T22" fmla="*/ 0 w 436"/>
                  <a:gd name="T23" fmla="*/ 576 h 576"/>
                  <a:gd name="T24" fmla="*/ 0 w 436"/>
                  <a:gd name="T25" fmla="*/ 0 h 576"/>
                  <a:gd name="T26" fmla="*/ 146 w 436"/>
                  <a:gd name="T27" fmla="*/ 0 h 576"/>
                  <a:gd name="T28" fmla="*/ 218 w 436"/>
                  <a:gd name="T29" fmla="*/ 404 h 576"/>
                  <a:gd name="T30" fmla="*/ 292 w 436"/>
                  <a:gd name="T31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6" h="576">
                    <a:moveTo>
                      <a:pt x="292" y="0"/>
                    </a:moveTo>
                    <a:lnTo>
                      <a:pt x="436" y="0"/>
                    </a:lnTo>
                    <a:lnTo>
                      <a:pt x="436" y="576"/>
                    </a:lnTo>
                    <a:lnTo>
                      <a:pt x="324" y="576"/>
                    </a:lnTo>
                    <a:lnTo>
                      <a:pt x="324" y="214"/>
                    </a:lnTo>
                    <a:lnTo>
                      <a:pt x="320" y="214"/>
                    </a:lnTo>
                    <a:lnTo>
                      <a:pt x="262" y="576"/>
                    </a:lnTo>
                    <a:lnTo>
                      <a:pt x="174" y="576"/>
                    </a:lnTo>
                    <a:lnTo>
                      <a:pt x="116" y="214"/>
                    </a:lnTo>
                    <a:lnTo>
                      <a:pt x="112" y="214"/>
                    </a:lnTo>
                    <a:lnTo>
                      <a:pt x="112" y="576"/>
                    </a:lnTo>
                    <a:lnTo>
                      <a:pt x="0" y="576"/>
                    </a:lnTo>
                    <a:lnTo>
                      <a:pt x="0" y="0"/>
                    </a:lnTo>
                    <a:lnTo>
                      <a:pt x="146" y="0"/>
                    </a:lnTo>
                    <a:lnTo>
                      <a:pt x="218" y="404"/>
                    </a:lnTo>
                    <a:lnTo>
                      <a:pt x="2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7" name="Freeform 15"/>
              <p:cNvSpPr>
                <a:spLocks noEditPoints="1"/>
              </p:cNvSpPr>
              <p:nvPr userDrawn="1"/>
            </p:nvSpPr>
            <p:spPr bwMode="auto">
              <a:xfrm>
                <a:off x="900" y="1159"/>
                <a:ext cx="330" cy="1042"/>
              </a:xfrm>
              <a:custGeom>
                <a:avLst/>
                <a:gdLst>
                  <a:gd name="T0" fmla="*/ 288 w 330"/>
                  <a:gd name="T1" fmla="*/ 600 h 1042"/>
                  <a:gd name="T2" fmla="*/ 272 w 330"/>
                  <a:gd name="T3" fmla="*/ 714 h 1042"/>
                  <a:gd name="T4" fmla="*/ 270 w 330"/>
                  <a:gd name="T5" fmla="*/ 604 h 1042"/>
                  <a:gd name="T6" fmla="*/ 254 w 330"/>
                  <a:gd name="T7" fmla="*/ 490 h 1042"/>
                  <a:gd name="T8" fmla="*/ 216 w 330"/>
                  <a:gd name="T9" fmla="*/ 364 h 1042"/>
                  <a:gd name="T10" fmla="*/ 176 w 330"/>
                  <a:gd name="T11" fmla="*/ 272 h 1042"/>
                  <a:gd name="T12" fmla="*/ 152 w 330"/>
                  <a:gd name="T13" fmla="*/ 272 h 1042"/>
                  <a:gd name="T14" fmla="*/ 92 w 330"/>
                  <a:gd name="T15" fmla="*/ 422 h 1042"/>
                  <a:gd name="T16" fmla="*/ 74 w 330"/>
                  <a:gd name="T17" fmla="*/ 490 h 1042"/>
                  <a:gd name="T18" fmla="*/ 56 w 330"/>
                  <a:gd name="T19" fmla="*/ 624 h 1042"/>
                  <a:gd name="T20" fmla="*/ 54 w 330"/>
                  <a:gd name="T21" fmla="*/ 716 h 1042"/>
                  <a:gd name="T22" fmla="*/ 40 w 330"/>
                  <a:gd name="T23" fmla="*/ 568 h 1042"/>
                  <a:gd name="T24" fmla="*/ 40 w 330"/>
                  <a:gd name="T25" fmla="*/ 498 h 1042"/>
                  <a:gd name="T26" fmla="*/ 52 w 330"/>
                  <a:gd name="T27" fmla="*/ 382 h 1042"/>
                  <a:gd name="T28" fmla="*/ 72 w 330"/>
                  <a:gd name="T29" fmla="*/ 298 h 1042"/>
                  <a:gd name="T30" fmla="*/ 128 w 330"/>
                  <a:gd name="T31" fmla="*/ 148 h 1042"/>
                  <a:gd name="T32" fmla="*/ 164 w 330"/>
                  <a:gd name="T33" fmla="*/ 80 h 1042"/>
                  <a:gd name="T34" fmla="*/ 216 w 330"/>
                  <a:gd name="T35" fmla="*/ 186 h 1042"/>
                  <a:gd name="T36" fmla="*/ 256 w 330"/>
                  <a:gd name="T37" fmla="*/ 296 h 1042"/>
                  <a:gd name="T38" fmla="*/ 274 w 330"/>
                  <a:gd name="T39" fmla="*/ 372 h 1042"/>
                  <a:gd name="T40" fmla="*/ 290 w 330"/>
                  <a:gd name="T41" fmla="*/ 506 h 1042"/>
                  <a:gd name="T42" fmla="*/ 164 w 330"/>
                  <a:gd name="T43" fmla="*/ 1004 h 1042"/>
                  <a:gd name="T44" fmla="*/ 134 w 330"/>
                  <a:gd name="T45" fmla="*/ 932 h 1042"/>
                  <a:gd name="T46" fmla="*/ 120 w 330"/>
                  <a:gd name="T47" fmla="*/ 848 h 1042"/>
                  <a:gd name="T48" fmla="*/ 118 w 330"/>
                  <a:gd name="T49" fmla="*/ 780 h 1042"/>
                  <a:gd name="T50" fmla="*/ 136 w 330"/>
                  <a:gd name="T51" fmla="*/ 692 h 1042"/>
                  <a:gd name="T52" fmla="*/ 164 w 330"/>
                  <a:gd name="T53" fmla="*/ 626 h 1042"/>
                  <a:gd name="T54" fmla="*/ 182 w 330"/>
                  <a:gd name="T55" fmla="*/ 666 h 1042"/>
                  <a:gd name="T56" fmla="*/ 202 w 330"/>
                  <a:gd name="T57" fmla="*/ 740 h 1042"/>
                  <a:gd name="T58" fmla="*/ 210 w 330"/>
                  <a:gd name="T59" fmla="*/ 806 h 1042"/>
                  <a:gd name="T60" fmla="*/ 202 w 330"/>
                  <a:gd name="T61" fmla="*/ 900 h 1042"/>
                  <a:gd name="T62" fmla="*/ 180 w 330"/>
                  <a:gd name="T63" fmla="*/ 972 h 1042"/>
                  <a:gd name="T64" fmla="*/ 300 w 330"/>
                  <a:gd name="T65" fmla="*/ 296 h 1042"/>
                  <a:gd name="T66" fmla="*/ 266 w 330"/>
                  <a:gd name="T67" fmla="*/ 188 h 1042"/>
                  <a:gd name="T68" fmla="*/ 204 w 330"/>
                  <a:gd name="T69" fmla="*/ 62 h 1042"/>
                  <a:gd name="T70" fmla="*/ 164 w 330"/>
                  <a:gd name="T71" fmla="*/ 0 h 1042"/>
                  <a:gd name="T72" fmla="*/ 88 w 330"/>
                  <a:gd name="T73" fmla="*/ 132 h 1042"/>
                  <a:gd name="T74" fmla="*/ 38 w 330"/>
                  <a:gd name="T75" fmla="*/ 260 h 1042"/>
                  <a:gd name="T76" fmla="*/ 14 w 330"/>
                  <a:gd name="T77" fmla="*/ 358 h 1042"/>
                  <a:gd name="T78" fmla="*/ 0 w 330"/>
                  <a:gd name="T79" fmla="*/ 500 h 1042"/>
                  <a:gd name="T80" fmla="*/ 6 w 330"/>
                  <a:gd name="T81" fmla="*/ 634 h 1042"/>
                  <a:gd name="T82" fmla="*/ 22 w 330"/>
                  <a:gd name="T83" fmla="*/ 722 h 1042"/>
                  <a:gd name="T84" fmla="*/ 62 w 330"/>
                  <a:gd name="T85" fmla="*/ 854 h 1042"/>
                  <a:gd name="T86" fmla="*/ 94 w 330"/>
                  <a:gd name="T87" fmla="*/ 924 h 1042"/>
                  <a:gd name="T88" fmla="*/ 164 w 330"/>
                  <a:gd name="T89" fmla="*/ 1042 h 1042"/>
                  <a:gd name="T90" fmla="*/ 202 w 330"/>
                  <a:gd name="T91" fmla="*/ 986 h 1042"/>
                  <a:gd name="T92" fmla="*/ 268 w 330"/>
                  <a:gd name="T93" fmla="*/ 846 h 1042"/>
                  <a:gd name="T94" fmla="*/ 306 w 330"/>
                  <a:gd name="T95" fmla="*/ 722 h 1042"/>
                  <a:gd name="T96" fmla="*/ 320 w 330"/>
                  <a:gd name="T97" fmla="*/ 652 h 1042"/>
                  <a:gd name="T98" fmla="*/ 330 w 330"/>
                  <a:gd name="T99" fmla="*/ 532 h 1042"/>
                  <a:gd name="T100" fmla="*/ 320 w 330"/>
                  <a:gd name="T101" fmla="*/ 402 h 10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0" h="1042">
                    <a:moveTo>
                      <a:pt x="290" y="556"/>
                    </a:moveTo>
                    <a:lnTo>
                      <a:pt x="290" y="556"/>
                    </a:lnTo>
                    <a:lnTo>
                      <a:pt x="288" y="600"/>
                    </a:lnTo>
                    <a:lnTo>
                      <a:pt x="284" y="642"/>
                    </a:lnTo>
                    <a:lnTo>
                      <a:pt x="278" y="682"/>
                    </a:lnTo>
                    <a:lnTo>
                      <a:pt x="272" y="714"/>
                    </a:lnTo>
                    <a:lnTo>
                      <a:pt x="272" y="714"/>
                    </a:lnTo>
                    <a:lnTo>
                      <a:pt x="272" y="662"/>
                    </a:lnTo>
                    <a:lnTo>
                      <a:pt x="270" y="604"/>
                    </a:lnTo>
                    <a:lnTo>
                      <a:pt x="262" y="546"/>
                    </a:lnTo>
                    <a:lnTo>
                      <a:pt x="254" y="490"/>
                    </a:lnTo>
                    <a:lnTo>
                      <a:pt x="254" y="490"/>
                    </a:lnTo>
                    <a:lnTo>
                      <a:pt x="246" y="462"/>
                    </a:lnTo>
                    <a:lnTo>
                      <a:pt x="238" y="430"/>
                    </a:lnTo>
                    <a:lnTo>
                      <a:pt x="216" y="364"/>
                    </a:lnTo>
                    <a:lnTo>
                      <a:pt x="202" y="332"/>
                    </a:lnTo>
                    <a:lnTo>
                      <a:pt x="190" y="300"/>
                    </a:lnTo>
                    <a:lnTo>
                      <a:pt x="176" y="272"/>
                    </a:lnTo>
                    <a:lnTo>
                      <a:pt x="164" y="250"/>
                    </a:lnTo>
                    <a:lnTo>
                      <a:pt x="164" y="250"/>
                    </a:lnTo>
                    <a:lnTo>
                      <a:pt x="152" y="272"/>
                    </a:lnTo>
                    <a:lnTo>
                      <a:pt x="140" y="296"/>
                    </a:lnTo>
                    <a:lnTo>
                      <a:pt x="114" y="356"/>
                    </a:lnTo>
                    <a:lnTo>
                      <a:pt x="92" y="422"/>
                    </a:lnTo>
                    <a:lnTo>
                      <a:pt x="82" y="456"/>
                    </a:lnTo>
                    <a:lnTo>
                      <a:pt x="74" y="490"/>
                    </a:lnTo>
                    <a:lnTo>
                      <a:pt x="74" y="490"/>
                    </a:lnTo>
                    <a:lnTo>
                      <a:pt x="68" y="524"/>
                    </a:lnTo>
                    <a:lnTo>
                      <a:pt x="64" y="558"/>
                    </a:lnTo>
                    <a:lnTo>
                      <a:pt x="56" y="624"/>
                    </a:lnTo>
                    <a:lnTo>
                      <a:pt x="54" y="678"/>
                    </a:lnTo>
                    <a:lnTo>
                      <a:pt x="54" y="716"/>
                    </a:lnTo>
                    <a:lnTo>
                      <a:pt x="54" y="716"/>
                    </a:lnTo>
                    <a:lnTo>
                      <a:pt x="50" y="684"/>
                    </a:lnTo>
                    <a:lnTo>
                      <a:pt x="44" y="632"/>
                    </a:lnTo>
                    <a:lnTo>
                      <a:pt x="40" y="568"/>
                    </a:lnTo>
                    <a:lnTo>
                      <a:pt x="38" y="532"/>
                    </a:lnTo>
                    <a:lnTo>
                      <a:pt x="40" y="498"/>
                    </a:lnTo>
                    <a:lnTo>
                      <a:pt x="40" y="498"/>
                    </a:lnTo>
                    <a:lnTo>
                      <a:pt x="42" y="468"/>
                    </a:lnTo>
                    <a:lnTo>
                      <a:pt x="44" y="438"/>
                    </a:lnTo>
                    <a:lnTo>
                      <a:pt x="52" y="382"/>
                    </a:lnTo>
                    <a:lnTo>
                      <a:pt x="62" y="334"/>
                    </a:lnTo>
                    <a:lnTo>
                      <a:pt x="72" y="298"/>
                    </a:lnTo>
                    <a:lnTo>
                      <a:pt x="72" y="298"/>
                    </a:lnTo>
                    <a:lnTo>
                      <a:pt x="86" y="254"/>
                    </a:lnTo>
                    <a:lnTo>
                      <a:pt x="102" y="214"/>
                    </a:lnTo>
                    <a:lnTo>
                      <a:pt x="128" y="148"/>
                    </a:lnTo>
                    <a:lnTo>
                      <a:pt x="150" y="102"/>
                    </a:lnTo>
                    <a:lnTo>
                      <a:pt x="164" y="80"/>
                    </a:lnTo>
                    <a:lnTo>
                      <a:pt x="164" y="80"/>
                    </a:lnTo>
                    <a:lnTo>
                      <a:pt x="178" y="106"/>
                    </a:lnTo>
                    <a:lnTo>
                      <a:pt x="202" y="154"/>
                    </a:lnTo>
                    <a:lnTo>
                      <a:pt x="216" y="186"/>
                    </a:lnTo>
                    <a:lnTo>
                      <a:pt x="230" y="220"/>
                    </a:lnTo>
                    <a:lnTo>
                      <a:pt x="244" y="258"/>
                    </a:lnTo>
                    <a:lnTo>
                      <a:pt x="256" y="296"/>
                    </a:lnTo>
                    <a:lnTo>
                      <a:pt x="256" y="296"/>
                    </a:lnTo>
                    <a:lnTo>
                      <a:pt x="266" y="334"/>
                    </a:lnTo>
                    <a:lnTo>
                      <a:pt x="274" y="372"/>
                    </a:lnTo>
                    <a:lnTo>
                      <a:pt x="280" y="408"/>
                    </a:lnTo>
                    <a:lnTo>
                      <a:pt x="284" y="442"/>
                    </a:lnTo>
                    <a:lnTo>
                      <a:pt x="290" y="506"/>
                    </a:lnTo>
                    <a:lnTo>
                      <a:pt x="290" y="556"/>
                    </a:lnTo>
                    <a:close/>
                    <a:moveTo>
                      <a:pt x="164" y="1004"/>
                    </a:moveTo>
                    <a:lnTo>
                      <a:pt x="164" y="1004"/>
                    </a:lnTo>
                    <a:lnTo>
                      <a:pt x="150" y="974"/>
                    </a:lnTo>
                    <a:lnTo>
                      <a:pt x="142" y="954"/>
                    </a:lnTo>
                    <a:lnTo>
                      <a:pt x="134" y="932"/>
                    </a:lnTo>
                    <a:lnTo>
                      <a:pt x="128" y="908"/>
                    </a:lnTo>
                    <a:lnTo>
                      <a:pt x="122" y="880"/>
                    </a:lnTo>
                    <a:lnTo>
                      <a:pt x="120" y="848"/>
                    </a:lnTo>
                    <a:lnTo>
                      <a:pt x="116" y="814"/>
                    </a:lnTo>
                    <a:lnTo>
                      <a:pt x="116" y="814"/>
                    </a:lnTo>
                    <a:lnTo>
                      <a:pt x="118" y="780"/>
                    </a:lnTo>
                    <a:lnTo>
                      <a:pt x="122" y="748"/>
                    </a:lnTo>
                    <a:lnTo>
                      <a:pt x="128" y="718"/>
                    </a:lnTo>
                    <a:lnTo>
                      <a:pt x="136" y="692"/>
                    </a:lnTo>
                    <a:lnTo>
                      <a:pt x="144" y="670"/>
                    </a:lnTo>
                    <a:lnTo>
                      <a:pt x="152" y="650"/>
                    </a:lnTo>
                    <a:lnTo>
                      <a:pt x="164" y="626"/>
                    </a:lnTo>
                    <a:lnTo>
                      <a:pt x="164" y="626"/>
                    </a:lnTo>
                    <a:lnTo>
                      <a:pt x="176" y="648"/>
                    </a:lnTo>
                    <a:lnTo>
                      <a:pt x="182" y="666"/>
                    </a:lnTo>
                    <a:lnTo>
                      <a:pt x="190" y="688"/>
                    </a:lnTo>
                    <a:lnTo>
                      <a:pt x="196" y="712"/>
                    </a:lnTo>
                    <a:lnTo>
                      <a:pt x="202" y="740"/>
                    </a:lnTo>
                    <a:lnTo>
                      <a:pt x="208" y="772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40"/>
                    </a:lnTo>
                    <a:lnTo>
                      <a:pt x="206" y="870"/>
                    </a:lnTo>
                    <a:lnTo>
                      <a:pt x="202" y="900"/>
                    </a:lnTo>
                    <a:lnTo>
                      <a:pt x="194" y="926"/>
                    </a:lnTo>
                    <a:lnTo>
                      <a:pt x="188" y="950"/>
                    </a:lnTo>
                    <a:lnTo>
                      <a:pt x="180" y="972"/>
                    </a:lnTo>
                    <a:lnTo>
                      <a:pt x="164" y="1004"/>
                    </a:lnTo>
                    <a:close/>
                    <a:moveTo>
                      <a:pt x="300" y="296"/>
                    </a:moveTo>
                    <a:lnTo>
                      <a:pt x="300" y="296"/>
                    </a:lnTo>
                    <a:lnTo>
                      <a:pt x="292" y="268"/>
                    </a:lnTo>
                    <a:lnTo>
                      <a:pt x="284" y="242"/>
                    </a:lnTo>
                    <a:lnTo>
                      <a:pt x="266" y="188"/>
                    </a:lnTo>
                    <a:lnTo>
                      <a:pt x="244" y="140"/>
                    </a:lnTo>
                    <a:lnTo>
                      <a:pt x="224" y="98"/>
                    </a:lnTo>
                    <a:lnTo>
                      <a:pt x="204" y="62"/>
                    </a:lnTo>
                    <a:lnTo>
                      <a:pt x="186" y="32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42" y="34"/>
                    </a:lnTo>
                    <a:lnTo>
                      <a:pt x="108" y="94"/>
                    </a:lnTo>
                    <a:lnTo>
                      <a:pt x="88" y="132"/>
                    </a:lnTo>
                    <a:lnTo>
                      <a:pt x="70" y="172"/>
                    </a:lnTo>
                    <a:lnTo>
                      <a:pt x="54" y="214"/>
                    </a:lnTo>
                    <a:lnTo>
                      <a:pt x="38" y="260"/>
                    </a:lnTo>
                    <a:lnTo>
                      <a:pt x="38" y="260"/>
                    </a:lnTo>
                    <a:lnTo>
                      <a:pt x="24" y="310"/>
                    </a:lnTo>
                    <a:lnTo>
                      <a:pt x="14" y="358"/>
                    </a:lnTo>
                    <a:lnTo>
                      <a:pt x="8" y="406"/>
                    </a:lnTo>
                    <a:lnTo>
                      <a:pt x="2" y="454"/>
                    </a:lnTo>
                    <a:lnTo>
                      <a:pt x="0" y="500"/>
                    </a:lnTo>
                    <a:lnTo>
                      <a:pt x="0" y="546"/>
                    </a:lnTo>
                    <a:lnTo>
                      <a:pt x="2" y="590"/>
                    </a:lnTo>
                    <a:lnTo>
                      <a:pt x="6" y="634"/>
                    </a:lnTo>
                    <a:lnTo>
                      <a:pt x="6" y="634"/>
                    </a:lnTo>
                    <a:lnTo>
                      <a:pt x="14" y="680"/>
                    </a:lnTo>
                    <a:lnTo>
                      <a:pt x="22" y="722"/>
                    </a:lnTo>
                    <a:lnTo>
                      <a:pt x="32" y="762"/>
                    </a:lnTo>
                    <a:lnTo>
                      <a:pt x="44" y="800"/>
                    </a:lnTo>
                    <a:lnTo>
                      <a:pt x="62" y="854"/>
                    </a:lnTo>
                    <a:lnTo>
                      <a:pt x="70" y="876"/>
                    </a:lnTo>
                    <a:lnTo>
                      <a:pt x="70" y="876"/>
                    </a:lnTo>
                    <a:lnTo>
                      <a:pt x="94" y="924"/>
                    </a:lnTo>
                    <a:lnTo>
                      <a:pt x="118" y="970"/>
                    </a:lnTo>
                    <a:lnTo>
                      <a:pt x="142" y="1010"/>
                    </a:lnTo>
                    <a:lnTo>
                      <a:pt x="164" y="1042"/>
                    </a:lnTo>
                    <a:lnTo>
                      <a:pt x="164" y="1042"/>
                    </a:lnTo>
                    <a:lnTo>
                      <a:pt x="182" y="1018"/>
                    </a:lnTo>
                    <a:lnTo>
                      <a:pt x="202" y="986"/>
                    </a:lnTo>
                    <a:lnTo>
                      <a:pt x="224" y="946"/>
                    </a:lnTo>
                    <a:lnTo>
                      <a:pt x="246" y="900"/>
                    </a:lnTo>
                    <a:lnTo>
                      <a:pt x="268" y="846"/>
                    </a:lnTo>
                    <a:lnTo>
                      <a:pt x="288" y="786"/>
                    </a:lnTo>
                    <a:lnTo>
                      <a:pt x="298" y="754"/>
                    </a:lnTo>
                    <a:lnTo>
                      <a:pt x="306" y="722"/>
                    </a:lnTo>
                    <a:lnTo>
                      <a:pt x="314" y="686"/>
                    </a:lnTo>
                    <a:lnTo>
                      <a:pt x="320" y="652"/>
                    </a:lnTo>
                    <a:lnTo>
                      <a:pt x="320" y="652"/>
                    </a:lnTo>
                    <a:lnTo>
                      <a:pt x="324" y="612"/>
                    </a:lnTo>
                    <a:lnTo>
                      <a:pt x="328" y="572"/>
                    </a:lnTo>
                    <a:lnTo>
                      <a:pt x="330" y="532"/>
                    </a:lnTo>
                    <a:lnTo>
                      <a:pt x="328" y="492"/>
                    </a:lnTo>
                    <a:lnTo>
                      <a:pt x="326" y="448"/>
                    </a:lnTo>
                    <a:lnTo>
                      <a:pt x="320" y="402"/>
                    </a:lnTo>
                    <a:lnTo>
                      <a:pt x="312" y="352"/>
                    </a:lnTo>
                    <a:lnTo>
                      <a:pt x="300" y="2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8" name="Freeform 19"/>
              <p:cNvSpPr>
                <a:spLocks/>
              </p:cNvSpPr>
              <p:nvPr userDrawn="1"/>
            </p:nvSpPr>
            <p:spPr bwMode="auto">
              <a:xfrm>
                <a:off x="264" y="1659"/>
                <a:ext cx="1008" cy="1150"/>
              </a:xfrm>
              <a:custGeom>
                <a:avLst/>
                <a:gdLst>
                  <a:gd name="T0" fmla="*/ 584 w 1008"/>
                  <a:gd name="T1" fmla="*/ 754 h 1150"/>
                  <a:gd name="T2" fmla="*/ 610 w 1008"/>
                  <a:gd name="T3" fmla="*/ 734 h 1150"/>
                  <a:gd name="T4" fmla="*/ 654 w 1008"/>
                  <a:gd name="T5" fmla="*/ 714 h 1150"/>
                  <a:gd name="T6" fmla="*/ 700 w 1008"/>
                  <a:gd name="T7" fmla="*/ 706 h 1150"/>
                  <a:gd name="T8" fmla="*/ 746 w 1008"/>
                  <a:gd name="T9" fmla="*/ 714 h 1150"/>
                  <a:gd name="T10" fmla="*/ 790 w 1008"/>
                  <a:gd name="T11" fmla="*/ 734 h 1150"/>
                  <a:gd name="T12" fmla="*/ 816 w 1008"/>
                  <a:gd name="T13" fmla="*/ 754 h 1150"/>
                  <a:gd name="T14" fmla="*/ 844 w 1008"/>
                  <a:gd name="T15" fmla="*/ 792 h 1150"/>
                  <a:gd name="T16" fmla="*/ 860 w 1008"/>
                  <a:gd name="T17" fmla="*/ 838 h 1150"/>
                  <a:gd name="T18" fmla="*/ 862 w 1008"/>
                  <a:gd name="T19" fmla="*/ 884 h 1150"/>
                  <a:gd name="T20" fmla="*/ 852 w 1008"/>
                  <a:gd name="T21" fmla="*/ 928 h 1150"/>
                  <a:gd name="T22" fmla="*/ 826 w 1008"/>
                  <a:gd name="T23" fmla="*/ 970 h 1150"/>
                  <a:gd name="T24" fmla="*/ 814 w 1008"/>
                  <a:gd name="T25" fmla="*/ 984 h 1150"/>
                  <a:gd name="T26" fmla="*/ 762 w 1008"/>
                  <a:gd name="T27" fmla="*/ 1024 h 1150"/>
                  <a:gd name="T28" fmla="*/ 676 w 1008"/>
                  <a:gd name="T29" fmla="*/ 1064 h 1150"/>
                  <a:gd name="T30" fmla="*/ 584 w 1008"/>
                  <a:gd name="T31" fmla="*/ 1078 h 1150"/>
                  <a:gd name="T32" fmla="*/ 520 w 1008"/>
                  <a:gd name="T33" fmla="*/ 1072 h 1150"/>
                  <a:gd name="T34" fmla="*/ 432 w 1008"/>
                  <a:gd name="T35" fmla="*/ 1040 h 1150"/>
                  <a:gd name="T36" fmla="*/ 352 w 1008"/>
                  <a:gd name="T37" fmla="*/ 984 h 1150"/>
                  <a:gd name="T38" fmla="*/ 314 w 1008"/>
                  <a:gd name="T39" fmla="*/ 940 h 1150"/>
                  <a:gd name="T40" fmla="*/ 276 w 1008"/>
                  <a:gd name="T41" fmla="*/ 864 h 1150"/>
                  <a:gd name="T42" fmla="*/ 258 w 1008"/>
                  <a:gd name="T43" fmla="*/ 784 h 1150"/>
                  <a:gd name="T44" fmla="*/ 260 w 1008"/>
                  <a:gd name="T45" fmla="*/ 702 h 1150"/>
                  <a:gd name="T46" fmla="*/ 284 w 1008"/>
                  <a:gd name="T47" fmla="*/ 624 h 1150"/>
                  <a:gd name="T48" fmla="*/ 312 w 1008"/>
                  <a:gd name="T49" fmla="*/ 576 h 1150"/>
                  <a:gd name="T50" fmla="*/ 352 w 1008"/>
                  <a:gd name="T51" fmla="*/ 528 h 1150"/>
                  <a:gd name="T52" fmla="*/ 432 w 1008"/>
                  <a:gd name="T53" fmla="*/ 470 h 1150"/>
                  <a:gd name="T54" fmla="*/ 520 w 1008"/>
                  <a:gd name="T55" fmla="*/ 438 h 1150"/>
                  <a:gd name="T56" fmla="*/ 584 w 1008"/>
                  <a:gd name="T57" fmla="*/ 0 h 1150"/>
                  <a:gd name="T58" fmla="*/ 524 w 1008"/>
                  <a:gd name="T59" fmla="*/ 4 h 1150"/>
                  <a:gd name="T60" fmla="*/ 438 w 1008"/>
                  <a:gd name="T61" fmla="*/ 20 h 1150"/>
                  <a:gd name="T62" fmla="*/ 356 w 1008"/>
                  <a:gd name="T63" fmla="*/ 46 h 1150"/>
                  <a:gd name="T64" fmla="*/ 282 w 1008"/>
                  <a:gd name="T65" fmla="*/ 84 h 1150"/>
                  <a:gd name="T66" fmla="*/ 212 w 1008"/>
                  <a:gd name="T67" fmla="*/ 132 h 1150"/>
                  <a:gd name="T68" fmla="*/ 152 w 1008"/>
                  <a:gd name="T69" fmla="*/ 190 h 1150"/>
                  <a:gd name="T70" fmla="*/ 100 w 1008"/>
                  <a:gd name="T71" fmla="*/ 254 h 1150"/>
                  <a:gd name="T72" fmla="*/ 58 w 1008"/>
                  <a:gd name="T73" fmla="*/ 326 h 1150"/>
                  <a:gd name="T74" fmla="*/ 26 w 1008"/>
                  <a:gd name="T75" fmla="*/ 404 h 1150"/>
                  <a:gd name="T76" fmla="*/ 6 w 1008"/>
                  <a:gd name="T77" fmla="*/ 488 h 1150"/>
                  <a:gd name="T78" fmla="*/ 0 w 1008"/>
                  <a:gd name="T79" fmla="*/ 576 h 1150"/>
                  <a:gd name="T80" fmla="*/ 4 w 1008"/>
                  <a:gd name="T81" fmla="*/ 634 h 1150"/>
                  <a:gd name="T82" fmla="*/ 18 w 1008"/>
                  <a:gd name="T83" fmla="*/ 718 h 1150"/>
                  <a:gd name="T84" fmla="*/ 46 w 1008"/>
                  <a:gd name="T85" fmla="*/ 798 h 1150"/>
                  <a:gd name="T86" fmla="*/ 84 w 1008"/>
                  <a:gd name="T87" fmla="*/ 872 h 1150"/>
                  <a:gd name="T88" fmla="*/ 134 w 1008"/>
                  <a:gd name="T89" fmla="*/ 940 h 1150"/>
                  <a:gd name="T90" fmla="*/ 192 w 1008"/>
                  <a:gd name="T91" fmla="*/ 1000 h 1150"/>
                  <a:gd name="T92" fmla="*/ 258 w 1008"/>
                  <a:gd name="T93" fmla="*/ 1052 h 1150"/>
                  <a:gd name="T94" fmla="*/ 330 w 1008"/>
                  <a:gd name="T95" fmla="*/ 1092 h 1150"/>
                  <a:gd name="T96" fmla="*/ 410 w 1008"/>
                  <a:gd name="T97" fmla="*/ 1124 h 1150"/>
                  <a:gd name="T98" fmla="*/ 494 w 1008"/>
                  <a:gd name="T99" fmla="*/ 1142 h 1150"/>
                  <a:gd name="T100" fmla="*/ 584 w 1008"/>
                  <a:gd name="T101" fmla="*/ 1150 h 1150"/>
                  <a:gd name="T102" fmla="*/ 646 w 1008"/>
                  <a:gd name="T103" fmla="*/ 1146 h 1150"/>
                  <a:gd name="T104" fmla="*/ 734 w 1008"/>
                  <a:gd name="T105" fmla="*/ 1130 h 1150"/>
                  <a:gd name="T106" fmla="*/ 818 w 1008"/>
                  <a:gd name="T107" fmla="*/ 1100 h 1150"/>
                  <a:gd name="T108" fmla="*/ 896 w 1008"/>
                  <a:gd name="T109" fmla="*/ 1060 h 1150"/>
                  <a:gd name="T110" fmla="*/ 966 w 1008"/>
                  <a:gd name="T111" fmla="*/ 1008 h 1150"/>
                  <a:gd name="T112" fmla="*/ 1008 w 1008"/>
                  <a:gd name="T113" fmla="*/ 574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08" h="1150">
                    <a:moveTo>
                      <a:pt x="584" y="574"/>
                    </a:moveTo>
                    <a:lnTo>
                      <a:pt x="584" y="754"/>
                    </a:lnTo>
                    <a:lnTo>
                      <a:pt x="584" y="754"/>
                    </a:lnTo>
                    <a:lnTo>
                      <a:pt x="584" y="754"/>
                    </a:lnTo>
                    <a:lnTo>
                      <a:pt x="596" y="742"/>
                    </a:lnTo>
                    <a:lnTo>
                      <a:pt x="610" y="734"/>
                    </a:lnTo>
                    <a:lnTo>
                      <a:pt x="624" y="726"/>
                    </a:lnTo>
                    <a:lnTo>
                      <a:pt x="638" y="718"/>
                    </a:lnTo>
                    <a:lnTo>
                      <a:pt x="654" y="714"/>
                    </a:lnTo>
                    <a:lnTo>
                      <a:pt x="668" y="710"/>
                    </a:lnTo>
                    <a:lnTo>
                      <a:pt x="684" y="708"/>
                    </a:lnTo>
                    <a:lnTo>
                      <a:pt x="700" y="706"/>
                    </a:lnTo>
                    <a:lnTo>
                      <a:pt x="716" y="708"/>
                    </a:lnTo>
                    <a:lnTo>
                      <a:pt x="732" y="710"/>
                    </a:lnTo>
                    <a:lnTo>
                      <a:pt x="746" y="714"/>
                    </a:lnTo>
                    <a:lnTo>
                      <a:pt x="762" y="718"/>
                    </a:lnTo>
                    <a:lnTo>
                      <a:pt x="776" y="726"/>
                    </a:lnTo>
                    <a:lnTo>
                      <a:pt x="790" y="734"/>
                    </a:lnTo>
                    <a:lnTo>
                      <a:pt x="804" y="742"/>
                    </a:lnTo>
                    <a:lnTo>
                      <a:pt x="816" y="754"/>
                    </a:lnTo>
                    <a:lnTo>
                      <a:pt x="816" y="754"/>
                    </a:lnTo>
                    <a:lnTo>
                      <a:pt x="826" y="766"/>
                    </a:lnTo>
                    <a:lnTo>
                      <a:pt x="836" y="780"/>
                    </a:lnTo>
                    <a:lnTo>
                      <a:pt x="844" y="792"/>
                    </a:lnTo>
                    <a:lnTo>
                      <a:pt x="852" y="808"/>
                    </a:lnTo>
                    <a:lnTo>
                      <a:pt x="856" y="822"/>
                    </a:lnTo>
                    <a:lnTo>
                      <a:pt x="860" y="838"/>
                    </a:lnTo>
                    <a:lnTo>
                      <a:pt x="862" y="852"/>
                    </a:lnTo>
                    <a:lnTo>
                      <a:pt x="864" y="868"/>
                    </a:lnTo>
                    <a:lnTo>
                      <a:pt x="862" y="884"/>
                    </a:lnTo>
                    <a:lnTo>
                      <a:pt x="860" y="898"/>
                    </a:lnTo>
                    <a:lnTo>
                      <a:pt x="856" y="914"/>
                    </a:lnTo>
                    <a:lnTo>
                      <a:pt x="852" y="928"/>
                    </a:lnTo>
                    <a:lnTo>
                      <a:pt x="844" y="944"/>
                    </a:lnTo>
                    <a:lnTo>
                      <a:pt x="836" y="956"/>
                    </a:lnTo>
                    <a:lnTo>
                      <a:pt x="826" y="970"/>
                    </a:lnTo>
                    <a:lnTo>
                      <a:pt x="816" y="982"/>
                    </a:lnTo>
                    <a:lnTo>
                      <a:pt x="814" y="982"/>
                    </a:lnTo>
                    <a:lnTo>
                      <a:pt x="814" y="984"/>
                    </a:lnTo>
                    <a:lnTo>
                      <a:pt x="814" y="984"/>
                    </a:lnTo>
                    <a:lnTo>
                      <a:pt x="790" y="1006"/>
                    </a:lnTo>
                    <a:lnTo>
                      <a:pt x="762" y="1024"/>
                    </a:lnTo>
                    <a:lnTo>
                      <a:pt x="734" y="1040"/>
                    </a:lnTo>
                    <a:lnTo>
                      <a:pt x="706" y="1054"/>
                    </a:lnTo>
                    <a:lnTo>
                      <a:pt x="676" y="1064"/>
                    </a:lnTo>
                    <a:lnTo>
                      <a:pt x="646" y="1072"/>
                    </a:lnTo>
                    <a:lnTo>
                      <a:pt x="614" y="1076"/>
                    </a:lnTo>
                    <a:lnTo>
                      <a:pt x="584" y="1078"/>
                    </a:lnTo>
                    <a:lnTo>
                      <a:pt x="584" y="1078"/>
                    </a:lnTo>
                    <a:lnTo>
                      <a:pt x="552" y="1076"/>
                    </a:lnTo>
                    <a:lnTo>
                      <a:pt x="520" y="1072"/>
                    </a:lnTo>
                    <a:lnTo>
                      <a:pt x="490" y="1064"/>
                    </a:lnTo>
                    <a:lnTo>
                      <a:pt x="460" y="1054"/>
                    </a:lnTo>
                    <a:lnTo>
                      <a:pt x="432" y="1040"/>
                    </a:lnTo>
                    <a:lnTo>
                      <a:pt x="404" y="1024"/>
                    </a:lnTo>
                    <a:lnTo>
                      <a:pt x="376" y="1006"/>
                    </a:lnTo>
                    <a:lnTo>
                      <a:pt x="352" y="984"/>
                    </a:lnTo>
                    <a:lnTo>
                      <a:pt x="352" y="984"/>
                    </a:lnTo>
                    <a:lnTo>
                      <a:pt x="332" y="962"/>
                    </a:lnTo>
                    <a:lnTo>
                      <a:pt x="314" y="940"/>
                    </a:lnTo>
                    <a:lnTo>
                      <a:pt x="298" y="916"/>
                    </a:lnTo>
                    <a:lnTo>
                      <a:pt x="286" y="890"/>
                    </a:lnTo>
                    <a:lnTo>
                      <a:pt x="276" y="864"/>
                    </a:lnTo>
                    <a:lnTo>
                      <a:pt x="266" y="838"/>
                    </a:lnTo>
                    <a:lnTo>
                      <a:pt x="260" y="812"/>
                    </a:lnTo>
                    <a:lnTo>
                      <a:pt x="258" y="784"/>
                    </a:lnTo>
                    <a:lnTo>
                      <a:pt x="256" y="758"/>
                    </a:lnTo>
                    <a:lnTo>
                      <a:pt x="256" y="730"/>
                    </a:lnTo>
                    <a:lnTo>
                      <a:pt x="260" y="702"/>
                    </a:lnTo>
                    <a:lnTo>
                      <a:pt x="266" y="676"/>
                    </a:lnTo>
                    <a:lnTo>
                      <a:pt x="274" y="650"/>
                    </a:lnTo>
                    <a:lnTo>
                      <a:pt x="284" y="624"/>
                    </a:lnTo>
                    <a:lnTo>
                      <a:pt x="296" y="600"/>
                    </a:lnTo>
                    <a:lnTo>
                      <a:pt x="312" y="576"/>
                    </a:lnTo>
                    <a:lnTo>
                      <a:pt x="312" y="576"/>
                    </a:lnTo>
                    <a:lnTo>
                      <a:pt x="330" y="550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76" y="506"/>
                    </a:lnTo>
                    <a:lnTo>
                      <a:pt x="404" y="486"/>
                    </a:lnTo>
                    <a:lnTo>
                      <a:pt x="432" y="470"/>
                    </a:lnTo>
                    <a:lnTo>
                      <a:pt x="460" y="456"/>
                    </a:lnTo>
                    <a:lnTo>
                      <a:pt x="490" y="446"/>
                    </a:lnTo>
                    <a:lnTo>
                      <a:pt x="520" y="438"/>
                    </a:lnTo>
                    <a:lnTo>
                      <a:pt x="552" y="434"/>
                    </a:lnTo>
                    <a:lnTo>
                      <a:pt x="584" y="432"/>
                    </a:lnTo>
                    <a:lnTo>
                      <a:pt x="584" y="0"/>
                    </a:lnTo>
                    <a:lnTo>
                      <a:pt x="584" y="0"/>
                    </a:lnTo>
                    <a:lnTo>
                      <a:pt x="554" y="2"/>
                    </a:lnTo>
                    <a:lnTo>
                      <a:pt x="524" y="4"/>
                    </a:lnTo>
                    <a:lnTo>
                      <a:pt x="494" y="8"/>
                    </a:lnTo>
                    <a:lnTo>
                      <a:pt x="466" y="12"/>
                    </a:lnTo>
                    <a:lnTo>
                      <a:pt x="438" y="20"/>
                    </a:lnTo>
                    <a:lnTo>
                      <a:pt x="410" y="26"/>
                    </a:lnTo>
                    <a:lnTo>
                      <a:pt x="382" y="36"/>
                    </a:lnTo>
                    <a:lnTo>
                      <a:pt x="356" y="46"/>
                    </a:lnTo>
                    <a:lnTo>
                      <a:pt x="330" y="58"/>
                    </a:lnTo>
                    <a:lnTo>
                      <a:pt x="306" y="70"/>
                    </a:lnTo>
                    <a:lnTo>
                      <a:pt x="282" y="84"/>
                    </a:lnTo>
                    <a:lnTo>
                      <a:pt x="258" y="100"/>
                    </a:lnTo>
                    <a:lnTo>
                      <a:pt x="234" y="116"/>
                    </a:lnTo>
                    <a:lnTo>
                      <a:pt x="212" y="132"/>
                    </a:lnTo>
                    <a:lnTo>
                      <a:pt x="192" y="150"/>
                    </a:lnTo>
                    <a:lnTo>
                      <a:pt x="172" y="170"/>
                    </a:lnTo>
                    <a:lnTo>
                      <a:pt x="152" y="190"/>
                    </a:lnTo>
                    <a:lnTo>
                      <a:pt x="134" y="210"/>
                    </a:lnTo>
                    <a:lnTo>
                      <a:pt x="116" y="232"/>
                    </a:lnTo>
                    <a:lnTo>
                      <a:pt x="100" y="254"/>
                    </a:lnTo>
                    <a:lnTo>
                      <a:pt x="84" y="278"/>
                    </a:lnTo>
                    <a:lnTo>
                      <a:pt x="70" y="302"/>
                    </a:lnTo>
                    <a:lnTo>
                      <a:pt x="58" y="326"/>
                    </a:lnTo>
                    <a:lnTo>
                      <a:pt x="46" y="352"/>
                    </a:lnTo>
                    <a:lnTo>
                      <a:pt x="36" y="378"/>
                    </a:lnTo>
                    <a:lnTo>
                      <a:pt x="26" y="404"/>
                    </a:lnTo>
                    <a:lnTo>
                      <a:pt x="18" y="432"/>
                    </a:lnTo>
                    <a:lnTo>
                      <a:pt x="12" y="460"/>
                    </a:lnTo>
                    <a:lnTo>
                      <a:pt x="6" y="488"/>
                    </a:lnTo>
                    <a:lnTo>
                      <a:pt x="4" y="516"/>
                    </a:lnTo>
                    <a:lnTo>
                      <a:pt x="2" y="546"/>
                    </a:lnTo>
                    <a:lnTo>
                      <a:pt x="0" y="576"/>
                    </a:lnTo>
                    <a:lnTo>
                      <a:pt x="0" y="576"/>
                    </a:lnTo>
                    <a:lnTo>
                      <a:pt x="2" y="604"/>
                    </a:lnTo>
                    <a:lnTo>
                      <a:pt x="4" y="634"/>
                    </a:lnTo>
                    <a:lnTo>
                      <a:pt x="6" y="662"/>
                    </a:lnTo>
                    <a:lnTo>
                      <a:pt x="12" y="690"/>
                    </a:lnTo>
                    <a:lnTo>
                      <a:pt x="18" y="718"/>
                    </a:lnTo>
                    <a:lnTo>
                      <a:pt x="26" y="746"/>
                    </a:lnTo>
                    <a:lnTo>
                      <a:pt x="36" y="772"/>
                    </a:lnTo>
                    <a:lnTo>
                      <a:pt x="46" y="798"/>
                    </a:lnTo>
                    <a:lnTo>
                      <a:pt x="58" y="824"/>
                    </a:lnTo>
                    <a:lnTo>
                      <a:pt x="70" y="848"/>
                    </a:lnTo>
                    <a:lnTo>
                      <a:pt x="84" y="872"/>
                    </a:lnTo>
                    <a:lnTo>
                      <a:pt x="100" y="896"/>
                    </a:lnTo>
                    <a:lnTo>
                      <a:pt x="116" y="918"/>
                    </a:lnTo>
                    <a:lnTo>
                      <a:pt x="134" y="940"/>
                    </a:lnTo>
                    <a:lnTo>
                      <a:pt x="152" y="962"/>
                    </a:lnTo>
                    <a:lnTo>
                      <a:pt x="172" y="982"/>
                    </a:lnTo>
                    <a:lnTo>
                      <a:pt x="192" y="1000"/>
                    </a:lnTo>
                    <a:lnTo>
                      <a:pt x="212" y="1018"/>
                    </a:lnTo>
                    <a:lnTo>
                      <a:pt x="234" y="1036"/>
                    </a:lnTo>
                    <a:lnTo>
                      <a:pt x="258" y="1052"/>
                    </a:lnTo>
                    <a:lnTo>
                      <a:pt x="282" y="1066"/>
                    </a:lnTo>
                    <a:lnTo>
                      <a:pt x="306" y="1080"/>
                    </a:lnTo>
                    <a:lnTo>
                      <a:pt x="330" y="1092"/>
                    </a:lnTo>
                    <a:lnTo>
                      <a:pt x="356" y="1104"/>
                    </a:lnTo>
                    <a:lnTo>
                      <a:pt x="382" y="1114"/>
                    </a:lnTo>
                    <a:lnTo>
                      <a:pt x="410" y="1124"/>
                    </a:lnTo>
                    <a:lnTo>
                      <a:pt x="438" y="1132"/>
                    </a:lnTo>
                    <a:lnTo>
                      <a:pt x="466" y="1138"/>
                    </a:lnTo>
                    <a:lnTo>
                      <a:pt x="494" y="1142"/>
                    </a:lnTo>
                    <a:lnTo>
                      <a:pt x="524" y="1146"/>
                    </a:lnTo>
                    <a:lnTo>
                      <a:pt x="554" y="1148"/>
                    </a:lnTo>
                    <a:lnTo>
                      <a:pt x="584" y="1150"/>
                    </a:lnTo>
                    <a:lnTo>
                      <a:pt x="584" y="1150"/>
                    </a:lnTo>
                    <a:lnTo>
                      <a:pt x="614" y="1148"/>
                    </a:lnTo>
                    <a:lnTo>
                      <a:pt x="646" y="1146"/>
                    </a:lnTo>
                    <a:lnTo>
                      <a:pt x="676" y="1142"/>
                    </a:lnTo>
                    <a:lnTo>
                      <a:pt x="706" y="1136"/>
                    </a:lnTo>
                    <a:lnTo>
                      <a:pt x="734" y="1130"/>
                    </a:lnTo>
                    <a:lnTo>
                      <a:pt x="764" y="1122"/>
                    </a:lnTo>
                    <a:lnTo>
                      <a:pt x="792" y="1112"/>
                    </a:lnTo>
                    <a:lnTo>
                      <a:pt x="818" y="1100"/>
                    </a:lnTo>
                    <a:lnTo>
                      <a:pt x="846" y="1088"/>
                    </a:lnTo>
                    <a:lnTo>
                      <a:pt x="872" y="1074"/>
                    </a:lnTo>
                    <a:lnTo>
                      <a:pt x="896" y="1060"/>
                    </a:lnTo>
                    <a:lnTo>
                      <a:pt x="920" y="1044"/>
                    </a:lnTo>
                    <a:lnTo>
                      <a:pt x="944" y="1026"/>
                    </a:lnTo>
                    <a:lnTo>
                      <a:pt x="966" y="1008"/>
                    </a:lnTo>
                    <a:lnTo>
                      <a:pt x="988" y="988"/>
                    </a:lnTo>
                    <a:lnTo>
                      <a:pt x="1008" y="968"/>
                    </a:lnTo>
                    <a:lnTo>
                      <a:pt x="1008" y="574"/>
                    </a:lnTo>
                    <a:lnTo>
                      <a:pt x="584" y="5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 userDrawn="1"/>
            </p:nvSpPr>
            <p:spPr bwMode="auto">
              <a:xfrm>
                <a:off x="1428" y="2425"/>
                <a:ext cx="2328" cy="384"/>
              </a:xfrm>
              <a:custGeom>
                <a:avLst/>
                <a:gdLst>
                  <a:gd name="T0" fmla="*/ 2222 w 2328"/>
                  <a:gd name="T1" fmla="*/ 266 h 384"/>
                  <a:gd name="T2" fmla="*/ 2204 w 2328"/>
                  <a:gd name="T3" fmla="*/ 300 h 384"/>
                  <a:gd name="T4" fmla="*/ 2156 w 2328"/>
                  <a:gd name="T5" fmla="*/ 312 h 384"/>
                  <a:gd name="T6" fmla="*/ 2076 w 2328"/>
                  <a:gd name="T7" fmla="*/ 62 h 384"/>
                  <a:gd name="T8" fmla="*/ 2144 w 2328"/>
                  <a:gd name="T9" fmla="*/ 158 h 384"/>
                  <a:gd name="T10" fmla="*/ 2182 w 2328"/>
                  <a:gd name="T11" fmla="*/ 162 h 384"/>
                  <a:gd name="T12" fmla="*/ 2214 w 2328"/>
                  <a:gd name="T13" fmla="*/ 180 h 384"/>
                  <a:gd name="T14" fmla="*/ 2224 w 2328"/>
                  <a:gd name="T15" fmla="*/ 222 h 384"/>
                  <a:gd name="T16" fmla="*/ 1686 w 2328"/>
                  <a:gd name="T17" fmla="*/ 108 h 384"/>
                  <a:gd name="T18" fmla="*/ 1630 w 2328"/>
                  <a:gd name="T19" fmla="*/ 108 h 384"/>
                  <a:gd name="T20" fmla="*/ 1732 w 2328"/>
                  <a:gd name="T21" fmla="*/ 62 h 384"/>
                  <a:gd name="T22" fmla="*/ 1278 w 2328"/>
                  <a:gd name="T23" fmla="*/ 222 h 384"/>
                  <a:gd name="T24" fmla="*/ 1266 w 2328"/>
                  <a:gd name="T25" fmla="*/ 266 h 384"/>
                  <a:gd name="T26" fmla="*/ 1230 w 2328"/>
                  <a:gd name="T27" fmla="*/ 284 h 384"/>
                  <a:gd name="T28" fmla="*/ 1194 w 2328"/>
                  <a:gd name="T29" fmla="*/ 312 h 384"/>
                  <a:gd name="T30" fmla="*/ 1136 w 2328"/>
                  <a:gd name="T31" fmla="*/ 286 h 384"/>
                  <a:gd name="T32" fmla="*/ 1084 w 2328"/>
                  <a:gd name="T33" fmla="*/ 280 h 384"/>
                  <a:gd name="T34" fmla="*/ 1056 w 2328"/>
                  <a:gd name="T35" fmla="*/ 254 h 384"/>
                  <a:gd name="T36" fmla="*/ 1052 w 2328"/>
                  <a:gd name="T37" fmla="*/ 144 h 384"/>
                  <a:gd name="T38" fmla="*/ 1056 w 2328"/>
                  <a:gd name="T39" fmla="*/ 112 h 384"/>
                  <a:gd name="T40" fmla="*/ 1082 w 2328"/>
                  <a:gd name="T41" fmla="*/ 88 h 384"/>
                  <a:gd name="T42" fmla="*/ 1136 w 2328"/>
                  <a:gd name="T43" fmla="*/ 80 h 384"/>
                  <a:gd name="T44" fmla="*/ 1194 w 2328"/>
                  <a:gd name="T45" fmla="*/ 80 h 384"/>
                  <a:gd name="T46" fmla="*/ 1232 w 2328"/>
                  <a:gd name="T47" fmla="*/ 84 h 384"/>
                  <a:gd name="T48" fmla="*/ 1266 w 2328"/>
                  <a:gd name="T49" fmla="*/ 102 h 384"/>
                  <a:gd name="T50" fmla="*/ 1278 w 2328"/>
                  <a:gd name="T51" fmla="*/ 144 h 384"/>
                  <a:gd name="T52" fmla="*/ 662 w 2328"/>
                  <a:gd name="T53" fmla="*/ 108 h 384"/>
                  <a:gd name="T54" fmla="*/ 734 w 2328"/>
                  <a:gd name="T55" fmla="*/ 206 h 384"/>
                  <a:gd name="T56" fmla="*/ 742 w 2328"/>
                  <a:gd name="T57" fmla="*/ 264 h 384"/>
                  <a:gd name="T58" fmla="*/ 600 w 2328"/>
                  <a:gd name="T59" fmla="*/ 62 h 384"/>
                  <a:gd name="T60" fmla="*/ 252 w 2328"/>
                  <a:gd name="T61" fmla="*/ 312 h 384"/>
                  <a:gd name="T62" fmla="*/ 164 w 2328"/>
                  <a:gd name="T63" fmla="*/ 202 h 384"/>
                  <a:gd name="T64" fmla="*/ 104 w 2328"/>
                  <a:gd name="T65" fmla="*/ 62 h 384"/>
                  <a:gd name="T66" fmla="*/ 194 w 2328"/>
                  <a:gd name="T67" fmla="*/ 158 h 384"/>
                  <a:gd name="T68" fmla="*/ 252 w 2328"/>
                  <a:gd name="T69" fmla="*/ 312 h 384"/>
                  <a:gd name="T70" fmla="*/ 0 w 2328"/>
                  <a:gd name="T71" fmla="*/ 384 h 384"/>
                  <a:gd name="T72" fmla="*/ 1108 w 2328"/>
                  <a:gd name="T73" fmla="*/ 142 h 384"/>
                  <a:gd name="T74" fmla="*/ 1110 w 2328"/>
                  <a:gd name="T75" fmla="*/ 232 h 384"/>
                  <a:gd name="T76" fmla="*/ 1126 w 2328"/>
                  <a:gd name="T77" fmla="*/ 240 h 384"/>
                  <a:gd name="T78" fmla="*/ 1126 w 2328"/>
                  <a:gd name="T79" fmla="*/ 124 h 384"/>
                  <a:gd name="T80" fmla="*/ 1112 w 2328"/>
                  <a:gd name="T81" fmla="*/ 128 h 384"/>
                  <a:gd name="T82" fmla="*/ 1202 w 2328"/>
                  <a:gd name="T83" fmla="*/ 124 h 384"/>
                  <a:gd name="T84" fmla="*/ 1202 w 2328"/>
                  <a:gd name="T85" fmla="*/ 240 h 384"/>
                  <a:gd name="T86" fmla="*/ 1216 w 2328"/>
                  <a:gd name="T87" fmla="*/ 238 h 384"/>
                  <a:gd name="T88" fmla="*/ 1220 w 2328"/>
                  <a:gd name="T89" fmla="*/ 142 h 384"/>
                  <a:gd name="T90" fmla="*/ 1216 w 2328"/>
                  <a:gd name="T91" fmla="*/ 128 h 384"/>
                  <a:gd name="T92" fmla="*/ 2148 w 2328"/>
                  <a:gd name="T93" fmla="*/ 202 h 384"/>
                  <a:gd name="T94" fmla="*/ 2148 w 2328"/>
                  <a:gd name="T95" fmla="*/ 268 h 384"/>
                  <a:gd name="T96" fmla="*/ 2162 w 2328"/>
                  <a:gd name="T97" fmla="*/ 264 h 384"/>
                  <a:gd name="T98" fmla="*/ 2166 w 2328"/>
                  <a:gd name="T99" fmla="*/ 220 h 384"/>
                  <a:gd name="T100" fmla="*/ 2162 w 2328"/>
                  <a:gd name="T101" fmla="*/ 20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28" h="384">
                    <a:moveTo>
                      <a:pt x="2224" y="248"/>
                    </a:moveTo>
                    <a:lnTo>
                      <a:pt x="2224" y="248"/>
                    </a:lnTo>
                    <a:lnTo>
                      <a:pt x="2222" y="266"/>
                    </a:lnTo>
                    <a:lnTo>
                      <a:pt x="2220" y="280"/>
                    </a:lnTo>
                    <a:lnTo>
                      <a:pt x="2212" y="292"/>
                    </a:lnTo>
                    <a:lnTo>
                      <a:pt x="2204" y="300"/>
                    </a:lnTo>
                    <a:lnTo>
                      <a:pt x="2192" y="306"/>
                    </a:lnTo>
                    <a:lnTo>
                      <a:pt x="2176" y="310"/>
                    </a:lnTo>
                    <a:lnTo>
                      <a:pt x="2156" y="312"/>
                    </a:lnTo>
                    <a:lnTo>
                      <a:pt x="2134" y="312"/>
                    </a:lnTo>
                    <a:lnTo>
                      <a:pt x="2076" y="312"/>
                    </a:lnTo>
                    <a:lnTo>
                      <a:pt x="2076" y="62"/>
                    </a:lnTo>
                    <a:lnTo>
                      <a:pt x="2134" y="62"/>
                    </a:lnTo>
                    <a:lnTo>
                      <a:pt x="2134" y="158"/>
                    </a:lnTo>
                    <a:lnTo>
                      <a:pt x="2144" y="158"/>
                    </a:lnTo>
                    <a:lnTo>
                      <a:pt x="2144" y="158"/>
                    </a:lnTo>
                    <a:lnTo>
                      <a:pt x="2164" y="158"/>
                    </a:lnTo>
                    <a:lnTo>
                      <a:pt x="2182" y="162"/>
                    </a:lnTo>
                    <a:lnTo>
                      <a:pt x="2196" y="166"/>
                    </a:lnTo>
                    <a:lnTo>
                      <a:pt x="2206" y="172"/>
                    </a:lnTo>
                    <a:lnTo>
                      <a:pt x="2214" y="180"/>
                    </a:lnTo>
                    <a:lnTo>
                      <a:pt x="2220" y="190"/>
                    </a:lnTo>
                    <a:lnTo>
                      <a:pt x="2224" y="204"/>
                    </a:lnTo>
                    <a:lnTo>
                      <a:pt x="2224" y="222"/>
                    </a:lnTo>
                    <a:lnTo>
                      <a:pt x="2224" y="248"/>
                    </a:lnTo>
                    <a:close/>
                    <a:moveTo>
                      <a:pt x="1732" y="108"/>
                    </a:moveTo>
                    <a:lnTo>
                      <a:pt x="1686" y="108"/>
                    </a:lnTo>
                    <a:lnTo>
                      <a:pt x="1686" y="312"/>
                    </a:lnTo>
                    <a:lnTo>
                      <a:pt x="1630" y="312"/>
                    </a:lnTo>
                    <a:lnTo>
                      <a:pt x="1630" y="108"/>
                    </a:lnTo>
                    <a:lnTo>
                      <a:pt x="1582" y="108"/>
                    </a:lnTo>
                    <a:lnTo>
                      <a:pt x="1582" y="62"/>
                    </a:lnTo>
                    <a:lnTo>
                      <a:pt x="1732" y="62"/>
                    </a:lnTo>
                    <a:lnTo>
                      <a:pt x="1732" y="108"/>
                    </a:lnTo>
                    <a:close/>
                    <a:moveTo>
                      <a:pt x="1278" y="222"/>
                    </a:moveTo>
                    <a:lnTo>
                      <a:pt x="1278" y="222"/>
                    </a:lnTo>
                    <a:lnTo>
                      <a:pt x="1276" y="240"/>
                    </a:lnTo>
                    <a:lnTo>
                      <a:pt x="1272" y="254"/>
                    </a:lnTo>
                    <a:lnTo>
                      <a:pt x="1266" y="266"/>
                    </a:lnTo>
                    <a:lnTo>
                      <a:pt x="1258" y="274"/>
                    </a:lnTo>
                    <a:lnTo>
                      <a:pt x="1246" y="280"/>
                    </a:lnTo>
                    <a:lnTo>
                      <a:pt x="1230" y="284"/>
                    </a:lnTo>
                    <a:lnTo>
                      <a:pt x="1214" y="286"/>
                    </a:lnTo>
                    <a:lnTo>
                      <a:pt x="1194" y="286"/>
                    </a:lnTo>
                    <a:lnTo>
                      <a:pt x="1194" y="312"/>
                    </a:lnTo>
                    <a:lnTo>
                      <a:pt x="1136" y="312"/>
                    </a:lnTo>
                    <a:lnTo>
                      <a:pt x="1136" y="286"/>
                    </a:lnTo>
                    <a:lnTo>
                      <a:pt x="1136" y="286"/>
                    </a:lnTo>
                    <a:lnTo>
                      <a:pt x="1116" y="286"/>
                    </a:lnTo>
                    <a:lnTo>
                      <a:pt x="1098" y="284"/>
                    </a:lnTo>
                    <a:lnTo>
                      <a:pt x="1084" y="280"/>
                    </a:lnTo>
                    <a:lnTo>
                      <a:pt x="1072" y="274"/>
                    </a:lnTo>
                    <a:lnTo>
                      <a:pt x="1062" y="266"/>
                    </a:lnTo>
                    <a:lnTo>
                      <a:pt x="1056" y="254"/>
                    </a:lnTo>
                    <a:lnTo>
                      <a:pt x="1052" y="240"/>
                    </a:lnTo>
                    <a:lnTo>
                      <a:pt x="1052" y="222"/>
                    </a:lnTo>
                    <a:lnTo>
                      <a:pt x="1052" y="144"/>
                    </a:lnTo>
                    <a:lnTo>
                      <a:pt x="1052" y="144"/>
                    </a:lnTo>
                    <a:lnTo>
                      <a:pt x="1052" y="128"/>
                    </a:lnTo>
                    <a:lnTo>
                      <a:pt x="1056" y="112"/>
                    </a:lnTo>
                    <a:lnTo>
                      <a:pt x="1062" y="102"/>
                    </a:lnTo>
                    <a:lnTo>
                      <a:pt x="1072" y="94"/>
                    </a:lnTo>
                    <a:lnTo>
                      <a:pt x="1082" y="88"/>
                    </a:lnTo>
                    <a:lnTo>
                      <a:pt x="1098" y="84"/>
                    </a:lnTo>
                    <a:lnTo>
                      <a:pt x="1116" y="82"/>
                    </a:lnTo>
                    <a:lnTo>
                      <a:pt x="1136" y="80"/>
                    </a:lnTo>
                    <a:lnTo>
                      <a:pt x="1136" y="62"/>
                    </a:lnTo>
                    <a:lnTo>
                      <a:pt x="1194" y="62"/>
                    </a:lnTo>
                    <a:lnTo>
                      <a:pt x="1194" y="80"/>
                    </a:lnTo>
                    <a:lnTo>
                      <a:pt x="1194" y="80"/>
                    </a:lnTo>
                    <a:lnTo>
                      <a:pt x="1214" y="82"/>
                    </a:lnTo>
                    <a:lnTo>
                      <a:pt x="1232" y="84"/>
                    </a:lnTo>
                    <a:lnTo>
                      <a:pt x="1246" y="88"/>
                    </a:lnTo>
                    <a:lnTo>
                      <a:pt x="1258" y="94"/>
                    </a:lnTo>
                    <a:lnTo>
                      <a:pt x="1266" y="102"/>
                    </a:lnTo>
                    <a:lnTo>
                      <a:pt x="1272" y="112"/>
                    </a:lnTo>
                    <a:lnTo>
                      <a:pt x="1276" y="128"/>
                    </a:lnTo>
                    <a:lnTo>
                      <a:pt x="1278" y="144"/>
                    </a:lnTo>
                    <a:lnTo>
                      <a:pt x="1278" y="222"/>
                    </a:lnTo>
                    <a:close/>
                    <a:moveTo>
                      <a:pt x="742" y="108"/>
                    </a:moveTo>
                    <a:lnTo>
                      <a:pt x="662" y="108"/>
                    </a:lnTo>
                    <a:lnTo>
                      <a:pt x="662" y="158"/>
                    </a:lnTo>
                    <a:lnTo>
                      <a:pt x="734" y="158"/>
                    </a:lnTo>
                    <a:lnTo>
                      <a:pt x="734" y="206"/>
                    </a:lnTo>
                    <a:lnTo>
                      <a:pt x="662" y="206"/>
                    </a:lnTo>
                    <a:lnTo>
                      <a:pt x="662" y="264"/>
                    </a:lnTo>
                    <a:lnTo>
                      <a:pt x="742" y="264"/>
                    </a:lnTo>
                    <a:lnTo>
                      <a:pt x="742" y="312"/>
                    </a:lnTo>
                    <a:lnTo>
                      <a:pt x="600" y="312"/>
                    </a:lnTo>
                    <a:lnTo>
                      <a:pt x="600" y="62"/>
                    </a:lnTo>
                    <a:lnTo>
                      <a:pt x="742" y="62"/>
                    </a:lnTo>
                    <a:lnTo>
                      <a:pt x="742" y="108"/>
                    </a:lnTo>
                    <a:close/>
                    <a:moveTo>
                      <a:pt x="252" y="312"/>
                    </a:moveTo>
                    <a:lnTo>
                      <a:pt x="194" y="312"/>
                    </a:lnTo>
                    <a:lnTo>
                      <a:pt x="194" y="202"/>
                    </a:lnTo>
                    <a:lnTo>
                      <a:pt x="164" y="202"/>
                    </a:lnTo>
                    <a:lnTo>
                      <a:pt x="164" y="312"/>
                    </a:lnTo>
                    <a:lnTo>
                      <a:pt x="104" y="312"/>
                    </a:lnTo>
                    <a:lnTo>
                      <a:pt x="104" y="62"/>
                    </a:lnTo>
                    <a:lnTo>
                      <a:pt x="164" y="62"/>
                    </a:lnTo>
                    <a:lnTo>
                      <a:pt x="164" y="158"/>
                    </a:lnTo>
                    <a:lnTo>
                      <a:pt x="194" y="158"/>
                    </a:lnTo>
                    <a:lnTo>
                      <a:pt x="194" y="62"/>
                    </a:lnTo>
                    <a:lnTo>
                      <a:pt x="252" y="62"/>
                    </a:lnTo>
                    <a:lnTo>
                      <a:pt x="252" y="312"/>
                    </a:lnTo>
                    <a:close/>
                    <a:moveTo>
                      <a:pt x="2328" y="0"/>
                    </a:moveTo>
                    <a:lnTo>
                      <a:pt x="0" y="0"/>
                    </a:lnTo>
                    <a:lnTo>
                      <a:pt x="0" y="384"/>
                    </a:lnTo>
                    <a:lnTo>
                      <a:pt x="2328" y="384"/>
                    </a:lnTo>
                    <a:lnTo>
                      <a:pt x="2328" y="0"/>
                    </a:lnTo>
                    <a:close/>
                    <a:moveTo>
                      <a:pt x="1108" y="142"/>
                    </a:moveTo>
                    <a:lnTo>
                      <a:pt x="1108" y="224"/>
                    </a:lnTo>
                    <a:lnTo>
                      <a:pt x="1108" y="224"/>
                    </a:lnTo>
                    <a:lnTo>
                      <a:pt x="1110" y="232"/>
                    </a:lnTo>
                    <a:lnTo>
                      <a:pt x="1112" y="238"/>
                    </a:lnTo>
                    <a:lnTo>
                      <a:pt x="1118" y="240"/>
                    </a:lnTo>
                    <a:lnTo>
                      <a:pt x="1126" y="240"/>
                    </a:lnTo>
                    <a:lnTo>
                      <a:pt x="1136" y="240"/>
                    </a:lnTo>
                    <a:lnTo>
                      <a:pt x="1136" y="124"/>
                    </a:lnTo>
                    <a:lnTo>
                      <a:pt x="1126" y="124"/>
                    </a:lnTo>
                    <a:lnTo>
                      <a:pt x="1126" y="124"/>
                    </a:lnTo>
                    <a:lnTo>
                      <a:pt x="1118" y="126"/>
                    </a:lnTo>
                    <a:lnTo>
                      <a:pt x="1112" y="128"/>
                    </a:lnTo>
                    <a:lnTo>
                      <a:pt x="1110" y="134"/>
                    </a:lnTo>
                    <a:lnTo>
                      <a:pt x="1108" y="142"/>
                    </a:lnTo>
                    <a:close/>
                    <a:moveTo>
                      <a:pt x="1202" y="124"/>
                    </a:moveTo>
                    <a:lnTo>
                      <a:pt x="1194" y="124"/>
                    </a:lnTo>
                    <a:lnTo>
                      <a:pt x="1194" y="240"/>
                    </a:lnTo>
                    <a:lnTo>
                      <a:pt x="1202" y="240"/>
                    </a:lnTo>
                    <a:lnTo>
                      <a:pt x="1202" y="240"/>
                    </a:lnTo>
                    <a:lnTo>
                      <a:pt x="1210" y="240"/>
                    </a:lnTo>
                    <a:lnTo>
                      <a:pt x="1216" y="238"/>
                    </a:lnTo>
                    <a:lnTo>
                      <a:pt x="1220" y="232"/>
                    </a:lnTo>
                    <a:lnTo>
                      <a:pt x="1220" y="222"/>
                    </a:lnTo>
                    <a:lnTo>
                      <a:pt x="1220" y="142"/>
                    </a:lnTo>
                    <a:lnTo>
                      <a:pt x="1220" y="142"/>
                    </a:lnTo>
                    <a:lnTo>
                      <a:pt x="1220" y="134"/>
                    </a:lnTo>
                    <a:lnTo>
                      <a:pt x="1216" y="128"/>
                    </a:lnTo>
                    <a:lnTo>
                      <a:pt x="1210" y="126"/>
                    </a:lnTo>
                    <a:lnTo>
                      <a:pt x="1202" y="124"/>
                    </a:lnTo>
                    <a:close/>
                    <a:moveTo>
                      <a:pt x="2148" y="202"/>
                    </a:moveTo>
                    <a:lnTo>
                      <a:pt x="2134" y="202"/>
                    </a:lnTo>
                    <a:lnTo>
                      <a:pt x="2134" y="268"/>
                    </a:lnTo>
                    <a:lnTo>
                      <a:pt x="2148" y="268"/>
                    </a:lnTo>
                    <a:lnTo>
                      <a:pt x="2148" y="268"/>
                    </a:lnTo>
                    <a:lnTo>
                      <a:pt x="2156" y="266"/>
                    </a:lnTo>
                    <a:lnTo>
                      <a:pt x="2162" y="264"/>
                    </a:lnTo>
                    <a:lnTo>
                      <a:pt x="2164" y="258"/>
                    </a:lnTo>
                    <a:lnTo>
                      <a:pt x="2166" y="250"/>
                    </a:lnTo>
                    <a:lnTo>
                      <a:pt x="2166" y="220"/>
                    </a:lnTo>
                    <a:lnTo>
                      <a:pt x="2166" y="220"/>
                    </a:lnTo>
                    <a:lnTo>
                      <a:pt x="2164" y="212"/>
                    </a:lnTo>
                    <a:lnTo>
                      <a:pt x="2162" y="206"/>
                    </a:lnTo>
                    <a:lnTo>
                      <a:pt x="2156" y="204"/>
                    </a:lnTo>
                    <a:lnTo>
                      <a:pt x="2148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40" name="Freeform 27"/>
              <p:cNvSpPr>
                <a:spLocks/>
              </p:cNvSpPr>
              <p:nvPr userDrawn="1"/>
            </p:nvSpPr>
            <p:spPr bwMode="auto">
              <a:xfrm>
                <a:off x="2536" y="2549"/>
                <a:ext cx="28" cy="116"/>
              </a:xfrm>
              <a:custGeom>
                <a:avLst/>
                <a:gdLst>
                  <a:gd name="T0" fmla="*/ 0 w 28"/>
                  <a:gd name="T1" fmla="*/ 18 h 116"/>
                  <a:gd name="T2" fmla="*/ 0 w 28"/>
                  <a:gd name="T3" fmla="*/ 100 h 116"/>
                  <a:gd name="T4" fmla="*/ 0 w 28"/>
                  <a:gd name="T5" fmla="*/ 100 h 116"/>
                  <a:gd name="T6" fmla="*/ 2 w 28"/>
                  <a:gd name="T7" fmla="*/ 108 h 116"/>
                  <a:gd name="T8" fmla="*/ 4 w 28"/>
                  <a:gd name="T9" fmla="*/ 114 h 116"/>
                  <a:gd name="T10" fmla="*/ 10 w 28"/>
                  <a:gd name="T11" fmla="*/ 116 h 116"/>
                  <a:gd name="T12" fmla="*/ 18 w 28"/>
                  <a:gd name="T13" fmla="*/ 116 h 116"/>
                  <a:gd name="T14" fmla="*/ 28 w 28"/>
                  <a:gd name="T15" fmla="*/ 116 h 116"/>
                  <a:gd name="T16" fmla="*/ 28 w 28"/>
                  <a:gd name="T17" fmla="*/ 0 h 116"/>
                  <a:gd name="T18" fmla="*/ 18 w 28"/>
                  <a:gd name="T19" fmla="*/ 0 h 116"/>
                  <a:gd name="T20" fmla="*/ 18 w 28"/>
                  <a:gd name="T21" fmla="*/ 0 h 116"/>
                  <a:gd name="T22" fmla="*/ 10 w 28"/>
                  <a:gd name="T23" fmla="*/ 2 h 116"/>
                  <a:gd name="T24" fmla="*/ 4 w 28"/>
                  <a:gd name="T25" fmla="*/ 4 h 116"/>
                  <a:gd name="T26" fmla="*/ 2 w 28"/>
                  <a:gd name="T27" fmla="*/ 10 h 116"/>
                  <a:gd name="T28" fmla="*/ 0 w 28"/>
                  <a:gd name="T29" fmla="*/ 1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116">
                    <a:moveTo>
                      <a:pt x="0" y="18"/>
                    </a:moveTo>
                    <a:lnTo>
                      <a:pt x="0" y="100"/>
                    </a:lnTo>
                    <a:lnTo>
                      <a:pt x="0" y="100"/>
                    </a:lnTo>
                    <a:lnTo>
                      <a:pt x="2" y="108"/>
                    </a:lnTo>
                    <a:lnTo>
                      <a:pt x="4" y="114"/>
                    </a:lnTo>
                    <a:lnTo>
                      <a:pt x="10" y="116"/>
                    </a:lnTo>
                    <a:lnTo>
                      <a:pt x="18" y="116"/>
                    </a:lnTo>
                    <a:lnTo>
                      <a:pt x="28" y="116"/>
                    </a:lnTo>
                    <a:lnTo>
                      <a:pt x="2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41" name="Freeform 28"/>
              <p:cNvSpPr>
                <a:spLocks/>
              </p:cNvSpPr>
              <p:nvPr userDrawn="1"/>
            </p:nvSpPr>
            <p:spPr bwMode="auto">
              <a:xfrm>
                <a:off x="2622" y="2549"/>
                <a:ext cx="26" cy="116"/>
              </a:xfrm>
              <a:custGeom>
                <a:avLst/>
                <a:gdLst>
                  <a:gd name="T0" fmla="*/ 8 w 26"/>
                  <a:gd name="T1" fmla="*/ 0 h 116"/>
                  <a:gd name="T2" fmla="*/ 0 w 26"/>
                  <a:gd name="T3" fmla="*/ 0 h 116"/>
                  <a:gd name="T4" fmla="*/ 0 w 26"/>
                  <a:gd name="T5" fmla="*/ 116 h 116"/>
                  <a:gd name="T6" fmla="*/ 8 w 26"/>
                  <a:gd name="T7" fmla="*/ 116 h 116"/>
                  <a:gd name="T8" fmla="*/ 8 w 26"/>
                  <a:gd name="T9" fmla="*/ 116 h 116"/>
                  <a:gd name="T10" fmla="*/ 16 w 26"/>
                  <a:gd name="T11" fmla="*/ 116 h 116"/>
                  <a:gd name="T12" fmla="*/ 22 w 26"/>
                  <a:gd name="T13" fmla="*/ 114 h 116"/>
                  <a:gd name="T14" fmla="*/ 26 w 26"/>
                  <a:gd name="T15" fmla="*/ 108 h 116"/>
                  <a:gd name="T16" fmla="*/ 26 w 26"/>
                  <a:gd name="T17" fmla="*/ 98 h 116"/>
                  <a:gd name="T18" fmla="*/ 26 w 26"/>
                  <a:gd name="T19" fmla="*/ 18 h 116"/>
                  <a:gd name="T20" fmla="*/ 26 w 26"/>
                  <a:gd name="T21" fmla="*/ 18 h 116"/>
                  <a:gd name="T22" fmla="*/ 26 w 26"/>
                  <a:gd name="T23" fmla="*/ 10 h 116"/>
                  <a:gd name="T24" fmla="*/ 22 w 26"/>
                  <a:gd name="T25" fmla="*/ 4 h 116"/>
                  <a:gd name="T26" fmla="*/ 16 w 26"/>
                  <a:gd name="T27" fmla="*/ 2 h 116"/>
                  <a:gd name="T28" fmla="*/ 8 w 26"/>
                  <a:gd name="T2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116">
                    <a:moveTo>
                      <a:pt x="8" y="0"/>
                    </a:moveTo>
                    <a:lnTo>
                      <a:pt x="0" y="0"/>
                    </a:lnTo>
                    <a:lnTo>
                      <a:pt x="0" y="116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16" y="116"/>
                    </a:lnTo>
                    <a:lnTo>
                      <a:pt x="22" y="114"/>
                    </a:lnTo>
                    <a:lnTo>
                      <a:pt x="26" y="108"/>
                    </a:lnTo>
                    <a:lnTo>
                      <a:pt x="26" y="9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0"/>
                    </a:lnTo>
                    <a:lnTo>
                      <a:pt x="22" y="4"/>
                    </a:lnTo>
                    <a:lnTo>
                      <a:pt x="16" y="2"/>
                    </a:lnTo>
                    <a:lnTo>
                      <a:pt x="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  <p:sp>
            <p:nvSpPr>
              <p:cNvPr id="142" name="Freeform 29"/>
              <p:cNvSpPr>
                <a:spLocks/>
              </p:cNvSpPr>
              <p:nvPr userDrawn="1"/>
            </p:nvSpPr>
            <p:spPr bwMode="auto">
              <a:xfrm>
                <a:off x="3562" y="2627"/>
                <a:ext cx="32" cy="66"/>
              </a:xfrm>
              <a:custGeom>
                <a:avLst/>
                <a:gdLst>
                  <a:gd name="T0" fmla="*/ 14 w 32"/>
                  <a:gd name="T1" fmla="*/ 0 h 66"/>
                  <a:gd name="T2" fmla="*/ 0 w 32"/>
                  <a:gd name="T3" fmla="*/ 0 h 66"/>
                  <a:gd name="T4" fmla="*/ 0 w 32"/>
                  <a:gd name="T5" fmla="*/ 66 h 66"/>
                  <a:gd name="T6" fmla="*/ 14 w 32"/>
                  <a:gd name="T7" fmla="*/ 66 h 66"/>
                  <a:gd name="T8" fmla="*/ 14 w 32"/>
                  <a:gd name="T9" fmla="*/ 66 h 66"/>
                  <a:gd name="T10" fmla="*/ 22 w 32"/>
                  <a:gd name="T11" fmla="*/ 64 h 66"/>
                  <a:gd name="T12" fmla="*/ 28 w 32"/>
                  <a:gd name="T13" fmla="*/ 62 h 66"/>
                  <a:gd name="T14" fmla="*/ 30 w 32"/>
                  <a:gd name="T15" fmla="*/ 56 h 66"/>
                  <a:gd name="T16" fmla="*/ 32 w 32"/>
                  <a:gd name="T17" fmla="*/ 48 h 66"/>
                  <a:gd name="T18" fmla="*/ 32 w 32"/>
                  <a:gd name="T19" fmla="*/ 18 h 66"/>
                  <a:gd name="T20" fmla="*/ 32 w 32"/>
                  <a:gd name="T21" fmla="*/ 18 h 66"/>
                  <a:gd name="T22" fmla="*/ 30 w 32"/>
                  <a:gd name="T23" fmla="*/ 10 h 66"/>
                  <a:gd name="T24" fmla="*/ 28 w 32"/>
                  <a:gd name="T25" fmla="*/ 4 h 66"/>
                  <a:gd name="T26" fmla="*/ 22 w 32"/>
                  <a:gd name="T27" fmla="*/ 2 h 66"/>
                  <a:gd name="T28" fmla="*/ 14 w 32"/>
                  <a:gd name="T2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66">
                    <a:moveTo>
                      <a:pt x="14" y="0"/>
                    </a:moveTo>
                    <a:lnTo>
                      <a:pt x="0" y="0"/>
                    </a:lnTo>
                    <a:lnTo>
                      <a:pt x="0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22" y="64"/>
                    </a:lnTo>
                    <a:lnTo>
                      <a:pt x="28" y="62"/>
                    </a:lnTo>
                    <a:lnTo>
                      <a:pt x="30" y="56"/>
                    </a:lnTo>
                    <a:lnTo>
                      <a:pt x="32" y="4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 sz="1350">
                  <a:solidFill>
                    <a:srgbClr val="3C3C3C"/>
                  </a:solidFill>
                </a:endParaRPr>
              </a:p>
            </p:txBody>
          </p:sp>
        </p:grpSp>
      </p:grpSp>
      <p:sp>
        <p:nvSpPr>
          <p:cNvPr id="9" name="Скругленный прямоугольник 8"/>
          <p:cNvSpPr/>
          <p:nvPr/>
        </p:nvSpPr>
        <p:spPr>
          <a:xfrm>
            <a:off x="3332455" y="1697197"/>
            <a:ext cx="2481047" cy="519890"/>
          </a:xfrm>
          <a:prstGeom prst="round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grpSp>
        <p:nvGrpSpPr>
          <p:cNvPr id="12" name="Группа 11"/>
          <p:cNvGrpSpPr/>
          <p:nvPr/>
        </p:nvGrpSpPr>
        <p:grpSpPr>
          <a:xfrm>
            <a:off x="4353308" y="1394899"/>
            <a:ext cx="439341" cy="441722"/>
            <a:chOff x="1062038" y="2794000"/>
            <a:chExt cx="585788" cy="588963"/>
          </a:xfrm>
        </p:grpSpPr>
        <p:sp>
          <p:nvSpPr>
            <p:cNvPr id="13" name="Oval 5"/>
            <p:cNvSpPr>
              <a:spLocks noChangeArrowheads="1"/>
            </p:cNvSpPr>
            <p:nvPr/>
          </p:nvSpPr>
          <p:spPr bwMode="auto">
            <a:xfrm>
              <a:off x="1062038" y="2794000"/>
              <a:ext cx="585788" cy="588963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228725" y="2900363"/>
              <a:ext cx="190500" cy="187325"/>
            </a:xfrm>
            <a:custGeom>
              <a:avLst/>
              <a:gdLst>
                <a:gd name="T0" fmla="*/ 67 w 79"/>
                <a:gd name="T1" fmla="*/ 40 h 78"/>
                <a:gd name="T2" fmla="*/ 57 w 79"/>
                <a:gd name="T3" fmla="*/ 46 h 78"/>
                <a:gd name="T4" fmla="*/ 53 w 79"/>
                <a:gd name="T5" fmla="*/ 46 h 78"/>
                <a:gd name="T6" fmla="*/ 53 w 79"/>
                <a:gd name="T7" fmla="*/ 25 h 78"/>
                <a:gd name="T8" fmla="*/ 33 w 79"/>
                <a:gd name="T9" fmla="*/ 25 h 78"/>
                <a:gd name="T10" fmla="*/ 33 w 79"/>
                <a:gd name="T11" fmla="*/ 21 h 78"/>
                <a:gd name="T12" fmla="*/ 38 w 79"/>
                <a:gd name="T13" fmla="*/ 11 h 78"/>
                <a:gd name="T14" fmla="*/ 26 w 79"/>
                <a:gd name="T15" fmla="*/ 0 h 78"/>
                <a:gd name="T16" fmla="*/ 15 w 79"/>
                <a:gd name="T17" fmla="*/ 11 h 78"/>
                <a:gd name="T18" fmla="*/ 20 w 79"/>
                <a:gd name="T19" fmla="*/ 21 h 78"/>
                <a:gd name="T20" fmla="*/ 20 w 79"/>
                <a:gd name="T21" fmla="*/ 25 h 78"/>
                <a:gd name="T22" fmla="*/ 6 w 79"/>
                <a:gd name="T23" fmla="*/ 25 h 78"/>
                <a:gd name="T24" fmla="*/ 0 w 79"/>
                <a:gd name="T25" fmla="*/ 32 h 78"/>
                <a:gd name="T26" fmla="*/ 0 w 79"/>
                <a:gd name="T27" fmla="*/ 78 h 78"/>
                <a:gd name="T28" fmla="*/ 0 w 79"/>
                <a:gd name="T29" fmla="*/ 78 h 78"/>
                <a:gd name="T30" fmla="*/ 0 w 79"/>
                <a:gd name="T31" fmla="*/ 78 h 78"/>
                <a:gd name="T32" fmla="*/ 20 w 79"/>
                <a:gd name="T33" fmla="*/ 78 h 78"/>
                <a:gd name="T34" fmla="*/ 20 w 79"/>
                <a:gd name="T35" fmla="*/ 73 h 78"/>
                <a:gd name="T36" fmla="*/ 15 w 79"/>
                <a:gd name="T37" fmla="*/ 63 h 78"/>
                <a:gd name="T38" fmla="*/ 27 w 79"/>
                <a:gd name="T39" fmla="*/ 50 h 78"/>
                <a:gd name="T40" fmla="*/ 40 w 79"/>
                <a:gd name="T41" fmla="*/ 63 h 78"/>
                <a:gd name="T42" fmla="*/ 35 w 79"/>
                <a:gd name="T43" fmla="*/ 73 h 78"/>
                <a:gd name="T44" fmla="*/ 35 w 79"/>
                <a:gd name="T45" fmla="*/ 78 h 78"/>
                <a:gd name="T46" fmla="*/ 53 w 79"/>
                <a:gd name="T47" fmla="*/ 78 h 78"/>
                <a:gd name="T48" fmla="*/ 53 w 79"/>
                <a:gd name="T49" fmla="*/ 78 h 78"/>
                <a:gd name="T50" fmla="*/ 53 w 79"/>
                <a:gd name="T51" fmla="*/ 78 h 78"/>
                <a:gd name="T52" fmla="*/ 53 w 79"/>
                <a:gd name="T53" fmla="*/ 58 h 78"/>
                <a:gd name="T54" fmla="*/ 57 w 79"/>
                <a:gd name="T55" fmla="*/ 58 h 78"/>
                <a:gd name="T56" fmla="*/ 67 w 79"/>
                <a:gd name="T57" fmla="*/ 64 h 78"/>
                <a:gd name="T58" fmla="*/ 79 w 79"/>
                <a:gd name="T59" fmla="*/ 52 h 78"/>
                <a:gd name="T60" fmla="*/ 67 w 79"/>
                <a:gd name="T61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78">
                  <a:moveTo>
                    <a:pt x="67" y="40"/>
                  </a:moveTo>
                  <a:cubicBezTo>
                    <a:pt x="63" y="40"/>
                    <a:pt x="60" y="42"/>
                    <a:pt x="57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6" y="19"/>
                    <a:pt x="38" y="15"/>
                    <a:pt x="38" y="11"/>
                  </a:cubicBezTo>
                  <a:cubicBezTo>
                    <a:pt x="38" y="5"/>
                    <a:pt x="33" y="0"/>
                    <a:pt x="26" y="0"/>
                  </a:cubicBezTo>
                  <a:cubicBezTo>
                    <a:pt x="20" y="0"/>
                    <a:pt x="15" y="5"/>
                    <a:pt x="15" y="11"/>
                  </a:cubicBezTo>
                  <a:cubicBezTo>
                    <a:pt x="15" y="15"/>
                    <a:pt x="17" y="19"/>
                    <a:pt x="20" y="2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4" y="26"/>
                    <a:pt x="0" y="27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7" y="70"/>
                    <a:pt x="15" y="67"/>
                    <a:pt x="15" y="63"/>
                  </a:cubicBezTo>
                  <a:cubicBezTo>
                    <a:pt x="15" y="56"/>
                    <a:pt x="21" y="50"/>
                    <a:pt x="27" y="50"/>
                  </a:cubicBezTo>
                  <a:cubicBezTo>
                    <a:pt x="34" y="50"/>
                    <a:pt x="40" y="56"/>
                    <a:pt x="40" y="63"/>
                  </a:cubicBezTo>
                  <a:cubicBezTo>
                    <a:pt x="40" y="67"/>
                    <a:pt x="38" y="70"/>
                    <a:pt x="35" y="73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60" y="62"/>
                    <a:pt x="63" y="64"/>
                    <a:pt x="67" y="64"/>
                  </a:cubicBezTo>
                  <a:cubicBezTo>
                    <a:pt x="74" y="64"/>
                    <a:pt x="79" y="58"/>
                    <a:pt x="79" y="52"/>
                  </a:cubicBezTo>
                  <a:cubicBezTo>
                    <a:pt x="79" y="46"/>
                    <a:pt x="74" y="40"/>
                    <a:pt x="67" y="40"/>
                  </a:cubicBez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354138" y="2960688"/>
              <a:ext cx="190500" cy="190500"/>
            </a:xfrm>
            <a:custGeom>
              <a:avLst/>
              <a:gdLst>
                <a:gd name="T0" fmla="*/ 68 w 79"/>
                <a:gd name="T1" fmla="*/ 15 h 79"/>
                <a:gd name="T2" fmla="*/ 58 w 79"/>
                <a:gd name="T3" fmla="*/ 21 h 79"/>
                <a:gd name="T4" fmla="*/ 53 w 79"/>
                <a:gd name="T5" fmla="*/ 21 h 79"/>
                <a:gd name="T6" fmla="*/ 53 w 79"/>
                <a:gd name="T7" fmla="*/ 8 h 79"/>
                <a:gd name="T8" fmla="*/ 47 w 79"/>
                <a:gd name="T9" fmla="*/ 0 h 79"/>
                <a:gd name="T10" fmla="*/ 0 w 79"/>
                <a:gd name="T11" fmla="*/ 0 h 79"/>
                <a:gd name="T12" fmla="*/ 0 w 79"/>
                <a:gd name="T13" fmla="*/ 0 h 79"/>
                <a:gd name="T14" fmla="*/ 1 w 79"/>
                <a:gd name="T15" fmla="*/ 0 h 79"/>
                <a:gd name="T16" fmla="*/ 1 w 79"/>
                <a:gd name="T17" fmla="*/ 21 h 79"/>
                <a:gd name="T18" fmla="*/ 5 w 79"/>
                <a:gd name="T19" fmla="*/ 21 h 79"/>
                <a:gd name="T20" fmla="*/ 15 w 79"/>
                <a:gd name="T21" fmla="*/ 15 h 79"/>
                <a:gd name="T22" fmla="*/ 27 w 79"/>
                <a:gd name="T23" fmla="*/ 27 h 79"/>
                <a:gd name="T24" fmla="*/ 15 w 79"/>
                <a:gd name="T25" fmla="*/ 39 h 79"/>
                <a:gd name="T26" fmla="*/ 5 w 79"/>
                <a:gd name="T27" fmla="*/ 33 h 79"/>
                <a:gd name="T28" fmla="*/ 1 w 79"/>
                <a:gd name="T29" fmla="*/ 33 h 79"/>
                <a:gd name="T30" fmla="*/ 1 w 79"/>
                <a:gd name="T31" fmla="*/ 53 h 79"/>
                <a:gd name="T32" fmla="*/ 20 w 79"/>
                <a:gd name="T33" fmla="*/ 53 h 79"/>
                <a:gd name="T34" fmla="*/ 20 w 79"/>
                <a:gd name="T35" fmla="*/ 58 h 79"/>
                <a:gd name="T36" fmla="*/ 15 w 79"/>
                <a:gd name="T37" fmla="*/ 68 h 79"/>
                <a:gd name="T38" fmla="*/ 27 w 79"/>
                <a:gd name="T39" fmla="*/ 79 h 79"/>
                <a:gd name="T40" fmla="*/ 38 w 79"/>
                <a:gd name="T41" fmla="*/ 68 h 79"/>
                <a:gd name="T42" fmla="*/ 33 w 79"/>
                <a:gd name="T43" fmla="*/ 58 h 79"/>
                <a:gd name="T44" fmla="*/ 33 w 79"/>
                <a:gd name="T45" fmla="*/ 53 h 79"/>
                <a:gd name="T46" fmla="*/ 53 w 79"/>
                <a:gd name="T47" fmla="*/ 53 h 79"/>
                <a:gd name="T48" fmla="*/ 53 w 79"/>
                <a:gd name="T49" fmla="*/ 33 h 79"/>
                <a:gd name="T50" fmla="*/ 58 w 79"/>
                <a:gd name="T51" fmla="*/ 33 h 79"/>
                <a:gd name="T52" fmla="*/ 68 w 79"/>
                <a:gd name="T53" fmla="*/ 39 h 79"/>
                <a:gd name="T54" fmla="*/ 79 w 79"/>
                <a:gd name="T55" fmla="*/ 27 h 79"/>
                <a:gd name="T56" fmla="*/ 68 w 79"/>
                <a:gd name="T57" fmla="*/ 1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9" h="79">
                  <a:moveTo>
                    <a:pt x="68" y="15"/>
                  </a:moveTo>
                  <a:cubicBezTo>
                    <a:pt x="64" y="15"/>
                    <a:pt x="60" y="17"/>
                    <a:pt x="58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2"/>
                    <a:pt x="50" y="1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8" y="17"/>
                    <a:pt x="11" y="15"/>
                    <a:pt x="15" y="15"/>
                  </a:cubicBezTo>
                  <a:cubicBezTo>
                    <a:pt x="22" y="15"/>
                    <a:pt x="27" y="21"/>
                    <a:pt x="27" y="27"/>
                  </a:cubicBezTo>
                  <a:cubicBezTo>
                    <a:pt x="27" y="33"/>
                    <a:pt x="22" y="39"/>
                    <a:pt x="15" y="39"/>
                  </a:cubicBezTo>
                  <a:cubicBezTo>
                    <a:pt x="11" y="39"/>
                    <a:pt x="8" y="37"/>
                    <a:pt x="5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7" y="60"/>
                    <a:pt x="15" y="64"/>
                    <a:pt x="15" y="68"/>
                  </a:cubicBezTo>
                  <a:cubicBezTo>
                    <a:pt x="15" y="74"/>
                    <a:pt x="20" y="79"/>
                    <a:pt x="27" y="79"/>
                  </a:cubicBezTo>
                  <a:cubicBezTo>
                    <a:pt x="33" y="79"/>
                    <a:pt x="38" y="74"/>
                    <a:pt x="38" y="68"/>
                  </a:cubicBezTo>
                  <a:cubicBezTo>
                    <a:pt x="38" y="64"/>
                    <a:pt x="36" y="60"/>
                    <a:pt x="33" y="5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60" y="37"/>
                    <a:pt x="64" y="39"/>
                    <a:pt x="68" y="39"/>
                  </a:cubicBezTo>
                  <a:cubicBezTo>
                    <a:pt x="74" y="39"/>
                    <a:pt x="79" y="33"/>
                    <a:pt x="79" y="27"/>
                  </a:cubicBezTo>
                  <a:cubicBezTo>
                    <a:pt x="79" y="21"/>
                    <a:pt x="74" y="15"/>
                    <a:pt x="68" y="15"/>
                  </a:cubicBez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293813" y="3087688"/>
              <a:ext cx="187325" cy="192088"/>
            </a:xfrm>
            <a:custGeom>
              <a:avLst/>
              <a:gdLst>
                <a:gd name="T0" fmla="*/ 58 w 78"/>
                <a:gd name="T1" fmla="*/ 5 h 79"/>
                <a:gd name="T2" fmla="*/ 63 w 78"/>
                <a:gd name="T3" fmla="*/ 15 h 79"/>
                <a:gd name="T4" fmla="*/ 52 w 78"/>
                <a:gd name="T5" fmla="*/ 26 h 79"/>
                <a:gd name="T6" fmla="*/ 40 w 78"/>
                <a:gd name="T7" fmla="*/ 15 h 79"/>
                <a:gd name="T8" fmla="*/ 45 w 78"/>
                <a:gd name="T9" fmla="*/ 5 h 79"/>
                <a:gd name="T10" fmla="*/ 45 w 78"/>
                <a:gd name="T11" fmla="*/ 0 h 79"/>
                <a:gd name="T12" fmla="*/ 26 w 78"/>
                <a:gd name="T13" fmla="*/ 0 h 79"/>
                <a:gd name="T14" fmla="*/ 26 w 78"/>
                <a:gd name="T15" fmla="*/ 0 h 79"/>
                <a:gd name="T16" fmla="*/ 26 w 78"/>
                <a:gd name="T17" fmla="*/ 20 h 79"/>
                <a:gd name="T18" fmla="*/ 21 w 78"/>
                <a:gd name="T19" fmla="*/ 20 h 79"/>
                <a:gd name="T20" fmla="*/ 12 w 78"/>
                <a:gd name="T21" fmla="*/ 15 h 79"/>
                <a:gd name="T22" fmla="*/ 0 w 78"/>
                <a:gd name="T23" fmla="*/ 27 h 79"/>
                <a:gd name="T24" fmla="*/ 12 w 78"/>
                <a:gd name="T25" fmla="*/ 38 h 79"/>
                <a:gd name="T26" fmla="*/ 21 w 78"/>
                <a:gd name="T27" fmla="*/ 33 h 79"/>
                <a:gd name="T28" fmla="*/ 26 w 78"/>
                <a:gd name="T29" fmla="*/ 33 h 79"/>
                <a:gd name="T30" fmla="*/ 26 w 78"/>
                <a:gd name="T31" fmla="*/ 53 h 79"/>
                <a:gd name="T32" fmla="*/ 46 w 78"/>
                <a:gd name="T33" fmla="*/ 53 h 79"/>
                <a:gd name="T34" fmla="*/ 46 w 78"/>
                <a:gd name="T35" fmla="*/ 58 h 79"/>
                <a:gd name="T36" fmla="*/ 41 w 78"/>
                <a:gd name="T37" fmla="*/ 67 h 79"/>
                <a:gd name="T38" fmla="*/ 52 w 78"/>
                <a:gd name="T39" fmla="*/ 79 h 79"/>
                <a:gd name="T40" fmla="*/ 64 w 78"/>
                <a:gd name="T41" fmla="*/ 67 h 79"/>
                <a:gd name="T42" fmla="*/ 59 w 78"/>
                <a:gd name="T43" fmla="*/ 58 h 79"/>
                <a:gd name="T44" fmla="*/ 59 w 78"/>
                <a:gd name="T45" fmla="*/ 53 h 79"/>
                <a:gd name="T46" fmla="*/ 72 w 78"/>
                <a:gd name="T47" fmla="*/ 53 h 79"/>
                <a:gd name="T48" fmla="*/ 78 w 78"/>
                <a:gd name="T49" fmla="*/ 46 h 79"/>
                <a:gd name="T50" fmla="*/ 78 w 78"/>
                <a:gd name="T51" fmla="*/ 0 h 79"/>
                <a:gd name="T52" fmla="*/ 58 w 78"/>
                <a:gd name="T53" fmla="*/ 0 h 79"/>
                <a:gd name="T54" fmla="*/ 58 w 78"/>
                <a:gd name="T55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9">
                  <a:moveTo>
                    <a:pt x="58" y="5"/>
                  </a:moveTo>
                  <a:cubicBezTo>
                    <a:pt x="61" y="7"/>
                    <a:pt x="63" y="11"/>
                    <a:pt x="63" y="15"/>
                  </a:cubicBezTo>
                  <a:cubicBezTo>
                    <a:pt x="63" y="21"/>
                    <a:pt x="58" y="26"/>
                    <a:pt x="52" y="26"/>
                  </a:cubicBezTo>
                  <a:cubicBezTo>
                    <a:pt x="45" y="26"/>
                    <a:pt x="40" y="21"/>
                    <a:pt x="40" y="15"/>
                  </a:cubicBezTo>
                  <a:cubicBezTo>
                    <a:pt x="40" y="11"/>
                    <a:pt x="42" y="7"/>
                    <a:pt x="45" y="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9" y="17"/>
                    <a:pt x="16" y="15"/>
                    <a:pt x="12" y="15"/>
                  </a:cubicBezTo>
                  <a:cubicBezTo>
                    <a:pt x="5" y="15"/>
                    <a:pt x="0" y="20"/>
                    <a:pt x="0" y="27"/>
                  </a:cubicBezTo>
                  <a:cubicBezTo>
                    <a:pt x="0" y="33"/>
                    <a:pt x="5" y="38"/>
                    <a:pt x="12" y="38"/>
                  </a:cubicBezTo>
                  <a:cubicBezTo>
                    <a:pt x="16" y="38"/>
                    <a:pt x="19" y="36"/>
                    <a:pt x="2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3" y="60"/>
                    <a:pt x="41" y="63"/>
                    <a:pt x="41" y="67"/>
                  </a:cubicBezTo>
                  <a:cubicBezTo>
                    <a:pt x="41" y="74"/>
                    <a:pt x="46" y="79"/>
                    <a:pt x="52" y="79"/>
                  </a:cubicBezTo>
                  <a:cubicBezTo>
                    <a:pt x="59" y="79"/>
                    <a:pt x="64" y="74"/>
                    <a:pt x="64" y="67"/>
                  </a:cubicBezTo>
                  <a:cubicBezTo>
                    <a:pt x="64" y="63"/>
                    <a:pt x="62" y="60"/>
                    <a:pt x="59" y="58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5" y="53"/>
                    <a:pt x="78" y="51"/>
                    <a:pt x="78" y="4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58" y="5"/>
                  </a:ln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165225" y="3021013"/>
              <a:ext cx="190500" cy="195263"/>
            </a:xfrm>
            <a:custGeom>
              <a:avLst/>
              <a:gdLst>
                <a:gd name="T0" fmla="*/ 74 w 79"/>
                <a:gd name="T1" fmla="*/ 61 h 81"/>
                <a:gd name="T2" fmla="*/ 65 w 79"/>
                <a:gd name="T3" fmla="*/ 66 h 81"/>
                <a:gd name="T4" fmla="*/ 53 w 79"/>
                <a:gd name="T5" fmla="*/ 55 h 81"/>
                <a:gd name="T6" fmla="*/ 65 w 79"/>
                <a:gd name="T7" fmla="*/ 43 h 81"/>
                <a:gd name="T8" fmla="*/ 74 w 79"/>
                <a:gd name="T9" fmla="*/ 48 h 81"/>
                <a:gd name="T10" fmla="*/ 79 w 79"/>
                <a:gd name="T11" fmla="*/ 48 h 81"/>
                <a:gd name="T12" fmla="*/ 79 w 79"/>
                <a:gd name="T13" fmla="*/ 28 h 81"/>
                <a:gd name="T14" fmla="*/ 61 w 79"/>
                <a:gd name="T15" fmla="*/ 28 h 81"/>
                <a:gd name="T16" fmla="*/ 61 w 79"/>
                <a:gd name="T17" fmla="*/ 23 h 81"/>
                <a:gd name="T18" fmla="*/ 66 w 79"/>
                <a:gd name="T19" fmla="*/ 13 h 81"/>
                <a:gd name="T20" fmla="*/ 53 w 79"/>
                <a:gd name="T21" fmla="*/ 0 h 81"/>
                <a:gd name="T22" fmla="*/ 41 w 79"/>
                <a:gd name="T23" fmla="*/ 13 h 81"/>
                <a:gd name="T24" fmla="*/ 46 w 79"/>
                <a:gd name="T25" fmla="*/ 23 h 81"/>
                <a:gd name="T26" fmla="*/ 46 w 79"/>
                <a:gd name="T27" fmla="*/ 28 h 81"/>
                <a:gd name="T28" fmla="*/ 26 w 79"/>
                <a:gd name="T29" fmla="*/ 28 h 81"/>
                <a:gd name="T30" fmla="*/ 26 w 79"/>
                <a:gd name="T31" fmla="*/ 46 h 81"/>
                <a:gd name="T32" fmla="*/ 23 w 79"/>
                <a:gd name="T33" fmla="*/ 46 h 81"/>
                <a:gd name="T34" fmla="*/ 13 w 79"/>
                <a:gd name="T35" fmla="*/ 41 h 81"/>
                <a:gd name="T36" fmla="*/ 0 w 79"/>
                <a:gd name="T37" fmla="*/ 53 h 81"/>
                <a:gd name="T38" fmla="*/ 13 w 79"/>
                <a:gd name="T39" fmla="*/ 66 h 81"/>
                <a:gd name="T40" fmla="*/ 23 w 79"/>
                <a:gd name="T41" fmla="*/ 61 h 81"/>
                <a:gd name="T42" fmla="*/ 26 w 79"/>
                <a:gd name="T43" fmla="*/ 61 h 81"/>
                <a:gd name="T44" fmla="*/ 26 w 79"/>
                <a:gd name="T45" fmla="*/ 75 h 81"/>
                <a:gd name="T46" fmla="*/ 32 w 79"/>
                <a:gd name="T47" fmla="*/ 81 h 81"/>
                <a:gd name="T48" fmla="*/ 34 w 79"/>
                <a:gd name="T49" fmla="*/ 81 h 81"/>
                <a:gd name="T50" fmla="*/ 34 w 79"/>
                <a:gd name="T51" fmla="*/ 81 h 81"/>
                <a:gd name="T52" fmla="*/ 34 w 79"/>
                <a:gd name="T53" fmla="*/ 81 h 81"/>
                <a:gd name="T54" fmla="*/ 79 w 79"/>
                <a:gd name="T55" fmla="*/ 81 h 81"/>
                <a:gd name="T56" fmla="*/ 79 w 79"/>
                <a:gd name="T57" fmla="*/ 61 h 81"/>
                <a:gd name="T58" fmla="*/ 74 w 79"/>
                <a:gd name="T59" fmla="*/ 6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9" h="81">
                  <a:moveTo>
                    <a:pt x="74" y="61"/>
                  </a:moveTo>
                  <a:cubicBezTo>
                    <a:pt x="72" y="64"/>
                    <a:pt x="69" y="66"/>
                    <a:pt x="65" y="66"/>
                  </a:cubicBezTo>
                  <a:cubicBezTo>
                    <a:pt x="58" y="66"/>
                    <a:pt x="53" y="61"/>
                    <a:pt x="53" y="55"/>
                  </a:cubicBezTo>
                  <a:cubicBezTo>
                    <a:pt x="53" y="48"/>
                    <a:pt x="58" y="43"/>
                    <a:pt x="65" y="43"/>
                  </a:cubicBezTo>
                  <a:cubicBezTo>
                    <a:pt x="69" y="43"/>
                    <a:pt x="72" y="45"/>
                    <a:pt x="74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4" y="20"/>
                    <a:pt x="66" y="17"/>
                    <a:pt x="66" y="13"/>
                  </a:cubicBezTo>
                  <a:cubicBezTo>
                    <a:pt x="66" y="6"/>
                    <a:pt x="60" y="0"/>
                    <a:pt x="53" y="0"/>
                  </a:cubicBezTo>
                  <a:cubicBezTo>
                    <a:pt x="47" y="0"/>
                    <a:pt x="41" y="6"/>
                    <a:pt x="41" y="13"/>
                  </a:cubicBezTo>
                  <a:cubicBezTo>
                    <a:pt x="41" y="17"/>
                    <a:pt x="43" y="20"/>
                    <a:pt x="46" y="23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1" y="43"/>
                    <a:pt x="17" y="41"/>
                    <a:pt x="13" y="41"/>
                  </a:cubicBezTo>
                  <a:cubicBezTo>
                    <a:pt x="6" y="41"/>
                    <a:pt x="0" y="46"/>
                    <a:pt x="0" y="53"/>
                  </a:cubicBezTo>
                  <a:cubicBezTo>
                    <a:pt x="0" y="60"/>
                    <a:pt x="6" y="66"/>
                    <a:pt x="13" y="66"/>
                  </a:cubicBezTo>
                  <a:cubicBezTo>
                    <a:pt x="17" y="66"/>
                    <a:pt x="21" y="64"/>
                    <a:pt x="23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80"/>
                    <a:pt x="30" y="81"/>
                    <a:pt x="32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61"/>
                    <a:pt x="79" y="61"/>
                    <a:pt x="79" y="61"/>
                  </a:cubicBezTo>
                  <a:lnTo>
                    <a:pt x="74" y="61"/>
                  </a:ln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110" name="Скругленный прямоугольник 109"/>
          <p:cNvSpPr/>
          <p:nvPr/>
        </p:nvSpPr>
        <p:spPr>
          <a:xfrm>
            <a:off x="3457576" y="863627"/>
            <a:ext cx="2343966" cy="34249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79" name="Прямая соединительная линия 78"/>
          <p:cNvCxnSpPr>
            <a:endCxn id="84" idx="4"/>
          </p:cNvCxnSpPr>
          <p:nvPr/>
        </p:nvCxnSpPr>
        <p:spPr>
          <a:xfrm>
            <a:off x="6883953" y="3130631"/>
            <a:ext cx="1" cy="1601359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>
            <a:endCxn id="76" idx="4"/>
          </p:cNvCxnSpPr>
          <p:nvPr/>
        </p:nvCxnSpPr>
        <p:spPr>
          <a:xfrm>
            <a:off x="4046219" y="3130631"/>
            <a:ext cx="1" cy="1709371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Прямоугольник 77"/>
          <p:cNvSpPr/>
          <p:nvPr/>
        </p:nvSpPr>
        <p:spPr>
          <a:xfrm>
            <a:off x="6987057" y="3458261"/>
            <a:ext cx="1851661" cy="14542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Создание эффективной технологии для освоения </a:t>
            </a:r>
            <a:r>
              <a:rPr lang="ru-RU" sz="900" dirty="0" err="1">
                <a:solidFill>
                  <a:schemeClr val="bg1">
                    <a:lumMod val="50000"/>
                  </a:schemeClr>
                </a:solidFill>
              </a:rPr>
              <a:t>баженовской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 свиты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rgbClr val="7F7F7F"/>
                </a:solidFill>
              </a:rPr>
              <a:t>Доступ к технологически зависимой ресурсной базе</a:t>
            </a:r>
            <a:endParaRPr lang="en-US" sz="900" dirty="0">
              <a:solidFill>
                <a:srgbClr val="7F7F7F"/>
              </a:solidFill>
            </a:endParaRP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Прозрачный механизм использования господдержки</a:t>
            </a: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Получение доли в перспективных технологиях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0" name="Равнобедренный треугольник 79"/>
          <p:cNvSpPr/>
          <p:nvPr/>
        </p:nvSpPr>
        <p:spPr>
          <a:xfrm rot="5400000">
            <a:off x="6878977" y="3692689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2" name="Равнобедренный треугольник 81"/>
          <p:cNvSpPr/>
          <p:nvPr/>
        </p:nvSpPr>
        <p:spPr>
          <a:xfrm rot="5400000">
            <a:off x="6878977" y="4088895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3" name="Равнобедренный треугольник 82"/>
          <p:cNvSpPr/>
          <p:nvPr/>
        </p:nvSpPr>
        <p:spPr>
          <a:xfrm rot="5400000">
            <a:off x="6878977" y="4412769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4" name="Равнобедренный треугольник 83"/>
          <p:cNvSpPr/>
          <p:nvPr/>
        </p:nvSpPr>
        <p:spPr>
          <a:xfrm rot="5400000">
            <a:off x="6878977" y="4664797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0" name="Прямоугольник 69"/>
          <p:cNvSpPr/>
          <p:nvPr/>
        </p:nvSpPr>
        <p:spPr>
          <a:xfrm>
            <a:off x="4149322" y="3458261"/>
            <a:ext cx="2337203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Выполнение энергетической стратегии ТЭК</a:t>
            </a: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Увеличение налоговых поступлений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Развитие производства и компетенций</a:t>
            </a:r>
            <a:br>
              <a:rPr lang="ru-RU" sz="9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в национальном масштабе</a:t>
            </a: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Создание среды эффективного взаимодействия государства, ВИНК, разработчиков технологий и инвесторов</a:t>
            </a: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R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2" name="Равнобедренный треугольник 71"/>
          <p:cNvSpPr/>
          <p:nvPr/>
        </p:nvSpPr>
        <p:spPr>
          <a:xfrm rot="5400000">
            <a:off x="4041243" y="3584677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3" name="Равнобедренный треугольник 72"/>
          <p:cNvSpPr/>
          <p:nvPr/>
        </p:nvSpPr>
        <p:spPr>
          <a:xfrm rot="5400000">
            <a:off x="4041243" y="3872709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4" name="Равнобедренный треугольник 73"/>
          <p:cNvSpPr/>
          <p:nvPr/>
        </p:nvSpPr>
        <p:spPr>
          <a:xfrm rot="5400000">
            <a:off x="4041243" y="4088733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5" name="Равнобедренный треугольник 74"/>
          <p:cNvSpPr/>
          <p:nvPr/>
        </p:nvSpPr>
        <p:spPr>
          <a:xfrm rot="5400000">
            <a:off x="4041243" y="4484777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6" name="Равнобедренный треугольник 75"/>
          <p:cNvSpPr/>
          <p:nvPr/>
        </p:nvSpPr>
        <p:spPr>
          <a:xfrm rot="5400000">
            <a:off x="4041243" y="4772809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4" name="Прямоугольник 63"/>
          <p:cNvSpPr/>
          <p:nvPr/>
        </p:nvSpPr>
        <p:spPr>
          <a:xfrm>
            <a:off x="1089505" y="3458261"/>
            <a:ext cx="2368070" cy="1177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Возможность испытать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оборудование на полигоне</a:t>
            </a: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Площадка для привлечения финансирования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Возможность масштабировать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конечный продукт</a:t>
            </a:r>
          </a:p>
          <a:p>
            <a:pPr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Коммерциализация технологий</a:t>
            </a:r>
          </a:p>
        </p:txBody>
      </p:sp>
      <p:cxnSp>
        <p:nvCxnSpPr>
          <p:cNvPr id="65" name="Прямая соединительная линия 64"/>
          <p:cNvCxnSpPr>
            <a:endCxn id="69" idx="4"/>
          </p:cNvCxnSpPr>
          <p:nvPr/>
        </p:nvCxnSpPr>
        <p:spPr>
          <a:xfrm flipH="1">
            <a:off x="984647" y="3130631"/>
            <a:ext cx="1754" cy="1421339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Равнобедренный треугольник 65"/>
          <p:cNvSpPr/>
          <p:nvPr/>
        </p:nvSpPr>
        <p:spPr>
          <a:xfrm rot="5400000">
            <a:off x="981425" y="3620681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7" name="Равнобедренный треугольник 66"/>
          <p:cNvSpPr/>
          <p:nvPr/>
        </p:nvSpPr>
        <p:spPr>
          <a:xfrm rot="5400000">
            <a:off x="981425" y="3944717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8" name="Равнобедренный треугольник 67"/>
          <p:cNvSpPr/>
          <p:nvPr/>
        </p:nvSpPr>
        <p:spPr>
          <a:xfrm rot="5400000">
            <a:off x="981425" y="4232749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9" name="Равнобедренный треугольник 68"/>
          <p:cNvSpPr/>
          <p:nvPr/>
        </p:nvSpPr>
        <p:spPr>
          <a:xfrm rot="5400000">
            <a:off x="979670" y="4484777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281355"/>
            <a:ext cx="7886700" cy="457874"/>
          </a:xfrm>
        </p:spPr>
        <p:txBody>
          <a:bodyPr>
            <a:normAutofit/>
          </a:bodyPr>
          <a:lstStyle/>
          <a:p>
            <a:r>
              <a:rPr lang="ru-RU" b="0" dirty="0">
                <a:solidFill>
                  <a:schemeClr val="accent1"/>
                </a:solidFill>
                <a:latin typeface="+mj-lt"/>
              </a:rPr>
              <a:t>Пример уникальной инициативы в российской нефтегазовой индустр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28389" y="1225032"/>
            <a:ext cx="16160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Уникальная </a:t>
            </a:r>
            <a:r>
              <a:rPr lang="ru-RU" sz="1200" b="1" dirty="0">
                <a:solidFill>
                  <a:srgbClr val="706F6F"/>
                </a:solidFill>
              </a:rPr>
              <a:t>возможность работы по принципу </a:t>
            </a:r>
            <a:r>
              <a:rPr lang="ru-RU" sz="1200" b="1" dirty="0" err="1">
                <a:solidFill>
                  <a:srgbClr val="706F6F"/>
                </a:solidFill>
              </a:rPr>
              <a:t>win-win</a:t>
            </a:r>
            <a:r>
              <a:rPr lang="ru-RU" sz="1200" b="1" dirty="0">
                <a:solidFill>
                  <a:srgbClr val="706F6F"/>
                </a:solidFill>
              </a:rPr>
              <a:t> </a:t>
            </a:r>
            <a:r>
              <a:rPr lang="ru-RU" sz="1200" dirty="0">
                <a:solidFill>
                  <a:srgbClr val="706F6F"/>
                </a:solidFill>
              </a:rPr>
              <a:t/>
            </a:r>
            <a:br>
              <a:rPr lang="ru-RU" sz="1200" dirty="0">
                <a:solidFill>
                  <a:srgbClr val="706F6F"/>
                </a:solidFill>
              </a:rPr>
            </a:br>
            <a:r>
              <a:rPr lang="ru-RU" sz="1200" dirty="0">
                <a:solidFill>
                  <a:srgbClr val="706F6F"/>
                </a:solidFill>
              </a:rPr>
              <a:t>для ключевых участников проект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332455" y="1743658"/>
            <a:ext cx="248104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chemeClr val="bg1"/>
                </a:solidFill>
                <a:cs typeface="Arial" panose="020B0604020202020204" pitchFamily="34" charset="0"/>
              </a:rPr>
              <a:t>Технологический центр «</a:t>
            </a:r>
            <a:r>
              <a:rPr lang="ru-RU" sz="1350" b="1" dirty="0" err="1">
                <a:solidFill>
                  <a:schemeClr val="bg1"/>
                </a:solidFill>
                <a:cs typeface="Arial" panose="020B0604020202020204" pitchFamily="34" charset="0"/>
              </a:rPr>
              <a:t>Бажен</a:t>
            </a:r>
            <a:r>
              <a:rPr lang="ru-RU" sz="1350" b="1" dirty="0">
                <a:solidFill>
                  <a:schemeClr val="bg1"/>
                </a:solidFill>
                <a:cs typeface="Arial" panose="020B0604020202020204" pitchFamily="34" charset="0"/>
              </a:rPr>
              <a:t>»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6745738" y="2380660"/>
            <a:ext cx="1518285" cy="923925"/>
            <a:chOff x="8994317" y="3174213"/>
            <a:chExt cx="2024380" cy="1231900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8994317" y="3429000"/>
              <a:ext cx="2024380" cy="977113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9224785" y="3726024"/>
              <a:ext cx="1563445" cy="4001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50" b="1" dirty="0">
                  <a:solidFill>
                    <a:srgbClr val="7F7F7F"/>
                  </a:solidFill>
                  <a:cs typeface="Arial" panose="020B0604020202020204" pitchFamily="34" charset="0"/>
                </a:rPr>
                <a:t>Инвесторы</a:t>
              </a:r>
              <a:endParaRPr lang="ru-RU" sz="1050" b="1" dirty="0">
                <a:solidFill>
                  <a:srgbClr val="7F7F7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8" name="Группа 37"/>
            <p:cNvGrpSpPr/>
            <p:nvPr/>
          </p:nvGrpSpPr>
          <p:grpSpPr>
            <a:xfrm>
              <a:off x="9713613" y="3174213"/>
              <a:ext cx="585788" cy="588963"/>
              <a:chOff x="5802313" y="5113338"/>
              <a:chExt cx="585788" cy="588963"/>
            </a:xfrm>
          </p:grpSpPr>
          <p:sp>
            <p:nvSpPr>
              <p:cNvPr id="39" name="Oval 35"/>
              <p:cNvSpPr>
                <a:spLocks noChangeArrowheads="1"/>
              </p:cNvSpPr>
              <p:nvPr/>
            </p:nvSpPr>
            <p:spPr bwMode="auto">
              <a:xfrm>
                <a:off x="5802313" y="5113338"/>
                <a:ext cx="585788" cy="588963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0" name="Freeform 36"/>
              <p:cNvSpPr>
                <a:spLocks/>
              </p:cNvSpPr>
              <p:nvPr/>
            </p:nvSpPr>
            <p:spPr bwMode="auto">
              <a:xfrm>
                <a:off x="5972176" y="5227638"/>
                <a:ext cx="309563" cy="184150"/>
              </a:xfrm>
              <a:custGeom>
                <a:avLst/>
                <a:gdLst>
                  <a:gd name="T0" fmla="*/ 128 w 128"/>
                  <a:gd name="T1" fmla="*/ 76 h 76"/>
                  <a:gd name="T2" fmla="*/ 52 w 128"/>
                  <a:gd name="T3" fmla="*/ 0 h 76"/>
                  <a:gd name="T4" fmla="*/ 0 w 128"/>
                  <a:gd name="T5" fmla="*/ 2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8" h="76">
                    <a:moveTo>
                      <a:pt x="128" y="76"/>
                    </a:moveTo>
                    <a:cubicBezTo>
                      <a:pt x="128" y="34"/>
                      <a:pt x="94" y="0"/>
                      <a:pt x="52" y="0"/>
                    </a:cubicBezTo>
                    <a:cubicBezTo>
                      <a:pt x="32" y="0"/>
                      <a:pt x="14" y="8"/>
                      <a:pt x="0" y="21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1" name="Freeform 37"/>
              <p:cNvSpPr>
                <a:spLocks/>
              </p:cNvSpPr>
              <p:nvPr/>
            </p:nvSpPr>
            <p:spPr bwMode="auto">
              <a:xfrm>
                <a:off x="5915026" y="5405438"/>
                <a:ext cx="306388" cy="184150"/>
              </a:xfrm>
              <a:custGeom>
                <a:avLst/>
                <a:gdLst>
                  <a:gd name="T0" fmla="*/ 0 w 127"/>
                  <a:gd name="T1" fmla="*/ 0 h 76"/>
                  <a:gd name="T2" fmla="*/ 76 w 127"/>
                  <a:gd name="T3" fmla="*/ 76 h 76"/>
                  <a:gd name="T4" fmla="*/ 126 w 127"/>
                  <a:gd name="T5" fmla="*/ 57 h 76"/>
                  <a:gd name="T6" fmla="*/ 127 w 127"/>
                  <a:gd name="T7" fmla="*/ 5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7" h="76">
                    <a:moveTo>
                      <a:pt x="0" y="0"/>
                    </a:moveTo>
                    <a:cubicBezTo>
                      <a:pt x="0" y="42"/>
                      <a:pt x="34" y="76"/>
                      <a:pt x="76" y="76"/>
                    </a:cubicBezTo>
                    <a:cubicBezTo>
                      <a:pt x="95" y="76"/>
                      <a:pt x="112" y="69"/>
                      <a:pt x="126" y="57"/>
                    </a:cubicBezTo>
                    <a:cubicBezTo>
                      <a:pt x="126" y="57"/>
                      <a:pt x="127" y="56"/>
                      <a:pt x="127" y="56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2" name="Freeform 38"/>
              <p:cNvSpPr>
                <a:spLocks/>
              </p:cNvSpPr>
              <p:nvPr/>
            </p:nvSpPr>
            <p:spPr bwMode="auto">
              <a:xfrm>
                <a:off x="5867401" y="5330825"/>
                <a:ext cx="95250" cy="80963"/>
              </a:xfrm>
              <a:custGeom>
                <a:avLst/>
                <a:gdLst>
                  <a:gd name="T0" fmla="*/ 0 w 60"/>
                  <a:gd name="T1" fmla="*/ 51 h 51"/>
                  <a:gd name="T2" fmla="*/ 30 w 60"/>
                  <a:gd name="T3" fmla="*/ 0 h 51"/>
                  <a:gd name="T4" fmla="*/ 60 w 60"/>
                  <a:gd name="T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1">
                    <a:moveTo>
                      <a:pt x="0" y="51"/>
                    </a:moveTo>
                    <a:lnTo>
                      <a:pt x="30" y="0"/>
                    </a:lnTo>
                    <a:lnTo>
                      <a:pt x="60" y="51"/>
                    </a:ln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3" name="Freeform 39"/>
              <p:cNvSpPr>
                <a:spLocks/>
              </p:cNvSpPr>
              <p:nvPr/>
            </p:nvSpPr>
            <p:spPr bwMode="auto">
              <a:xfrm>
                <a:off x="6238876" y="5405438"/>
                <a:ext cx="85725" cy="73025"/>
              </a:xfrm>
              <a:custGeom>
                <a:avLst/>
                <a:gdLst>
                  <a:gd name="T0" fmla="*/ 54 w 54"/>
                  <a:gd name="T1" fmla="*/ 0 h 46"/>
                  <a:gd name="T2" fmla="*/ 27 w 54"/>
                  <a:gd name="T3" fmla="*/ 46 h 46"/>
                  <a:gd name="T4" fmla="*/ 0 w 54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4" h="46">
                    <a:moveTo>
                      <a:pt x="54" y="0"/>
                    </a:moveTo>
                    <a:lnTo>
                      <a:pt x="27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4" name="Line 40"/>
              <p:cNvSpPr>
                <a:spLocks noChangeShapeType="1"/>
              </p:cNvSpPr>
              <p:nvPr/>
            </p:nvSpPr>
            <p:spPr bwMode="auto">
              <a:xfrm>
                <a:off x="6064251" y="5321300"/>
                <a:ext cx="0" cy="179388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5" name="Freeform 41"/>
              <p:cNvSpPr>
                <a:spLocks/>
              </p:cNvSpPr>
              <p:nvPr/>
            </p:nvSpPr>
            <p:spPr bwMode="auto">
              <a:xfrm>
                <a:off x="6038851" y="5321300"/>
                <a:ext cx="117475" cy="90488"/>
              </a:xfrm>
              <a:custGeom>
                <a:avLst/>
                <a:gdLst>
                  <a:gd name="T0" fmla="*/ 11 w 49"/>
                  <a:gd name="T1" fmla="*/ 0 h 37"/>
                  <a:gd name="T2" fmla="*/ 31 w 49"/>
                  <a:gd name="T3" fmla="*/ 0 h 37"/>
                  <a:gd name="T4" fmla="*/ 49 w 49"/>
                  <a:gd name="T5" fmla="*/ 19 h 37"/>
                  <a:gd name="T6" fmla="*/ 31 w 49"/>
                  <a:gd name="T7" fmla="*/ 37 h 37"/>
                  <a:gd name="T8" fmla="*/ 0 w 49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7">
                    <a:moveTo>
                      <a:pt x="11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41" y="0"/>
                      <a:pt x="49" y="9"/>
                      <a:pt x="49" y="19"/>
                    </a:cubicBezTo>
                    <a:cubicBezTo>
                      <a:pt x="49" y="29"/>
                      <a:pt x="41" y="37"/>
                      <a:pt x="31" y="37"/>
                    </a:cubicBezTo>
                    <a:cubicBezTo>
                      <a:pt x="0" y="37"/>
                      <a:pt x="0" y="37"/>
                      <a:pt x="0" y="37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6" name="Line 42"/>
              <p:cNvSpPr>
                <a:spLocks noChangeShapeType="1"/>
              </p:cNvSpPr>
              <p:nvPr/>
            </p:nvSpPr>
            <p:spPr bwMode="auto">
              <a:xfrm>
                <a:off x="6038851" y="5456238"/>
                <a:ext cx="85725" cy="0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</p:grpSp>
      </p:grpSp>
      <p:grpSp>
        <p:nvGrpSpPr>
          <p:cNvPr id="10" name="Группа 9"/>
          <p:cNvGrpSpPr/>
          <p:nvPr/>
        </p:nvGrpSpPr>
        <p:grpSpPr>
          <a:xfrm>
            <a:off x="826148" y="2261119"/>
            <a:ext cx="1518285" cy="1043466"/>
            <a:chOff x="1101531" y="3014825"/>
            <a:chExt cx="2024380" cy="139128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1101531" y="3429000"/>
              <a:ext cx="2024380" cy="977113"/>
            </a:xfrm>
            <a:prstGeom prst="roundRect">
              <a:avLst/>
            </a:prstGeom>
            <a:solidFill>
              <a:srgbClr val="9ACA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119758" y="3594392"/>
              <a:ext cx="1973879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50" b="1" dirty="0">
                  <a:solidFill>
                    <a:schemeClr val="bg1"/>
                  </a:solidFill>
                  <a:cs typeface="Arial" panose="020B0604020202020204" pitchFamily="34" charset="0"/>
                </a:rPr>
                <a:t>Разработчики инноваций</a:t>
              </a: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1812202" y="3014825"/>
              <a:ext cx="587375" cy="585788"/>
              <a:chOff x="10383838" y="2782888"/>
              <a:chExt cx="587375" cy="585788"/>
            </a:xfrm>
          </p:grpSpPr>
          <p:sp>
            <p:nvSpPr>
              <p:cNvPr id="48" name="Oval 46"/>
              <p:cNvSpPr>
                <a:spLocks noChangeArrowheads="1"/>
              </p:cNvSpPr>
              <p:nvPr/>
            </p:nvSpPr>
            <p:spPr bwMode="auto">
              <a:xfrm>
                <a:off x="10383838" y="2782888"/>
                <a:ext cx="587375" cy="585788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49" name="Freeform 47"/>
              <p:cNvSpPr>
                <a:spLocks/>
              </p:cNvSpPr>
              <p:nvPr/>
            </p:nvSpPr>
            <p:spPr bwMode="auto">
              <a:xfrm>
                <a:off x="10577513" y="3201988"/>
                <a:ext cx="236537" cy="42863"/>
              </a:xfrm>
              <a:custGeom>
                <a:avLst/>
                <a:gdLst>
                  <a:gd name="T0" fmla="*/ 93 w 98"/>
                  <a:gd name="T1" fmla="*/ 18 h 18"/>
                  <a:gd name="T2" fmla="*/ 5 w 98"/>
                  <a:gd name="T3" fmla="*/ 18 h 18"/>
                  <a:gd name="T4" fmla="*/ 0 w 98"/>
                  <a:gd name="T5" fmla="*/ 13 h 18"/>
                  <a:gd name="T6" fmla="*/ 0 w 98"/>
                  <a:gd name="T7" fmla="*/ 5 h 18"/>
                  <a:gd name="T8" fmla="*/ 5 w 98"/>
                  <a:gd name="T9" fmla="*/ 0 h 18"/>
                  <a:gd name="T10" fmla="*/ 93 w 98"/>
                  <a:gd name="T11" fmla="*/ 0 h 18"/>
                  <a:gd name="T12" fmla="*/ 98 w 98"/>
                  <a:gd name="T13" fmla="*/ 5 h 18"/>
                  <a:gd name="T14" fmla="*/ 98 w 98"/>
                  <a:gd name="T15" fmla="*/ 13 h 18"/>
                  <a:gd name="T16" fmla="*/ 93 w 98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18">
                    <a:moveTo>
                      <a:pt x="93" y="18"/>
                    </a:moveTo>
                    <a:cubicBezTo>
                      <a:pt x="5" y="18"/>
                      <a:pt x="5" y="18"/>
                      <a:pt x="5" y="18"/>
                    </a:cubicBezTo>
                    <a:cubicBezTo>
                      <a:pt x="2" y="18"/>
                      <a:pt x="0" y="16"/>
                      <a:pt x="0" y="1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6" y="0"/>
                      <a:pt x="98" y="2"/>
                      <a:pt x="98" y="5"/>
                    </a:cubicBezTo>
                    <a:cubicBezTo>
                      <a:pt x="98" y="13"/>
                      <a:pt x="98" y="13"/>
                      <a:pt x="98" y="13"/>
                    </a:cubicBezTo>
                    <a:cubicBezTo>
                      <a:pt x="98" y="16"/>
                      <a:pt x="96" y="18"/>
                      <a:pt x="93" y="18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0" name="Freeform 48"/>
              <p:cNvSpPr>
                <a:spLocks/>
              </p:cNvSpPr>
              <p:nvPr/>
            </p:nvSpPr>
            <p:spPr bwMode="auto">
              <a:xfrm>
                <a:off x="10639425" y="3108326"/>
                <a:ext cx="125412" cy="19050"/>
              </a:xfrm>
              <a:custGeom>
                <a:avLst/>
                <a:gdLst>
                  <a:gd name="T0" fmla="*/ 48 w 52"/>
                  <a:gd name="T1" fmla="*/ 8 h 8"/>
                  <a:gd name="T2" fmla="*/ 4 w 52"/>
                  <a:gd name="T3" fmla="*/ 8 h 8"/>
                  <a:gd name="T4" fmla="*/ 0 w 52"/>
                  <a:gd name="T5" fmla="*/ 4 h 8"/>
                  <a:gd name="T6" fmla="*/ 4 w 52"/>
                  <a:gd name="T7" fmla="*/ 0 h 8"/>
                  <a:gd name="T8" fmla="*/ 48 w 52"/>
                  <a:gd name="T9" fmla="*/ 0 h 8"/>
                  <a:gd name="T10" fmla="*/ 52 w 52"/>
                  <a:gd name="T11" fmla="*/ 4 h 8"/>
                  <a:gd name="T12" fmla="*/ 48 w 52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8">
                    <a:moveTo>
                      <a:pt x="48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51" y="0"/>
                      <a:pt x="52" y="2"/>
                      <a:pt x="52" y="4"/>
                    </a:cubicBezTo>
                    <a:cubicBezTo>
                      <a:pt x="52" y="7"/>
                      <a:pt x="51" y="8"/>
                      <a:pt x="48" y="8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1" name="Line 49"/>
              <p:cNvSpPr>
                <a:spLocks noChangeShapeType="1"/>
              </p:cNvSpPr>
              <p:nvPr/>
            </p:nvSpPr>
            <p:spPr bwMode="auto">
              <a:xfrm flipH="1">
                <a:off x="10610850" y="3117851"/>
                <a:ext cx="28575" cy="0"/>
              </a:xfrm>
              <a:prstGeom prst="lin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2" name="Rectangle 50"/>
              <p:cNvSpPr>
                <a:spLocks noChangeArrowheads="1"/>
              </p:cNvSpPr>
              <p:nvPr/>
            </p:nvSpPr>
            <p:spPr bwMode="auto">
              <a:xfrm>
                <a:off x="10675938" y="2898776"/>
                <a:ext cx="53975" cy="84138"/>
              </a:xfrm>
              <a:prstGeom prst="rect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3" name="Freeform 51"/>
              <p:cNvSpPr>
                <a:spLocks/>
              </p:cNvSpPr>
              <p:nvPr/>
            </p:nvSpPr>
            <p:spPr bwMode="auto">
              <a:xfrm>
                <a:off x="10658475" y="2881313"/>
                <a:ext cx="87312" cy="17463"/>
              </a:xfrm>
              <a:custGeom>
                <a:avLst/>
                <a:gdLst>
                  <a:gd name="T0" fmla="*/ 32 w 36"/>
                  <a:gd name="T1" fmla="*/ 7 h 7"/>
                  <a:gd name="T2" fmla="*/ 4 w 36"/>
                  <a:gd name="T3" fmla="*/ 7 h 7"/>
                  <a:gd name="T4" fmla="*/ 0 w 36"/>
                  <a:gd name="T5" fmla="*/ 4 h 7"/>
                  <a:gd name="T6" fmla="*/ 4 w 36"/>
                  <a:gd name="T7" fmla="*/ 0 h 7"/>
                  <a:gd name="T8" fmla="*/ 32 w 36"/>
                  <a:gd name="T9" fmla="*/ 0 h 7"/>
                  <a:gd name="T10" fmla="*/ 36 w 36"/>
                  <a:gd name="T11" fmla="*/ 4 h 7"/>
                  <a:gd name="T12" fmla="*/ 32 w 36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7">
                    <a:moveTo>
                      <a:pt x="32" y="7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4" y="0"/>
                      <a:pt x="36" y="2"/>
                      <a:pt x="36" y="4"/>
                    </a:cubicBezTo>
                    <a:cubicBezTo>
                      <a:pt x="36" y="6"/>
                      <a:pt x="34" y="7"/>
                      <a:pt x="32" y="7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4" name="Oval 52"/>
              <p:cNvSpPr>
                <a:spLocks noChangeArrowheads="1"/>
              </p:cNvSpPr>
              <p:nvPr/>
            </p:nvSpPr>
            <p:spPr bwMode="auto">
              <a:xfrm>
                <a:off x="10542588" y="2933701"/>
                <a:ext cx="90487" cy="90488"/>
              </a:xfrm>
              <a:prstGeom prst="ellips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5" name="Freeform 53"/>
              <p:cNvSpPr>
                <a:spLocks/>
              </p:cNvSpPr>
              <p:nvPr/>
            </p:nvSpPr>
            <p:spPr bwMode="auto">
              <a:xfrm>
                <a:off x="10541000" y="2998788"/>
                <a:ext cx="134937" cy="203200"/>
              </a:xfrm>
              <a:custGeom>
                <a:avLst/>
                <a:gdLst>
                  <a:gd name="T0" fmla="*/ 18 w 56"/>
                  <a:gd name="T1" fmla="*/ 21 h 84"/>
                  <a:gd name="T2" fmla="*/ 19 w 56"/>
                  <a:gd name="T3" fmla="*/ 10 h 84"/>
                  <a:gd name="T4" fmla="*/ 4 w 56"/>
                  <a:gd name="T5" fmla="*/ 0 h 84"/>
                  <a:gd name="T6" fmla="*/ 0 w 56"/>
                  <a:gd name="T7" fmla="*/ 21 h 84"/>
                  <a:gd name="T8" fmla="*/ 32 w 56"/>
                  <a:gd name="T9" fmla="*/ 73 h 84"/>
                  <a:gd name="T10" fmla="*/ 32 w 56"/>
                  <a:gd name="T11" fmla="*/ 84 h 84"/>
                  <a:gd name="T12" fmla="*/ 56 w 56"/>
                  <a:gd name="T13" fmla="*/ 84 h 84"/>
                  <a:gd name="T14" fmla="*/ 56 w 56"/>
                  <a:gd name="T15" fmla="*/ 61 h 84"/>
                  <a:gd name="T16" fmla="*/ 18 w 56"/>
                  <a:gd name="T17" fmla="*/ 2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84">
                    <a:moveTo>
                      <a:pt x="18" y="21"/>
                    </a:moveTo>
                    <a:cubicBezTo>
                      <a:pt x="18" y="17"/>
                      <a:pt x="18" y="13"/>
                      <a:pt x="19" y="10"/>
                    </a:cubicBezTo>
                    <a:cubicBezTo>
                      <a:pt x="13" y="10"/>
                      <a:pt x="7" y="6"/>
                      <a:pt x="4" y="0"/>
                    </a:cubicBezTo>
                    <a:cubicBezTo>
                      <a:pt x="1" y="7"/>
                      <a:pt x="0" y="14"/>
                      <a:pt x="0" y="21"/>
                    </a:cubicBezTo>
                    <a:cubicBezTo>
                      <a:pt x="0" y="44"/>
                      <a:pt x="13" y="63"/>
                      <a:pt x="32" y="73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35" y="60"/>
                      <a:pt x="18" y="43"/>
                      <a:pt x="18" y="21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6" name="Freeform 54"/>
              <p:cNvSpPr>
                <a:spLocks/>
              </p:cNvSpPr>
              <p:nvPr/>
            </p:nvSpPr>
            <p:spPr bwMode="auto">
              <a:xfrm>
                <a:off x="10601325" y="2913063"/>
                <a:ext cx="74612" cy="55563"/>
              </a:xfrm>
              <a:custGeom>
                <a:avLst/>
                <a:gdLst>
                  <a:gd name="T0" fmla="*/ 0 w 31"/>
                  <a:gd name="T1" fmla="*/ 10 h 23"/>
                  <a:gd name="T2" fmla="*/ 13 w 31"/>
                  <a:gd name="T3" fmla="*/ 23 h 23"/>
                  <a:gd name="T4" fmla="*/ 31 w 31"/>
                  <a:gd name="T5" fmla="*/ 18 h 23"/>
                  <a:gd name="T6" fmla="*/ 31 w 31"/>
                  <a:gd name="T7" fmla="*/ 0 h 23"/>
                  <a:gd name="T8" fmla="*/ 0 w 31"/>
                  <a:gd name="T9" fmla="*/ 1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3">
                    <a:moveTo>
                      <a:pt x="0" y="10"/>
                    </a:moveTo>
                    <a:cubicBezTo>
                      <a:pt x="6" y="12"/>
                      <a:pt x="11" y="17"/>
                      <a:pt x="13" y="23"/>
                    </a:cubicBezTo>
                    <a:cubicBezTo>
                      <a:pt x="18" y="20"/>
                      <a:pt x="25" y="18"/>
                      <a:pt x="31" y="18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0" y="0"/>
                      <a:pt x="9" y="4"/>
                      <a:pt x="0" y="1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7" name="Oval 55"/>
              <p:cNvSpPr>
                <a:spLocks noChangeArrowheads="1"/>
              </p:cNvSpPr>
              <p:nvPr/>
            </p:nvSpPr>
            <p:spPr bwMode="auto">
              <a:xfrm>
                <a:off x="10561638" y="2951163"/>
                <a:ext cx="53975" cy="52388"/>
              </a:xfrm>
              <a:prstGeom prst="ellips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8" name="Rectangle 56"/>
              <p:cNvSpPr>
                <a:spLocks noChangeArrowheads="1"/>
              </p:cNvSpPr>
              <p:nvPr/>
            </p:nvSpPr>
            <p:spPr bwMode="auto">
              <a:xfrm>
                <a:off x="10683875" y="2982913"/>
                <a:ext cx="38100" cy="41275"/>
              </a:xfrm>
              <a:prstGeom prst="rect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59" name="Freeform 57"/>
              <p:cNvSpPr>
                <a:spLocks/>
              </p:cNvSpPr>
              <p:nvPr/>
            </p:nvSpPr>
            <p:spPr bwMode="auto">
              <a:xfrm>
                <a:off x="10690225" y="3024188"/>
                <a:ext cx="23812" cy="39688"/>
              </a:xfrm>
              <a:custGeom>
                <a:avLst/>
                <a:gdLst>
                  <a:gd name="T0" fmla="*/ 0 w 10"/>
                  <a:gd name="T1" fmla="*/ 0 h 17"/>
                  <a:gd name="T2" fmla="*/ 0 w 10"/>
                  <a:gd name="T3" fmla="*/ 13 h 17"/>
                  <a:gd name="T4" fmla="*/ 5 w 10"/>
                  <a:gd name="T5" fmla="*/ 17 h 17"/>
                  <a:gd name="T6" fmla="*/ 10 w 10"/>
                  <a:gd name="T7" fmla="*/ 13 h 17"/>
                  <a:gd name="T8" fmla="*/ 10 w 10"/>
                  <a:gd name="T9" fmla="*/ 0 h 17"/>
                  <a:gd name="T10" fmla="*/ 0 w 10"/>
                  <a:gd name="T1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7">
                    <a:moveTo>
                      <a:pt x="0" y="0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2" y="17"/>
                      <a:pt x="5" y="17"/>
                    </a:cubicBezTo>
                    <a:cubicBezTo>
                      <a:pt x="8" y="17"/>
                      <a:pt x="10" y="15"/>
                      <a:pt x="10" y="1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</p:grpSp>
      </p:grpSp>
      <p:sp>
        <p:nvSpPr>
          <p:cNvPr id="108" name="Прямоугольник 107"/>
          <p:cNvSpPr/>
          <p:nvPr/>
        </p:nvSpPr>
        <p:spPr>
          <a:xfrm>
            <a:off x="3463670" y="915835"/>
            <a:ext cx="231505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cs typeface="Arial" panose="020B0604020202020204" pitchFamily="34" charset="0"/>
              </a:rPr>
              <a:t>Национальный проект «</a:t>
            </a:r>
            <a:r>
              <a:rPr lang="ru-RU" sz="1050" b="1" dirty="0" err="1">
                <a:solidFill>
                  <a:schemeClr val="bg1"/>
                </a:solidFill>
                <a:cs typeface="Arial" panose="020B0604020202020204" pitchFamily="34" charset="0"/>
              </a:rPr>
              <a:t>Бажен</a:t>
            </a:r>
            <a:r>
              <a:rPr lang="ru-RU" sz="1050" b="1" dirty="0">
                <a:solidFill>
                  <a:schemeClr val="bg1"/>
                </a:solidFill>
                <a:cs typeface="Arial" panose="020B0604020202020204" pitchFamily="34" charset="0"/>
              </a:rPr>
              <a:t>»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3815071" y="2312407"/>
            <a:ext cx="1518285" cy="963638"/>
            <a:chOff x="9780165" y="2668357"/>
            <a:chExt cx="2024380" cy="1284851"/>
          </a:xfrm>
        </p:grpSpPr>
        <p:sp>
          <p:nvSpPr>
            <p:cNvPr id="98" name="Скругленный прямоугольник 97"/>
            <p:cNvSpPr/>
            <p:nvPr/>
          </p:nvSpPr>
          <p:spPr>
            <a:xfrm>
              <a:off x="9780165" y="2976095"/>
              <a:ext cx="2024380" cy="977113"/>
            </a:xfrm>
            <a:prstGeom prst="round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9792249" y="3280861"/>
              <a:ext cx="2012296" cy="4001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50" b="1" dirty="0">
                  <a:solidFill>
                    <a:schemeClr val="bg1"/>
                  </a:solidFill>
                  <a:cs typeface="Arial" panose="020B0604020202020204" pitchFamily="34" charset="0"/>
                </a:rPr>
                <a:t>Государство</a:t>
              </a:r>
              <a:endParaRPr lang="ru-RU" sz="105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00" name="Группа 99"/>
            <p:cNvGrpSpPr/>
            <p:nvPr/>
          </p:nvGrpSpPr>
          <p:grpSpPr>
            <a:xfrm>
              <a:off x="10498668" y="2668357"/>
              <a:ext cx="587375" cy="592138"/>
              <a:chOff x="5832475" y="1208088"/>
              <a:chExt cx="587375" cy="592138"/>
            </a:xfrm>
          </p:grpSpPr>
          <p:sp>
            <p:nvSpPr>
              <p:cNvPr id="101" name="Oval 13"/>
              <p:cNvSpPr>
                <a:spLocks noChangeArrowheads="1"/>
              </p:cNvSpPr>
              <p:nvPr/>
            </p:nvSpPr>
            <p:spPr bwMode="auto">
              <a:xfrm>
                <a:off x="5832475" y="1208088"/>
                <a:ext cx="587375" cy="592138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" name="Freeform 14"/>
              <p:cNvSpPr>
                <a:spLocks/>
              </p:cNvSpPr>
              <p:nvPr/>
            </p:nvSpPr>
            <p:spPr bwMode="auto">
              <a:xfrm>
                <a:off x="6056313" y="1636713"/>
                <a:ext cx="74612" cy="96838"/>
              </a:xfrm>
              <a:custGeom>
                <a:avLst/>
                <a:gdLst>
                  <a:gd name="T0" fmla="*/ 21 w 31"/>
                  <a:gd name="T1" fmla="*/ 0 h 40"/>
                  <a:gd name="T2" fmla="*/ 21 w 31"/>
                  <a:gd name="T3" fmla="*/ 4 h 40"/>
                  <a:gd name="T4" fmla="*/ 0 w 31"/>
                  <a:gd name="T5" fmla="*/ 22 h 40"/>
                  <a:gd name="T6" fmla="*/ 31 w 31"/>
                  <a:gd name="T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0">
                    <a:moveTo>
                      <a:pt x="21" y="0"/>
                    </a:moveTo>
                    <a:cubicBezTo>
                      <a:pt x="21" y="2"/>
                      <a:pt x="21" y="2"/>
                      <a:pt x="21" y="4"/>
                    </a:cubicBezTo>
                    <a:cubicBezTo>
                      <a:pt x="18" y="15"/>
                      <a:pt x="0" y="18"/>
                      <a:pt x="0" y="22"/>
                    </a:cubicBezTo>
                    <a:cubicBezTo>
                      <a:pt x="0" y="26"/>
                      <a:pt x="15" y="40"/>
                      <a:pt x="31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" name="Freeform 15"/>
              <p:cNvSpPr>
                <a:spLocks/>
              </p:cNvSpPr>
              <p:nvPr/>
            </p:nvSpPr>
            <p:spPr bwMode="auto">
              <a:xfrm>
                <a:off x="6019800" y="1581150"/>
                <a:ext cx="58737" cy="76200"/>
              </a:xfrm>
              <a:custGeom>
                <a:avLst/>
                <a:gdLst>
                  <a:gd name="T0" fmla="*/ 15 w 24"/>
                  <a:gd name="T1" fmla="*/ 0 h 31"/>
                  <a:gd name="T2" fmla="*/ 2 w 24"/>
                  <a:gd name="T3" fmla="*/ 13 h 31"/>
                  <a:gd name="T4" fmla="*/ 11 w 24"/>
                  <a:gd name="T5" fmla="*/ 28 h 31"/>
                  <a:gd name="T6" fmla="*/ 21 w 24"/>
                  <a:gd name="T7" fmla="*/ 28 h 31"/>
                  <a:gd name="T8" fmla="*/ 24 w 24"/>
                  <a:gd name="T9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1">
                    <a:moveTo>
                      <a:pt x="15" y="0"/>
                    </a:moveTo>
                    <a:cubicBezTo>
                      <a:pt x="10" y="2"/>
                      <a:pt x="4" y="6"/>
                      <a:pt x="2" y="13"/>
                    </a:cubicBezTo>
                    <a:cubicBezTo>
                      <a:pt x="0" y="23"/>
                      <a:pt x="11" y="28"/>
                      <a:pt x="11" y="28"/>
                    </a:cubicBezTo>
                    <a:cubicBezTo>
                      <a:pt x="11" y="28"/>
                      <a:pt x="17" y="31"/>
                      <a:pt x="21" y="28"/>
                    </a:cubicBezTo>
                    <a:cubicBezTo>
                      <a:pt x="23" y="27"/>
                      <a:pt x="23" y="24"/>
                      <a:pt x="24" y="21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" name="Freeform 16"/>
              <p:cNvSpPr>
                <a:spLocks/>
              </p:cNvSpPr>
              <p:nvPr/>
            </p:nvSpPr>
            <p:spPr bwMode="auto">
              <a:xfrm>
                <a:off x="5878513" y="1350963"/>
                <a:ext cx="177800" cy="209550"/>
              </a:xfrm>
              <a:custGeom>
                <a:avLst/>
                <a:gdLst>
                  <a:gd name="T0" fmla="*/ 74 w 74"/>
                  <a:gd name="T1" fmla="*/ 55 h 86"/>
                  <a:gd name="T2" fmla="*/ 68 w 74"/>
                  <a:gd name="T3" fmla="*/ 42 h 86"/>
                  <a:gd name="T4" fmla="*/ 29 w 74"/>
                  <a:gd name="T5" fmla="*/ 0 h 86"/>
                  <a:gd name="T6" fmla="*/ 31 w 74"/>
                  <a:gd name="T7" fmla="*/ 76 h 86"/>
                  <a:gd name="T8" fmla="*/ 53 w 74"/>
                  <a:gd name="T9" fmla="*/ 86 h 86"/>
                  <a:gd name="T10" fmla="*/ 66 w 74"/>
                  <a:gd name="T11" fmla="*/ 83 h 86"/>
                  <a:gd name="T12" fmla="*/ 74 w 74"/>
                  <a:gd name="T13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86">
                    <a:moveTo>
                      <a:pt x="74" y="55"/>
                    </a:moveTo>
                    <a:cubicBezTo>
                      <a:pt x="69" y="52"/>
                      <a:pt x="68" y="42"/>
                      <a:pt x="68" y="4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0" y="47"/>
                      <a:pt x="31" y="76"/>
                    </a:cubicBezTo>
                    <a:cubicBezTo>
                      <a:pt x="37" y="82"/>
                      <a:pt x="45" y="85"/>
                      <a:pt x="53" y="86"/>
                    </a:cubicBezTo>
                    <a:cubicBezTo>
                      <a:pt x="58" y="86"/>
                      <a:pt x="62" y="85"/>
                      <a:pt x="66" y="83"/>
                    </a:cubicBezTo>
                    <a:cubicBezTo>
                      <a:pt x="69" y="81"/>
                      <a:pt x="71" y="78"/>
                      <a:pt x="74" y="77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" name="Freeform 17"/>
              <p:cNvSpPr>
                <a:spLocks/>
              </p:cNvSpPr>
              <p:nvPr/>
            </p:nvSpPr>
            <p:spPr bwMode="auto">
              <a:xfrm>
                <a:off x="6024563" y="1371600"/>
                <a:ext cx="106362" cy="96838"/>
              </a:xfrm>
              <a:custGeom>
                <a:avLst/>
                <a:gdLst>
                  <a:gd name="T0" fmla="*/ 44 w 44"/>
                  <a:gd name="T1" fmla="*/ 28 h 40"/>
                  <a:gd name="T2" fmla="*/ 20 w 44"/>
                  <a:gd name="T3" fmla="*/ 2 h 40"/>
                  <a:gd name="T4" fmla="*/ 9 w 44"/>
                  <a:gd name="T5" fmla="*/ 6 h 40"/>
                  <a:gd name="T6" fmla="*/ 0 w 44"/>
                  <a:gd name="T7" fmla="*/ 13 h 40"/>
                  <a:gd name="T8" fmla="*/ 10 w 44"/>
                  <a:gd name="T9" fmla="*/ 13 h 40"/>
                  <a:gd name="T10" fmla="*/ 23 w 44"/>
                  <a:gd name="T11" fmla="*/ 27 h 40"/>
                  <a:gd name="T12" fmla="*/ 22 w 44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40">
                    <a:moveTo>
                      <a:pt x="44" y="28"/>
                    </a:moveTo>
                    <a:cubicBezTo>
                      <a:pt x="44" y="28"/>
                      <a:pt x="37" y="6"/>
                      <a:pt x="20" y="2"/>
                    </a:cubicBezTo>
                    <a:cubicBezTo>
                      <a:pt x="20" y="2"/>
                      <a:pt x="13" y="0"/>
                      <a:pt x="9" y="6"/>
                    </a:cubicBezTo>
                    <a:cubicBezTo>
                      <a:pt x="9" y="6"/>
                      <a:pt x="1" y="7"/>
                      <a:pt x="0" y="13"/>
                    </a:cubicBezTo>
                    <a:cubicBezTo>
                      <a:pt x="0" y="13"/>
                      <a:pt x="7" y="11"/>
                      <a:pt x="10" y="13"/>
                    </a:cubicBezTo>
                    <a:cubicBezTo>
                      <a:pt x="10" y="13"/>
                      <a:pt x="22" y="19"/>
                      <a:pt x="23" y="27"/>
                    </a:cubicBezTo>
                    <a:cubicBezTo>
                      <a:pt x="24" y="31"/>
                      <a:pt x="24" y="36"/>
                      <a:pt x="22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" name="Line 18"/>
              <p:cNvSpPr>
                <a:spLocks noChangeShapeType="1"/>
              </p:cNvSpPr>
              <p:nvPr/>
            </p:nvSpPr>
            <p:spPr bwMode="auto">
              <a:xfrm flipH="1">
                <a:off x="5999163" y="1641475"/>
                <a:ext cx="36512" cy="30163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" name="Line 19"/>
              <p:cNvSpPr>
                <a:spLocks noChangeShapeType="1"/>
              </p:cNvSpPr>
              <p:nvPr/>
            </p:nvSpPr>
            <p:spPr bwMode="auto">
              <a:xfrm>
                <a:off x="6226175" y="1641475"/>
                <a:ext cx="38100" cy="30163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11" name="Line 20"/>
              <p:cNvSpPr>
                <a:spLocks noChangeShapeType="1"/>
              </p:cNvSpPr>
              <p:nvPr/>
            </p:nvSpPr>
            <p:spPr bwMode="auto">
              <a:xfrm>
                <a:off x="5935663" y="1595438"/>
                <a:ext cx="77787" cy="95250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12" name="Freeform 21"/>
              <p:cNvSpPr>
                <a:spLocks/>
              </p:cNvSpPr>
              <p:nvPr/>
            </p:nvSpPr>
            <p:spPr bwMode="auto">
              <a:xfrm>
                <a:off x="6129338" y="1636713"/>
                <a:ext cx="74612" cy="96838"/>
              </a:xfrm>
              <a:custGeom>
                <a:avLst/>
                <a:gdLst>
                  <a:gd name="T0" fmla="*/ 9 w 31"/>
                  <a:gd name="T1" fmla="*/ 0 h 40"/>
                  <a:gd name="T2" fmla="*/ 10 w 31"/>
                  <a:gd name="T3" fmla="*/ 4 h 40"/>
                  <a:gd name="T4" fmla="*/ 31 w 31"/>
                  <a:gd name="T5" fmla="*/ 22 h 40"/>
                  <a:gd name="T6" fmla="*/ 0 w 31"/>
                  <a:gd name="T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0">
                    <a:moveTo>
                      <a:pt x="9" y="0"/>
                    </a:moveTo>
                    <a:cubicBezTo>
                      <a:pt x="9" y="2"/>
                      <a:pt x="10" y="2"/>
                      <a:pt x="10" y="4"/>
                    </a:cubicBezTo>
                    <a:cubicBezTo>
                      <a:pt x="13" y="15"/>
                      <a:pt x="31" y="18"/>
                      <a:pt x="31" y="22"/>
                    </a:cubicBezTo>
                    <a:cubicBezTo>
                      <a:pt x="31" y="26"/>
                      <a:pt x="16" y="40"/>
                      <a:pt x="0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17" name="Freeform 22"/>
              <p:cNvSpPr>
                <a:spLocks/>
              </p:cNvSpPr>
              <p:nvPr/>
            </p:nvSpPr>
            <p:spPr bwMode="auto">
              <a:xfrm>
                <a:off x="6181725" y="1581150"/>
                <a:ext cx="58737" cy="76200"/>
              </a:xfrm>
              <a:custGeom>
                <a:avLst/>
                <a:gdLst>
                  <a:gd name="T0" fmla="*/ 9 w 24"/>
                  <a:gd name="T1" fmla="*/ 0 h 31"/>
                  <a:gd name="T2" fmla="*/ 21 w 24"/>
                  <a:gd name="T3" fmla="*/ 13 h 31"/>
                  <a:gd name="T4" fmla="*/ 13 w 24"/>
                  <a:gd name="T5" fmla="*/ 28 h 31"/>
                  <a:gd name="T6" fmla="*/ 3 w 24"/>
                  <a:gd name="T7" fmla="*/ 28 h 31"/>
                  <a:gd name="T8" fmla="*/ 0 w 24"/>
                  <a:gd name="T9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1">
                    <a:moveTo>
                      <a:pt x="9" y="0"/>
                    </a:moveTo>
                    <a:cubicBezTo>
                      <a:pt x="14" y="2"/>
                      <a:pt x="20" y="6"/>
                      <a:pt x="21" y="13"/>
                    </a:cubicBezTo>
                    <a:cubicBezTo>
                      <a:pt x="24" y="23"/>
                      <a:pt x="13" y="28"/>
                      <a:pt x="13" y="28"/>
                    </a:cubicBezTo>
                    <a:cubicBezTo>
                      <a:pt x="13" y="28"/>
                      <a:pt x="7" y="31"/>
                      <a:pt x="3" y="28"/>
                    </a:cubicBezTo>
                    <a:cubicBezTo>
                      <a:pt x="1" y="27"/>
                      <a:pt x="1" y="24"/>
                      <a:pt x="0" y="21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18" name="Freeform 23"/>
              <p:cNvSpPr>
                <a:spLocks/>
              </p:cNvSpPr>
              <p:nvPr/>
            </p:nvSpPr>
            <p:spPr bwMode="auto">
              <a:xfrm>
                <a:off x="6203950" y="1350963"/>
                <a:ext cx="179387" cy="209550"/>
              </a:xfrm>
              <a:custGeom>
                <a:avLst/>
                <a:gdLst>
                  <a:gd name="T0" fmla="*/ 0 w 74"/>
                  <a:gd name="T1" fmla="*/ 55 h 86"/>
                  <a:gd name="T2" fmla="*/ 6 w 74"/>
                  <a:gd name="T3" fmla="*/ 42 h 86"/>
                  <a:gd name="T4" fmla="*/ 45 w 74"/>
                  <a:gd name="T5" fmla="*/ 0 h 86"/>
                  <a:gd name="T6" fmla="*/ 43 w 74"/>
                  <a:gd name="T7" fmla="*/ 76 h 86"/>
                  <a:gd name="T8" fmla="*/ 20 w 74"/>
                  <a:gd name="T9" fmla="*/ 86 h 86"/>
                  <a:gd name="T10" fmla="*/ 8 w 74"/>
                  <a:gd name="T11" fmla="*/ 83 h 86"/>
                  <a:gd name="T12" fmla="*/ 0 w 74"/>
                  <a:gd name="T13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86">
                    <a:moveTo>
                      <a:pt x="0" y="55"/>
                    </a:moveTo>
                    <a:cubicBezTo>
                      <a:pt x="5" y="52"/>
                      <a:pt x="6" y="42"/>
                      <a:pt x="6" y="42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74" y="47"/>
                      <a:pt x="43" y="76"/>
                    </a:cubicBezTo>
                    <a:cubicBezTo>
                      <a:pt x="37" y="82"/>
                      <a:pt x="29" y="85"/>
                      <a:pt x="20" y="86"/>
                    </a:cubicBezTo>
                    <a:cubicBezTo>
                      <a:pt x="16" y="86"/>
                      <a:pt x="11" y="85"/>
                      <a:pt x="8" y="83"/>
                    </a:cubicBezTo>
                    <a:cubicBezTo>
                      <a:pt x="5" y="81"/>
                      <a:pt x="3" y="78"/>
                      <a:pt x="0" y="77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19" name="Freeform 24"/>
              <p:cNvSpPr>
                <a:spLocks/>
              </p:cNvSpPr>
              <p:nvPr/>
            </p:nvSpPr>
            <p:spPr bwMode="auto">
              <a:xfrm>
                <a:off x="6129338" y="1371600"/>
                <a:ext cx="106362" cy="96838"/>
              </a:xfrm>
              <a:custGeom>
                <a:avLst/>
                <a:gdLst>
                  <a:gd name="T0" fmla="*/ 0 w 44"/>
                  <a:gd name="T1" fmla="*/ 28 h 40"/>
                  <a:gd name="T2" fmla="*/ 24 w 44"/>
                  <a:gd name="T3" fmla="*/ 2 h 40"/>
                  <a:gd name="T4" fmla="*/ 35 w 44"/>
                  <a:gd name="T5" fmla="*/ 6 h 40"/>
                  <a:gd name="T6" fmla="*/ 44 w 44"/>
                  <a:gd name="T7" fmla="*/ 13 h 40"/>
                  <a:gd name="T8" fmla="*/ 34 w 44"/>
                  <a:gd name="T9" fmla="*/ 13 h 40"/>
                  <a:gd name="T10" fmla="*/ 21 w 44"/>
                  <a:gd name="T11" fmla="*/ 27 h 40"/>
                  <a:gd name="T12" fmla="*/ 21 w 44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40">
                    <a:moveTo>
                      <a:pt x="0" y="28"/>
                    </a:moveTo>
                    <a:cubicBezTo>
                      <a:pt x="0" y="28"/>
                      <a:pt x="7" y="6"/>
                      <a:pt x="24" y="2"/>
                    </a:cubicBezTo>
                    <a:cubicBezTo>
                      <a:pt x="24" y="2"/>
                      <a:pt x="31" y="0"/>
                      <a:pt x="35" y="6"/>
                    </a:cubicBezTo>
                    <a:cubicBezTo>
                      <a:pt x="35" y="6"/>
                      <a:pt x="43" y="7"/>
                      <a:pt x="44" y="13"/>
                    </a:cubicBezTo>
                    <a:cubicBezTo>
                      <a:pt x="44" y="13"/>
                      <a:pt x="37" y="11"/>
                      <a:pt x="34" y="13"/>
                    </a:cubicBezTo>
                    <a:cubicBezTo>
                      <a:pt x="34" y="13"/>
                      <a:pt x="22" y="19"/>
                      <a:pt x="21" y="27"/>
                    </a:cubicBezTo>
                    <a:cubicBezTo>
                      <a:pt x="20" y="31"/>
                      <a:pt x="20" y="36"/>
                      <a:pt x="21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20" name="Oval 25"/>
              <p:cNvSpPr>
                <a:spLocks noChangeArrowheads="1"/>
              </p:cNvSpPr>
              <p:nvPr/>
            </p:nvSpPr>
            <p:spPr bwMode="auto">
              <a:xfrm>
                <a:off x="6254750" y="1625600"/>
                <a:ext cx="52387" cy="52388"/>
              </a:xfrm>
              <a:prstGeom prst="ellips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21" name="Freeform 26"/>
              <p:cNvSpPr>
                <a:spLocks/>
              </p:cNvSpPr>
              <p:nvPr/>
            </p:nvSpPr>
            <p:spPr bwMode="auto">
              <a:xfrm>
                <a:off x="5907088" y="1560513"/>
                <a:ext cx="38100" cy="39688"/>
              </a:xfrm>
              <a:custGeom>
                <a:avLst/>
                <a:gdLst>
                  <a:gd name="T0" fmla="*/ 13 w 16"/>
                  <a:gd name="T1" fmla="*/ 5 h 17"/>
                  <a:gd name="T2" fmla="*/ 12 w 16"/>
                  <a:gd name="T3" fmla="*/ 14 h 17"/>
                  <a:gd name="T4" fmla="*/ 2 w 16"/>
                  <a:gd name="T5" fmla="*/ 13 h 17"/>
                  <a:gd name="T6" fmla="*/ 0 w 16"/>
                  <a:gd name="T7" fmla="*/ 0 h 17"/>
                  <a:gd name="T8" fmla="*/ 13 w 16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3" y="5"/>
                    </a:moveTo>
                    <a:cubicBezTo>
                      <a:pt x="16" y="8"/>
                      <a:pt x="15" y="12"/>
                      <a:pt x="12" y="14"/>
                    </a:cubicBezTo>
                    <a:cubicBezTo>
                      <a:pt x="9" y="17"/>
                      <a:pt x="5" y="16"/>
                      <a:pt x="2" y="13"/>
                    </a:cubicBezTo>
                    <a:cubicBezTo>
                      <a:pt x="0" y="10"/>
                      <a:pt x="0" y="0"/>
                      <a:pt x="0" y="0"/>
                    </a:cubicBezTo>
                    <a:cubicBezTo>
                      <a:pt x="0" y="0"/>
                      <a:pt x="11" y="2"/>
                      <a:pt x="13" y="5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22" name="Freeform 27"/>
              <p:cNvSpPr>
                <a:spLocks/>
              </p:cNvSpPr>
              <p:nvPr/>
            </p:nvSpPr>
            <p:spPr bwMode="auto">
              <a:xfrm>
                <a:off x="6056313" y="1468438"/>
                <a:ext cx="147637" cy="184150"/>
              </a:xfrm>
              <a:custGeom>
                <a:avLst/>
                <a:gdLst>
                  <a:gd name="T0" fmla="*/ 30 w 61"/>
                  <a:gd name="T1" fmla="*/ 0 h 76"/>
                  <a:gd name="T2" fmla="*/ 52 w 61"/>
                  <a:gd name="T3" fmla="*/ 0 h 76"/>
                  <a:gd name="T4" fmla="*/ 61 w 61"/>
                  <a:gd name="T5" fmla="*/ 0 h 76"/>
                  <a:gd name="T6" fmla="*/ 61 w 61"/>
                  <a:gd name="T7" fmla="*/ 59 h 76"/>
                  <a:gd name="T8" fmla="*/ 58 w 61"/>
                  <a:gd name="T9" fmla="*/ 65 h 76"/>
                  <a:gd name="T10" fmla="*/ 44 w 61"/>
                  <a:gd name="T11" fmla="*/ 69 h 76"/>
                  <a:gd name="T12" fmla="*/ 30 w 61"/>
                  <a:gd name="T13" fmla="*/ 76 h 76"/>
                  <a:gd name="T14" fmla="*/ 17 w 61"/>
                  <a:gd name="T15" fmla="*/ 69 h 76"/>
                  <a:gd name="T16" fmla="*/ 3 w 61"/>
                  <a:gd name="T17" fmla="*/ 65 h 76"/>
                  <a:gd name="T18" fmla="*/ 0 w 61"/>
                  <a:gd name="T19" fmla="*/ 59 h 76"/>
                  <a:gd name="T20" fmla="*/ 0 w 61"/>
                  <a:gd name="T21" fmla="*/ 0 h 76"/>
                  <a:gd name="T22" fmla="*/ 9 w 61"/>
                  <a:gd name="T23" fmla="*/ 0 h 76"/>
                  <a:gd name="T24" fmla="*/ 30 w 61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76">
                    <a:moveTo>
                      <a:pt x="30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1" y="61"/>
                      <a:pt x="60" y="64"/>
                      <a:pt x="58" y="65"/>
                    </a:cubicBezTo>
                    <a:cubicBezTo>
                      <a:pt x="55" y="68"/>
                      <a:pt x="48" y="68"/>
                      <a:pt x="44" y="69"/>
                    </a:cubicBezTo>
                    <a:cubicBezTo>
                      <a:pt x="39" y="70"/>
                      <a:pt x="34" y="72"/>
                      <a:pt x="30" y="76"/>
                    </a:cubicBezTo>
                    <a:cubicBezTo>
                      <a:pt x="26" y="72"/>
                      <a:pt x="22" y="70"/>
                      <a:pt x="17" y="69"/>
                    </a:cubicBezTo>
                    <a:cubicBezTo>
                      <a:pt x="13" y="68"/>
                      <a:pt x="6" y="68"/>
                      <a:pt x="3" y="65"/>
                    </a:cubicBezTo>
                    <a:cubicBezTo>
                      <a:pt x="1" y="64"/>
                      <a:pt x="0" y="61"/>
                      <a:pt x="0" y="5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lnTo>
                      <a:pt x="30" y="0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23" name="Line 28"/>
              <p:cNvSpPr>
                <a:spLocks noChangeShapeType="1"/>
              </p:cNvSpPr>
              <p:nvPr/>
            </p:nvSpPr>
            <p:spPr bwMode="auto">
              <a:xfrm>
                <a:off x="6129338" y="1274763"/>
                <a:ext cx="0" cy="23813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24" name="Line 29"/>
              <p:cNvSpPr>
                <a:spLocks noChangeShapeType="1"/>
              </p:cNvSpPr>
              <p:nvPr/>
            </p:nvSpPr>
            <p:spPr bwMode="auto">
              <a:xfrm>
                <a:off x="6119813" y="1281113"/>
                <a:ext cx="19050" cy="0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25" name="Freeform 30"/>
              <p:cNvSpPr>
                <a:spLocks/>
              </p:cNvSpPr>
              <p:nvPr/>
            </p:nvSpPr>
            <p:spPr bwMode="auto">
              <a:xfrm>
                <a:off x="6075363" y="1290638"/>
                <a:ext cx="53975" cy="82550"/>
              </a:xfrm>
              <a:custGeom>
                <a:avLst/>
                <a:gdLst>
                  <a:gd name="T0" fmla="*/ 22 w 22"/>
                  <a:gd name="T1" fmla="*/ 3 h 34"/>
                  <a:gd name="T2" fmla="*/ 4 w 22"/>
                  <a:gd name="T3" fmla="*/ 8 h 34"/>
                  <a:gd name="T4" fmla="*/ 9 w 22"/>
                  <a:gd name="T5" fmla="*/ 29 h 34"/>
                  <a:gd name="T6" fmla="*/ 9 w 22"/>
                  <a:gd name="T7" fmla="*/ 34 h 34"/>
                  <a:gd name="T8" fmla="*/ 22 w 2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4">
                    <a:moveTo>
                      <a:pt x="22" y="3"/>
                    </a:moveTo>
                    <a:cubicBezTo>
                      <a:pt x="16" y="0"/>
                      <a:pt x="7" y="1"/>
                      <a:pt x="4" y="8"/>
                    </a:cubicBezTo>
                    <a:cubicBezTo>
                      <a:pt x="0" y="15"/>
                      <a:pt x="3" y="23"/>
                      <a:pt x="9" y="29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22" y="34"/>
                      <a:pt x="22" y="34"/>
                      <a:pt x="22" y="34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26" name="Freeform 31"/>
              <p:cNvSpPr>
                <a:spLocks/>
              </p:cNvSpPr>
              <p:nvPr/>
            </p:nvSpPr>
            <p:spPr bwMode="auto">
              <a:xfrm>
                <a:off x="6129338" y="1290638"/>
                <a:ext cx="52387" cy="82550"/>
              </a:xfrm>
              <a:custGeom>
                <a:avLst/>
                <a:gdLst>
                  <a:gd name="T0" fmla="*/ 0 w 22"/>
                  <a:gd name="T1" fmla="*/ 3 h 34"/>
                  <a:gd name="T2" fmla="*/ 19 w 22"/>
                  <a:gd name="T3" fmla="*/ 8 h 34"/>
                  <a:gd name="T4" fmla="*/ 14 w 22"/>
                  <a:gd name="T5" fmla="*/ 29 h 34"/>
                  <a:gd name="T6" fmla="*/ 14 w 22"/>
                  <a:gd name="T7" fmla="*/ 34 h 34"/>
                  <a:gd name="T8" fmla="*/ 0 w 2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4">
                    <a:moveTo>
                      <a:pt x="0" y="3"/>
                    </a:moveTo>
                    <a:cubicBezTo>
                      <a:pt x="6" y="0"/>
                      <a:pt x="16" y="1"/>
                      <a:pt x="19" y="8"/>
                    </a:cubicBezTo>
                    <a:cubicBezTo>
                      <a:pt x="22" y="15"/>
                      <a:pt x="19" y="23"/>
                      <a:pt x="14" y="29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0" y="34"/>
                      <a:pt x="0" y="34"/>
                      <a:pt x="0" y="34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498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8620" y="289439"/>
            <a:ext cx="8578440" cy="457874"/>
          </a:xfrm>
        </p:spPr>
        <p:txBody>
          <a:bodyPr>
            <a:noAutofit/>
          </a:bodyPr>
          <a:lstStyle/>
          <a:p>
            <a:r>
              <a:rPr lang="ru-RU" b="0" dirty="0" err="1">
                <a:solidFill>
                  <a:schemeClr val="accent1"/>
                </a:solidFill>
                <a:latin typeface="+mj-lt"/>
              </a:rPr>
              <a:t>Пальяновская</a:t>
            </a:r>
            <a:r>
              <a:rPr lang="ru-RU" b="0" dirty="0">
                <a:solidFill>
                  <a:schemeClr val="accent1"/>
                </a:solidFill>
                <a:latin typeface="+mj-lt"/>
              </a:rPr>
              <a:t> площадь </a:t>
            </a:r>
            <a:r>
              <a:rPr lang="ru-RU" b="0" dirty="0" err="1">
                <a:solidFill>
                  <a:schemeClr val="accent1"/>
                </a:solidFill>
                <a:latin typeface="+mj-lt"/>
              </a:rPr>
              <a:t>Красноленинского</a:t>
            </a:r>
            <a:r>
              <a:rPr lang="ru-RU" b="0" dirty="0">
                <a:solidFill>
                  <a:schemeClr val="accent1"/>
                </a:solidFill>
                <a:latin typeface="+mj-lt"/>
              </a:rPr>
              <a:t> месторождения – </a:t>
            </a:r>
            <a:br>
              <a:rPr lang="ru-RU" b="0" dirty="0">
                <a:solidFill>
                  <a:schemeClr val="accent1"/>
                </a:solidFill>
                <a:latin typeface="+mj-lt"/>
              </a:rPr>
            </a:br>
            <a:r>
              <a:rPr lang="ru-RU" b="0" dirty="0">
                <a:solidFill>
                  <a:schemeClr val="accent1"/>
                </a:solidFill>
                <a:latin typeface="+mj-lt"/>
              </a:rPr>
              <a:t>идеальный лицензионный участок для «Технологического центра «</a:t>
            </a:r>
            <a:r>
              <a:rPr lang="ru-RU" b="0" dirty="0" err="1">
                <a:solidFill>
                  <a:schemeClr val="accent1"/>
                </a:solidFill>
                <a:latin typeface="+mj-lt"/>
              </a:rPr>
              <a:t>Бажен</a:t>
            </a:r>
            <a:r>
              <a:rPr lang="ru-RU" b="0" dirty="0">
                <a:solidFill>
                  <a:schemeClr val="accent1"/>
                </a:solidFill>
                <a:latin typeface="+mj-lt"/>
              </a:rPr>
              <a:t>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8665" y="880721"/>
            <a:ext cx="3848184" cy="2526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450"/>
              </a:spcBef>
              <a:spcAft>
                <a:spcPts val="900"/>
              </a:spcAft>
            </a:pPr>
            <a:r>
              <a:rPr lang="ru-RU" sz="1200" b="1" dirty="0">
                <a:solidFill>
                  <a:srgbClr val="FF8524"/>
                </a:solidFill>
                <a:latin typeface="HeliosCond" panose="020B0500000000000000" pitchFamily="34" charset="-52"/>
                <a:cs typeface="Arial" panose="020B0604020202020204" pitchFamily="34" charset="0"/>
              </a:rPr>
              <a:t>Опыт работ на </a:t>
            </a:r>
            <a:r>
              <a:rPr lang="ru-RU" sz="1200" b="1" dirty="0" err="1">
                <a:solidFill>
                  <a:srgbClr val="FF8524"/>
                </a:solidFill>
                <a:latin typeface="HeliosCond" panose="020B0500000000000000" pitchFamily="34" charset="-52"/>
                <a:cs typeface="Arial" panose="020B0604020202020204" pitchFamily="34" charset="0"/>
              </a:rPr>
              <a:t>баженовской</a:t>
            </a:r>
            <a:r>
              <a:rPr lang="ru-RU" sz="1200" b="1" dirty="0">
                <a:solidFill>
                  <a:srgbClr val="FF8524"/>
                </a:solidFill>
                <a:latin typeface="HeliosCond" panose="020B0500000000000000" pitchFamily="34" charset="-52"/>
                <a:cs typeface="Arial" panose="020B0604020202020204" pitchFamily="34" charset="0"/>
              </a:rPr>
              <a:t> свите</a:t>
            </a:r>
          </a:p>
          <a:p>
            <a:pPr marL="540000" lvl="1">
              <a:lnSpc>
                <a:spcPct val="90000"/>
              </a:lnSpc>
              <a:spcBef>
                <a:spcPts val="900"/>
              </a:spcBef>
            </a:pPr>
            <a:r>
              <a:rPr lang="ru-RU" sz="1050" b="1" dirty="0">
                <a:solidFill>
                  <a:srgbClr val="FF8524"/>
                </a:solidFill>
                <a:latin typeface="HeliosCond" panose="020B0500000000000000" pitchFamily="34" charset="-52"/>
              </a:rPr>
              <a:t>Технологический опыт</a:t>
            </a:r>
          </a:p>
          <a:p>
            <a:pPr marL="814388" lvl="2" indent="-128588">
              <a:lnSpc>
                <a:spcPct val="90000"/>
              </a:lnSpc>
              <a:spcBef>
                <a:spcPts val="450"/>
              </a:spcBef>
              <a:buClr>
                <a:srgbClr val="FF8524"/>
              </a:buClr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5 вертикальных скважин для всестороннего изучения</a:t>
            </a:r>
            <a:b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</a:br>
            <a:r>
              <a:rPr lang="ru-RU" sz="900" dirty="0" err="1">
                <a:solidFill>
                  <a:srgbClr val="706F6F"/>
                </a:solidFill>
                <a:latin typeface="HeliosCond" panose="020B0500000000000000" pitchFamily="34" charset="-52"/>
              </a:rPr>
              <a:t>баженовской</a:t>
            </a: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 свиты</a:t>
            </a:r>
          </a:p>
          <a:p>
            <a:pPr marL="814388" lvl="2" indent="-128588">
              <a:lnSpc>
                <a:spcPct val="90000"/>
              </a:lnSpc>
              <a:spcBef>
                <a:spcPts val="450"/>
              </a:spcBef>
              <a:buClr>
                <a:srgbClr val="FF8524"/>
              </a:buClr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2 скважины для отработки технологий бурения и настройки </a:t>
            </a:r>
            <a:r>
              <a:rPr lang="ru-RU" sz="900" dirty="0" err="1">
                <a:solidFill>
                  <a:srgbClr val="706F6F"/>
                </a:solidFill>
                <a:latin typeface="HeliosCond" panose="020B0500000000000000" pitchFamily="34" charset="-52"/>
              </a:rPr>
              <a:t>геомеханической</a:t>
            </a: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 модели</a:t>
            </a:r>
          </a:p>
          <a:p>
            <a:pPr marL="814388" lvl="2" indent="-128588">
              <a:lnSpc>
                <a:spcPct val="90000"/>
              </a:lnSpc>
              <a:spcBef>
                <a:spcPts val="450"/>
              </a:spcBef>
              <a:buClr>
                <a:srgbClr val="FF8524"/>
              </a:buClr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2 горизонтальные скважины длиной 1 000 м</a:t>
            </a:r>
            <a:b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</a:b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с многостадийным ГРП</a:t>
            </a:r>
          </a:p>
          <a:p>
            <a:pPr marL="540000" lvl="1">
              <a:lnSpc>
                <a:spcPct val="90000"/>
              </a:lnSpc>
              <a:spcBef>
                <a:spcPts val="900"/>
              </a:spcBef>
            </a:pPr>
            <a:r>
              <a:rPr lang="ru-RU" sz="1050" b="1" dirty="0">
                <a:solidFill>
                  <a:srgbClr val="FF8524"/>
                </a:solidFill>
                <a:latin typeface="HeliosCond" panose="020B0500000000000000" pitchFamily="34" charset="-52"/>
              </a:rPr>
              <a:t>Геологическая изученность</a:t>
            </a:r>
          </a:p>
          <a:p>
            <a:pPr marL="814388" lvl="2" indent="-128588">
              <a:lnSpc>
                <a:spcPct val="90000"/>
              </a:lnSpc>
              <a:spcBef>
                <a:spcPts val="450"/>
              </a:spcBef>
              <a:buClr>
                <a:srgbClr val="FF8524"/>
              </a:buClr>
              <a:buFont typeface="Arial" panose="020B0604020202020204" pitchFamily="34" charset="0"/>
              <a:buChar char="•"/>
            </a:pPr>
            <a:r>
              <a:rPr lang="ru-RU" sz="900" dirty="0" err="1">
                <a:solidFill>
                  <a:srgbClr val="706F6F"/>
                </a:solidFill>
                <a:latin typeface="HeliosCond" panose="020B0500000000000000" pitchFamily="34" charset="-52"/>
              </a:rPr>
              <a:t>Геомеханическая</a:t>
            </a: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 модель разреза</a:t>
            </a:r>
          </a:p>
          <a:p>
            <a:pPr marL="814388" lvl="2" indent="-128588">
              <a:lnSpc>
                <a:spcPct val="90000"/>
              </a:lnSpc>
              <a:spcBef>
                <a:spcPts val="450"/>
              </a:spcBef>
              <a:buClr>
                <a:srgbClr val="FF8524"/>
              </a:buClr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Расширенный комплекс ГИС</a:t>
            </a:r>
          </a:p>
          <a:p>
            <a:pPr marL="814388" lvl="2" indent="-128588">
              <a:lnSpc>
                <a:spcPct val="90000"/>
              </a:lnSpc>
              <a:spcBef>
                <a:spcPts val="450"/>
              </a:spcBef>
              <a:buClr>
                <a:srgbClr val="FF8524"/>
              </a:buClr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Исследования керна (выделение перспективных </a:t>
            </a:r>
            <a:b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</a:br>
            <a:r>
              <a:rPr lang="ru-RU" sz="900" dirty="0" err="1">
                <a:solidFill>
                  <a:srgbClr val="706F6F"/>
                </a:solidFill>
                <a:latin typeface="HeliosCond" panose="020B0500000000000000" pitchFamily="34" charset="-52"/>
              </a:rPr>
              <a:t>пропластков</a:t>
            </a:r>
            <a:r>
              <a:rPr lang="ru-RU" sz="900" dirty="0">
                <a:solidFill>
                  <a:srgbClr val="706F6F"/>
                </a:solidFill>
                <a:latin typeface="HeliosCond" panose="020B0500000000000000" pitchFamily="34" charset="-52"/>
              </a:rPr>
              <a:t>, изменчивость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776494" y="880721"/>
            <a:ext cx="3080566" cy="3857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450"/>
              </a:spcBef>
              <a:spcAft>
                <a:spcPts val="900"/>
              </a:spcAft>
            </a:pPr>
            <a:r>
              <a:rPr lang="ru-RU" sz="1350" b="1" dirty="0" err="1">
                <a:solidFill>
                  <a:srgbClr val="706F6F"/>
                </a:solidFill>
                <a:latin typeface="HeliosCond" panose="020B0500000000000000" pitchFamily="34" charset="-52"/>
                <a:cs typeface="Arial" panose="020B0604020202020204" pitchFamily="34" charset="0"/>
              </a:rPr>
              <a:t>Пальяновский</a:t>
            </a:r>
            <a:r>
              <a:rPr lang="ru-RU" sz="1350" b="1" dirty="0">
                <a:solidFill>
                  <a:srgbClr val="706F6F"/>
                </a:solidFill>
                <a:latin typeface="HeliosCond" panose="020B0500000000000000" pitchFamily="34" charset="-52"/>
                <a:cs typeface="Arial" panose="020B0604020202020204" pitchFamily="34" charset="0"/>
              </a:rPr>
              <a:t> проект</a:t>
            </a:r>
          </a:p>
          <a:p>
            <a:pPr lvl="2"/>
            <a:endParaRPr lang="ru-RU" sz="1050" b="1" dirty="0">
              <a:solidFill>
                <a:srgbClr val="7F7F7F"/>
              </a:solidFill>
            </a:endParaRPr>
          </a:p>
          <a:p>
            <a:pPr marL="450850" lvl="2"/>
            <a:r>
              <a:rPr lang="ru-RU" sz="1050" b="1" dirty="0">
                <a:solidFill>
                  <a:srgbClr val="7F7F7F"/>
                </a:solidFill>
              </a:rPr>
              <a:t>Объекты добычи нефти и газа</a:t>
            </a:r>
            <a:endParaRPr lang="ru-RU" sz="1050" dirty="0">
              <a:solidFill>
                <a:srgbClr val="7F7F7F"/>
              </a:solidFill>
            </a:endParaRP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12 кустовых площадок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30 км нефтесборных сетей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19 км  водоводов</a:t>
            </a:r>
          </a:p>
          <a:p>
            <a:pPr marL="539750" indent="-88900"/>
            <a:r>
              <a:rPr lang="ru-RU" sz="900" dirty="0">
                <a:solidFill>
                  <a:srgbClr val="7F7F7F"/>
                </a:solidFill>
              </a:rPr>
              <a:t> </a:t>
            </a:r>
          </a:p>
          <a:p>
            <a:pPr marL="539750" lvl="2" indent="-88900"/>
            <a:endParaRPr lang="ru-RU" sz="1050" b="1" dirty="0">
              <a:solidFill>
                <a:srgbClr val="7F7F7F"/>
              </a:solidFill>
            </a:endParaRPr>
          </a:p>
          <a:p>
            <a:pPr marL="539750" lvl="2" indent="-88900"/>
            <a:r>
              <a:rPr lang="ru-RU" sz="1050" b="1" dirty="0">
                <a:solidFill>
                  <a:srgbClr val="7F7F7F"/>
                </a:solidFill>
              </a:rPr>
              <a:t>Развитая инфраструктура</a:t>
            </a:r>
            <a:endParaRPr lang="ru-RU" sz="1050" dirty="0">
              <a:solidFill>
                <a:srgbClr val="7F7F7F"/>
              </a:solidFill>
            </a:endParaRP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Нефть транспортируется по существующей системе трубопроводов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Попутный нефтяной газ используется на собственные нужды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Энергоснабжение осуществляется от существующей сети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Круглогодичная транспортная доступность по федеральным трассам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endParaRPr lang="ru-RU" sz="900" dirty="0">
              <a:solidFill>
                <a:srgbClr val="7F7F7F"/>
              </a:solidFill>
            </a:endParaRPr>
          </a:p>
          <a:p>
            <a:pPr marL="539750" lvl="2" indent="-88900"/>
            <a:endParaRPr lang="ru-RU" sz="1050" b="1" dirty="0">
              <a:solidFill>
                <a:srgbClr val="7F7F7F"/>
              </a:solidFill>
            </a:endParaRPr>
          </a:p>
          <a:p>
            <a:pPr marL="539750" lvl="2" indent="-88900"/>
            <a:r>
              <a:rPr lang="ru-RU" sz="1050" b="1" dirty="0">
                <a:solidFill>
                  <a:srgbClr val="7F7F7F"/>
                </a:solidFill>
              </a:rPr>
              <a:t>Геологическая изученность</a:t>
            </a:r>
            <a:endParaRPr lang="ru-RU" sz="1050" dirty="0">
              <a:solidFill>
                <a:srgbClr val="7F7F7F"/>
              </a:solidFill>
            </a:endParaRP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 err="1">
                <a:solidFill>
                  <a:srgbClr val="7F7F7F"/>
                </a:solidFill>
              </a:rPr>
              <a:t>Геомеханическая</a:t>
            </a:r>
            <a:r>
              <a:rPr lang="ru-RU" sz="900" dirty="0">
                <a:solidFill>
                  <a:srgbClr val="7F7F7F"/>
                </a:solidFill>
              </a:rPr>
              <a:t> модель разреза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Расширенный комплекс геофизических исследований</a:t>
            </a:r>
          </a:p>
          <a:p>
            <a:pPr marL="539750" lvl="2" indent="-88900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7F7F7F"/>
                </a:solidFill>
              </a:rPr>
              <a:t>Исследования керна (выделение перспективных </a:t>
            </a:r>
            <a:r>
              <a:rPr lang="ru-RU" sz="900" dirty="0" err="1">
                <a:solidFill>
                  <a:srgbClr val="7F7F7F"/>
                </a:solidFill>
              </a:rPr>
              <a:t>пропластков</a:t>
            </a:r>
            <a:r>
              <a:rPr lang="ru-RU" sz="900" dirty="0">
                <a:solidFill>
                  <a:srgbClr val="7F7F7F"/>
                </a:solidFill>
              </a:rPr>
              <a:t>, изменчивость)</a:t>
            </a:r>
          </a:p>
        </p:txBody>
      </p:sp>
      <p:grpSp>
        <p:nvGrpSpPr>
          <p:cNvPr id="42" name="Группа 41"/>
          <p:cNvGrpSpPr/>
          <p:nvPr/>
        </p:nvGrpSpPr>
        <p:grpSpPr>
          <a:xfrm>
            <a:off x="322065" y="1212058"/>
            <a:ext cx="364331" cy="364331"/>
            <a:chOff x="429419" y="1616076"/>
            <a:chExt cx="485775" cy="485775"/>
          </a:xfrm>
        </p:grpSpPr>
        <p:sp>
          <p:nvSpPr>
            <p:cNvPr id="15" name="Oval 753"/>
            <p:cNvSpPr>
              <a:spLocks noChangeArrowheads="1"/>
            </p:cNvSpPr>
            <p:nvPr/>
          </p:nvSpPr>
          <p:spPr bwMode="auto">
            <a:xfrm>
              <a:off x="429419" y="1616076"/>
              <a:ext cx="485775" cy="4857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6" name="Freeform 754"/>
            <p:cNvSpPr>
              <a:spLocks/>
            </p:cNvSpPr>
            <p:nvPr/>
          </p:nvSpPr>
          <p:spPr bwMode="auto">
            <a:xfrm>
              <a:off x="538956" y="1685926"/>
              <a:ext cx="139700" cy="179388"/>
            </a:xfrm>
            <a:custGeom>
              <a:avLst/>
              <a:gdLst>
                <a:gd name="T0" fmla="*/ 70 w 70"/>
                <a:gd name="T1" fmla="*/ 83 h 90"/>
                <a:gd name="T2" fmla="*/ 50 w 70"/>
                <a:gd name="T3" fmla="*/ 64 h 90"/>
                <a:gd name="T4" fmla="*/ 49 w 70"/>
                <a:gd name="T5" fmla="*/ 63 h 90"/>
                <a:gd name="T6" fmla="*/ 45 w 70"/>
                <a:gd name="T7" fmla="*/ 41 h 90"/>
                <a:gd name="T8" fmla="*/ 40 w 70"/>
                <a:gd name="T9" fmla="*/ 16 h 90"/>
                <a:gd name="T10" fmla="*/ 30 w 70"/>
                <a:gd name="T11" fmla="*/ 7 h 90"/>
                <a:gd name="T12" fmla="*/ 0 w 70"/>
                <a:gd name="T13" fmla="*/ 13 h 90"/>
                <a:gd name="T14" fmla="*/ 20 w 70"/>
                <a:gd name="T15" fmla="*/ 21 h 90"/>
                <a:gd name="T16" fmla="*/ 21 w 70"/>
                <a:gd name="T17" fmla="*/ 30 h 90"/>
                <a:gd name="T18" fmla="*/ 12 w 70"/>
                <a:gd name="T19" fmla="*/ 62 h 90"/>
                <a:gd name="T20" fmla="*/ 40 w 70"/>
                <a:gd name="T21" fmla="*/ 74 h 90"/>
                <a:gd name="T22" fmla="*/ 54 w 70"/>
                <a:gd name="T2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90">
                  <a:moveTo>
                    <a:pt x="70" y="83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49" y="64"/>
                    <a:pt x="49" y="63"/>
                    <a:pt x="49" y="63"/>
                  </a:cubicBezTo>
                  <a:cubicBezTo>
                    <a:pt x="46" y="56"/>
                    <a:pt x="46" y="48"/>
                    <a:pt x="45" y="41"/>
                  </a:cubicBezTo>
                  <a:cubicBezTo>
                    <a:pt x="44" y="32"/>
                    <a:pt x="45" y="23"/>
                    <a:pt x="40" y="16"/>
                  </a:cubicBezTo>
                  <a:cubicBezTo>
                    <a:pt x="38" y="13"/>
                    <a:pt x="34" y="9"/>
                    <a:pt x="30" y="7"/>
                  </a:cubicBezTo>
                  <a:cubicBezTo>
                    <a:pt x="12" y="0"/>
                    <a:pt x="0" y="13"/>
                    <a:pt x="0" y="13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31" y="68"/>
                    <a:pt x="40" y="74"/>
                  </a:cubicBezTo>
                  <a:cubicBezTo>
                    <a:pt x="54" y="90"/>
                    <a:pt x="54" y="90"/>
                    <a:pt x="54" y="90"/>
                  </a:cubicBezTo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" name="Freeform 755"/>
            <p:cNvSpPr>
              <a:spLocks/>
            </p:cNvSpPr>
            <p:nvPr/>
          </p:nvSpPr>
          <p:spPr bwMode="auto">
            <a:xfrm>
              <a:off x="675481" y="1862138"/>
              <a:ext cx="146050" cy="157163"/>
            </a:xfrm>
            <a:custGeom>
              <a:avLst/>
              <a:gdLst>
                <a:gd name="T0" fmla="*/ 0 w 73"/>
                <a:gd name="T1" fmla="*/ 18 h 79"/>
                <a:gd name="T2" fmla="*/ 51 w 73"/>
                <a:gd name="T3" fmla="*/ 75 h 79"/>
                <a:gd name="T4" fmla="*/ 68 w 73"/>
                <a:gd name="T5" fmla="*/ 74 h 79"/>
                <a:gd name="T6" fmla="*/ 69 w 73"/>
                <a:gd name="T7" fmla="*/ 57 h 79"/>
                <a:gd name="T8" fmla="*/ 6 w 73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79">
                  <a:moveTo>
                    <a:pt x="0" y="18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6" y="79"/>
                    <a:pt x="63" y="79"/>
                    <a:pt x="68" y="74"/>
                  </a:cubicBezTo>
                  <a:cubicBezTo>
                    <a:pt x="73" y="69"/>
                    <a:pt x="73" y="62"/>
                    <a:pt x="69" y="57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" name="Freeform 756"/>
            <p:cNvSpPr>
              <a:spLocks/>
            </p:cNvSpPr>
            <p:nvPr/>
          </p:nvSpPr>
          <p:spPr bwMode="auto">
            <a:xfrm>
              <a:off x="524669" y="1739901"/>
              <a:ext cx="49213" cy="58738"/>
            </a:xfrm>
            <a:custGeom>
              <a:avLst/>
              <a:gdLst>
                <a:gd name="T0" fmla="*/ 25 w 25"/>
                <a:gd name="T1" fmla="*/ 9 h 30"/>
                <a:gd name="T2" fmla="*/ 2 w 25"/>
                <a:gd name="T3" fmla="*/ 0 h 30"/>
                <a:gd name="T4" fmla="*/ 20 w 25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30">
                  <a:moveTo>
                    <a:pt x="25" y="9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0" y="22"/>
                    <a:pt x="20" y="30"/>
                  </a:cubicBezTo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" name="Freeform 757"/>
            <p:cNvSpPr>
              <a:spLocks/>
            </p:cNvSpPr>
            <p:nvPr/>
          </p:nvSpPr>
          <p:spPr bwMode="auto">
            <a:xfrm>
              <a:off x="672306" y="1706563"/>
              <a:ext cx="150813" cy="163513"/>
            </a:xfrm>
            <a:custGeom>
              <a:avLst/>
              <a:gdLst>
                <a:gd name="T0" fmla="*/ 0 w 95"/>
                <a:gd name="T1" fmla="*/ 96 h 103"/>
                <a:gd name="T2" fmla="*/ 5 w 95"/>
                <a:gd name="T3" fmla="*/ 103 h 103"/>
                <a:gd name="T4" fmla="*/ 79 w 95"/>
                <a:gd name="T5" fmla="*/ 23 h 103"/>
                <a:gd name="T6" fmla="*/ 88 w 95"/>
                <a:gd name="T7" fmla="*/ 23 h 103"/>
                <a:gd name="T8" fmla="*/ 95 w 95"/>
                <a:gd name="T9" fmla="*/ 6 h 103"/>
                <a:gd name="T10" fmla="*/ 89 w 95"/>
                <a:gd name="T11" fmla="*/ 0 h 103"/>
                <a:gd name="T12" fmla="*/ 73 w 95"/>
                <a:gd name="T13" fmla="*/ 8 h 103"/>
                <a:gd name="T14" fmla="*/ 73 w 95"/>
                <a:gd name="T15" fmla="*/ 17 h 103"/>
                <a:gd name="T16" fmla="*/ 0 w 95"/>
                <a:gd name="T17" fmla="*/ 9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103">
                  <a:moveTo>
                    <a:pt x="0" y="96"/>
                  </a:moveTo>
                  <a:lnTo>
                    <a:pt x="5" y="103"/>
                  </a:lnTo>
                  <a:lnTo>
                    <a:pt x="79" y="23"/>
                  </a:lnTo>
                  <a:lnTo>
                    <a:pt x="88" y="23"/>
                  </a:lnTo>
                  <a:lnTo>
                    <a:pt x="95" y="6"/>
                  </a:lnTo>
                  <a:lnTo>
                    <a:pt x="89" y="0"/>
                  </a:lnTo>
                  <a:lnTo>
                    <a:pt x="73" y="8"/>
                  </a:lnTo>
                  <a:lnTo>
                    <a:pt x="73" y="17"/>
                  </a:lnTo>
                  <a:lnTo>
                    <a:pt x="0" y="96"/>
                  </a:lnTo>
                  <a:close/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0" name="Freeform 758"/>
            <p:cNvSpPr>
              <a:spLocks/>
            </p:cNvSpPr>
            <p:nvPr/>
          </p:nvSpPr>
          <p:spPr bwMode="auto">
            <a:xfrm>
              <a:off x="527844" y="1844676"/>
              <a:ext cx="168275" cy="176213"/>
            </a:xfrm>
            <a:custGeom>
              <a:avLst/>
              <a:gdLst>
                <a:gd name="T0" fmla="*/ 84 w 84"/>
                <a:gd name="T1" fmla="*/ 19 h 88"/>
                <a:gd name="T2" fmla="*/ 64 w 84"/>
                <a:gd name="T3" fmla="*/ 0 h 88"/>
                <a:gd name="T4" fmla="*/ 60 w 84"/>
                <a:gd name="T5" fmla="*/ 5 h 88"/>
                <a:gd name="T6" fmla="*/ 53 w 84"/>
                <a:gd name="T7" fmla="*/ 18 h 88"/>
                <a:gd name="T8" fmla="*/ 40 w 84"/>
                <a:gd name="T9" fmla="*/ 26 h 88"/>
                <a:gd name="T10" fmla="*/ 0 w 84"/>
                <a:gd name="T11" fmla="*/ 68 h 88"/>
                <a:gd name="T12" fmla="*/ 21 w 84"/>
                <a:gd name="T13" fmla="*/ 88 h 88"/>
                <a:gd name="T14" fmla="*/ 61 w 84"/>
                <a:gd name="T15" fmla="*/ 45 h 88"/>
                <a:gd name="T16" fmla="*/ 68 w 84"/>
                <a:gd name="T17" fmla="*/ 31 h 88"/>
                <a:gd name="T18" fmla="*/ 80 w 84"/>
                <a:gd name="T19" fmla="*/ 24 h 88"/>
                <a:gd name="T20" fmla="*/ 84 w 84"/>
                <a:gd name="T21" fmla="*/ 1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88">
                  <a:moveTo>
                    <a:pt x="84" y="19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5"/>
                    <a:pt x="60" y="12"/>
                    <a:pt x="53" y="18"/>
                  </a:cubicBezTo>
                  <a:cubicBezTo>
                    <a:pt x="46" y="24"/>
                    <a:pt x="40" y="26"/>
                    <a:pt x="40" y="2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5"/>
                    <a:pt x="62" y="39"/>
                    <a:pt x="68" y="31"/>
                  </a:cubicBezTo>
                  <a:cubicBezTo>
                    <a:pt x="74" y="24"/>
                    <a:pt x="80" y="24"/>
                    <a:pt x="80" y="24"/>
                  </a:cubicBezTo>
                  <a:lnTo>
                    <a:pt x="84" y="19"/>
                  </a:lnTo>
                  <a:close/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1" name="Freeform 759"/>
            <p:cNvSpPr>
              <a:spLocks/>
            </p:cNvSpPr>
            <p:nvPr/>
          </p:nvSpPr>
          <p:spPr bwMode="auto">
            <a:xfrm>
              <a:off x="556419" y="1919288"/>
              <a:ext cx="69850" cy="74613"/>
            </a:xfrm>
            <a:custGeom>
              <a:avLst/>
              <a:gdLst>
                <a:gd name="T0" fmla="*/ 44 w 44"/>
                <a:gd name="T1" fmla="*/ 0 h 47"/>
                <a:gd name="T2" fmla="*/ 0 w 44"/>
                <a:gd name="T3" fmla="*/ 47 h 47"/>
                <a:gd name="T4" fmla="*/ 44 w 44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47">
                  <a:moveTo>
                    <a:pt x="44" y="0"/>
                  </a:moveTo>
                  <a:lnTo>
                    <a:pt x="0" y="47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FF8524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2" name="Line 760"/>
            <p:cNvSpPr>
              <a:spLocks noChangeShapeType="1"/>
            </p:cNvSpPr>
            <p:nvPr/>
          </p:nvSpPr>
          <p:spPr bwMode="auto">
            <a:xfrm flipH="1">
              <a:off x="556419" y="1919288"/>
              <a:ext cx="69850" cy="74613"/>
            </a:xfrm>
            <a:prstGeom prst="line">
              <a:avLst/>
            </a:prstGeom>
            <a:noFill/>
            <a:ln w="12700">
              <a:solidFill>
                <a:srgbClr val="FF852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3" name="Line 761"/>
            <p:cNvSpPr>
              <a:spLocks noChangeShapeType="1"/>
            </p:cNvSpPr>
            <p:nvPr/>
          </p:nvSpPr>
          <p:spPr bwMode="auto">
            <a:xfrm flipH="1">
              <a:off x="556419" y="1919288"/>
              <a:ext cx="69850" cy="74613"/>
            </a:xfrm>
            <a:prstGeom prst="line">
              <a:avLst/>
            </a:pr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4" name="Freeform 762"/>
            <p:cNvSpPr>
              <a:spLocks/>
            </p:cNvSpPr>
            <p:nvPr/>
          </p:nvSpPr>
          <p:spPr bwMode="auto">
            <a:xfrm>
              <a:off x="565944" y="1927226"/>
              <a:ext cx="69850" cy="74613"/>
            </a:xfrm>
            <a:custGeom>
              <a:avLst/>
              <a:gdLst>
                <a:gd name="T0" fmla="*/ 44 w 44"/>
                <a:gd name="T1" fmla="*/ 0 h 47"/>
                <a:gd name="T2" fmla="*/ 0 w 44"/>
                <a:gd name="T3" fmla="*/ 47 h 47"/>
                <a:gd name="T4" fmla="*/ 44 w 44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47">
                  <a:moveTo>
                    <a:pt x="44" y="0"/>
                  </a:moveTo>
                  <a:lnTo>
                    <a:pt x="0" y="47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FF8524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5" name="Line 763"/>
            <p:cNvSpPr>
              <a:spLocks noChangeShapeType="1"/>
            </p:cNvSpPr>
            <p:nvPr/>
          </p:nvSpPr>
          <p:spPr bwMode="auto">
            <a:xfrm flipH="1">
              <a:off x="565944" y="1927226"/>
              <a:ext cx="69850" cy="74613"/>
            </a:xfrm>
            <a:prstGeom prst="line">
              <a:avLst/>
            </a:prstGeom>
            <a:noFill/>
            <a:ln w="12700">
              <a:solidFill>
                <a:srgbClr val="FF852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6" name="Line 764"/>
            <p:cNvSpPr>
              <a:spLocks noChangeShapeType="1"/>
            </p:cNvSpPr>
            <p:nvPr/>
          </p:nvSpPr>
          <p:spPr bwMode="auto">
            <a:xfrm flipH="1">
              <a:off x="565944" y="1927226"/>
              <a:ext cx="69850" cy="74613"/>
            </a:xfrm>
            <a:prstGeom prst="line">
              <a:avLst/>
            </a:pr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7" name="Freeform 765"/>
            <p:cNvSpPr>
              <a:spLocks/>
            </p:cNvSpPr>
            <p:nvPr/>
          </p:nvSpPr>
          <p:spPr bwMode="auto">
            <a:xfrm>
              <a:off x="548481" y="1909763"/>
              <a:ext cx="68263" cy="73025"/>
            </a:xfrm>
            <a:custGeom>
              <a:avLst/>
              <a:gdLst>
                <a:gd name="T0" fmla="*/ 43 w 43"/>
                <a:gd name="T1" fmla="*/ 0 h 46"/>
                <a:gd name="T2" fmla="*/ 0 w 43"/>
                <a:gd name="T3" fmla="*/ 46 h 46"/>
                <a:gd name="T4" fmla="*/ 43 w 43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46">
                  <a:moveTo>
                    <a:pt x="43" y="0"/>
                  </a:moveTo>
                  <a:lnTo>
                    <a:pt x="0" y="46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FF8524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8" name="Line 766"/>
            <p:cNvSpPr>
              <a:spLocks noChangeShapeType="1"/>
            </p:cNvSpPr>
            <p:nvPr/>
          </p:nvSpPr>
          <p:spPr bwMode="auto">
            <a:xfrm flipH="1">
              <a:off x="548481" y="1909763"/>
              <a:ext cx="68263" cy="73025"/>
            </a:xfrm>
            <a:prstGeom prst="line">
              <a:avLst/>
            </a:prstGeom>
            <a:noFill/>
            <a:ln w="12700">
              <a:solidFill>
                <a:srgbClr val="FF852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29" name="Line 767"/>
            <p:cNvSpPr>
              <a:spLocks noChangeShapeType="1"/>
            </p:cNvSpPr>
            <p:nvPr/>
          </p:nvSpPr>
          <p:spPr bwMode="auto">
            <a:xfrm flipH="1">
              <a:off x="548481" y="1909763"/>
              <a:ext cx="68263" cy="73025"/>
            </a:xfrm>
            <a:prstGeom prst="line">
              <a:avLst/>
            </a:pr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321469" y="2318986"/>
            <a:ext cx="365522" cy="364331"/>
            <a:chOff x="428625" y="2825751"/>
            <a:chExt cx="487363" cy="485775"/>
          </a:xfrm>
        </p:grpSpPr>
        <p:sp>
          <p:nvSpPr>
            <p:cNvPr id="33" name="Oval 771"/>
            <p:cNvSpPr>
              <a:spLocks noChangeArrowheads="1"/>
            </p:cNvSpPr>
            <p:nvPr/>
          </p:nvSpPr>
          <p:spPr bwMode="auto">
            <a:xfrm>
              <a:off x="428625" y="2825751"/>
              <a:ext cx="487363" cy="4857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772"/>
            <p:cNvSpPr>
              <a:spLocks/>
            </p:cNvSpPr>
            <p:nvPr/>
          </p:nvSpPr>
          <p:spPr bwMode="auto">
            <a:xfrm>
              <a:off x="527050" y="2898776"/>
              <a:ext cx="193675" cy="193675"/>
            </a:xfrm>
            <a:custGeom>
              <a:avLst/>
              <a:gdLst>
                <a:gd name="T0" fmla="*/ 83 w 97"/>
                <a:gd name="T1" fmla="*/ 23 h 97"/>
                <a:gd name="T2" fmla="*/ 74 w 97"/>
                <a:gd name="T3" fmla="*/ 83 h 97"/>
                <a:gd name="T4" fmla="*/ 14 w 97"/>
                <a:gd name="T5" fmla="*/ 74 h 97"/>
                <a:gd name="T6" fmla="*/ 23 w 97"/>
                <a:gd name="T7" fmla="*/ 14 h 97"/>
                <a:gd name="T8" fmla="*/ 83 w 97"/>
                <a:gd name="T9" fmla="*/ 2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7">
                  <a:moveTo>
                    <a:pt x="83" y="23"/>
                  </a:moveTo>
                  <a:cubicBezTo>
                    <a:pt x="97" y="42"/>
                    <a:pt x="93" y="69"/>
                    <a:pt x="74" y="83"/>
                  </a:cubicBezTo>
                  <a:cubicBezTo>
                    <a:pt x="55" y="97"/>
                    <a:pt x="28" y="93"/>
                    <a:pt x="14" y="74"/>
                  </a:cubicBezTo>
                  <a:cubicBezTo>
                    <a:pt x="0" y="55"/>
                    <a:pt x="4" y="28"/>
                    <a:pt x="23" y="14"/>
                  </a:cubicBezTo>
                  <a:cubicBezTo>
                    <a:pt x="42" y="0"/>
                    <a:pt x="69" y="5"/>
                    <a:pt x="83" y="23"/>
                  </a:cubicBezTo>
                  <a:close/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773"/>
            <p:cNvSpPr>
              <a:spLocks/>
            </p:cNvSpPr>
            <p:nvPr/>
          </p:nvSpPr>
          <p:spPr bwMode="auto">
            <a:xfrm>
              <a:off x="550863" y="2922588"/>
              <a:ext cx="146050" cy="146050"/>
            </a:xfrm>
            <a:custGeom>
              <a:avLst/>
              <a:gdLst>
                <a:gd name="T0" fmla="*/ 63 w 73"/>
                <a:gd name="T1" fmla="*/ 18 h 73"/>
                <a:gd name="T2" fmla="*/ 56 w 73"/>
                <a:gd name="T3" fmla="*/ 63 h 73"/>
                <a:gd name="T4" fmla="*/ 10 w 73"/>
                <a:gd name="T5" fmla="*/ 56 h 73"/>
                <a:gd name="T6" fmla="*/ 17 w 73"/>
                <a:gd name="T7" fmla="*/ 11 h 73"/>
                <a:gd name="T8" fmla="*/ 63 w 73"/>
                <a:gd name="T9" fmla="*/ 1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73">
                  <a:moveTo>
                    <a:pt x="63" y="18"/>
                  </a:moveTo>
                  <a:cubicBezTo>
                    <a:pt x="73" y="32"/>
                    <a:pt x="70" y="52"/>
                    <a:pt x="56" y="63"/>
                  </a:cubicBezTo>
                  <a:cubicBezTo>
                    <a:pt x="41" y="73"/>
                    <a:pt x="21" y="70"/>
                    <a:pt x="10" y="56"/>
                  </a:cubicBezTo>
                  <a:cubicBezTo>
                    <a:pt x="0" y="41"/>
                    <a:pt x="3" y="21"/>
                    <a:pt x="17" y="11"/>
                  </a:cubicBezTo>
                  <a:cubicBezTo>
                    <a:pt x="32" y="0"/>
                    <a:pt x="52" y="3"/>
                    <a:pt x="63" y="18"/>
                  </a:cubicBezTo>
                  <a:close/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774"/>
            <p:cNvSpPr>
              <a:spLocks/>
            </p:cNvSpPr>
            <p:nvPr/>
          </p:nvSpPr>
          <p:spPr bwMode="auto">
            <a:xfrm>
              <a:off x="622300" y="2943226"/>
              <a:ext cx="52388" cy="38100"/>
            </a:xfrm>
            <a:custGeom>
              <a:avLst/>
              <a:gdLst>
                <a:gd name="T0" fmla="*/ 0 w 26"/>
                <a:gd name="T1" fmla="*/ 0 h 19"/>
                <a:gd name="T2" fmla="*/ 22 w 26"/>
                <a:gd name="T3" fmla="*/ 11 h 19"/>
                <a:gd name="T4" fmla="*/ 26 w 26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cubicBezTo>
                    <a:pt x="9" y="0"/>
                    <a:pt x="17" y="4"/>
                    <a:pt x="22" y="11"/>
                  </a:cubicBezTo>
                  <a:cubicBezTo>
                    <a:pt x="24" y="14"/>
                    <a:pt x="25" y="16"/>
                    <a:pt x="26" y="19"/>
                  </a:cubicBezTo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775"/>
            <p:cNvSpPr>
              <a:spLocks/>
            </p:cNvSpPr>
            <p:nvPr/>
          </p:nvSpPr>
          <p:spPr bwMode="auto">
            <a:xfrm>
              <a:off x="604838" y="2944813"/>
              <a:ext cx="7938" cy="1588"/>
            </a:xfrm>
            <a:custGeom>
              <a:avLst/>
              <a:gdLst>
                <a:gd name="T0" fmla="*/ 0 w 4"/>
                <a:gd name="T1" fmla="*/ 1 h 1"/>
                <a:gd name="T2" fmla="*/ 4 w 4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1">
                  <a:moveTo>
                    <a:pt x="0" y="1"/>
                  </a:moveTo>
                  <a:cubicBezTo>
                    <a:pt x="1" y="0"/>
                    <a:pt x="2" y="0"/>
                    <a:pt x="4" y="0"/>
                  </a:cubicBezTo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776"/>
            <p:cNvSpPr>
              <a:spLocks/>
            </p:cNvSpPr>
            <p:nvPr/>
          </p:nvSpPr>
          <p:spPr bwMode="auto">
            <a:xfrm>
              <a:off x="687388" y="3090863"/>
              <a:ext cx="119063" cy="146050"/>
            </a:xfrm>
            <a:custGeom>
              <a:avLst/>
              <a:gdLst>
                <a:gd name="T0" fmla="*/ 59 w 60"/>
                <a:gd name="T1" fmla="*/ 64 h 73"/>
                <a:gd name="T2" fmla="*/ 47 w 60"/>
                <a:gd name="T3" fmla="*/ 73 h 73"/>
                <a:gd name="T4" fmla="*/ 45 w 60"/>
                <a:gd name="T5" fmla="*/ 72 h 73"/>
                <a:gd name="T6" fmla="*/ 0 w 60"/>
                <a:gd name="T7" fmla="*/ 12 h 73"/>
                <a:gd name="T8" fmla="*/ 1 w 60"/>
                <a:gd name="T9" fmla="*/ 10 h 73"/>
                <a:gd name="T10" fmla="*/ 13 w 60"/>
                <a:gd name="T11" fmla="*/ 1 h 73"/>
                <a:gd name="T12" fmla="*/ 15 w 60"/>
                <a:gd name="T13" fmla="*/ 1 h 73"/>
                <a:gd name="T14" fmla="*/ 60 w 60"/>
                <a:gd name="T15" fmla="*/ 61 h 73"/>
                <a:gd name="T16" fmla="*/ 59 w 60"/>
                <a:gd name="T17" fmla="*/ 6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73">
                  <a:moveTo>
                    <a:pt x="59" y="64"/>
                  </a:moveTo>
                  <a:cubicBezTo>
                    <a:pt x="47" y="73"/>
                    <a:pt x="47" y="73"/>
                    <a:pt x="47" y="73"/>
                  </a:cubicBezTo>
                  <a:cubicBezTo>
                    <a:pt x="46" y="73"/>
                    <a:pt x="45" y="73"/>
                    <a:pt x="45" y="7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0" y="62"/>
                    <a:pt x="60" y="63"/>
                    <a:pt x="59" y="64"/>
                  </a:cubicBezTo>
                  <a:close/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777"/>
            <p:cNvSpPr>
              <a:spLocks/>
            </p:cNvSpPr>
            <p:nvPr/>
          </p:nvSpPr>
          <p:spPr bwMode="auto">
            <a:xfrm>
              <a:off x="665163" y="3059113"/>
              <a:ext cx="42863" cy="47625"/>
            </a:xfrm>
            <a:custGeom>
              <a:avLst/>
              <a:gdLst>
                <a:gd name="T0" fmla="*/ 0 w 22"/>
                <a:gd name="T1" fmla="*/ 7 h 24"/>
                <a:gd name="T2" fmla="*/ 13 w 22"/>
                <a:gd name="T3" fmla="*/ 24 h 24"/>
                <a:gd name="T4" fmla="*/ 14 w 22"/>
                <a:gd name="T5" fmla="*/ 24 h 24"/>
                <a:gd name="T6" fmla="*/ 22 w 22"/>
                <a:gd name="T7" fmla="*/ 18 h 24"/>
                <a:gd name="T8" fmla="*/ 22 w 22"/>
                <a:gd name="T9" fmla="*/ 17 h 24"/>
                <a:gd name="T10" fmla="*/ 10 w 22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4">
                  <a:moveTo>
                    <a:pt x="0" y="7"/>
                  </a:moveTo>
                  <a:cubicBezTo>
                    <a:pt x="13" y="24"/>
                    <a:pt x="13" y="24"/>
                    <a:pt x="13" y="24"/>
                  </a:cubicBezTo>
                  <a:cubicBezTo>
                    <a:pt x="13" y="24"/>
                    <a:pt x="14" y="24"/>
                    <a:pt x="14" y="24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7"/>
                    <a:pt x="22" y="17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5891401" y="1372063"/>
            <a:ext cx="365522" cy="364331"/>
            <a:chOff x="7881291" y="1616076"/>
            <a:chExt cx="487363" cy="485775"/>
          </a:xfrm>
        </p:grpSpPr>
        <p:sp>
          <p:nvSpPr>
            <p:cNvPr id="73" name="Oval 836"/>
            <p:cNvSpPr>
              <a:spLocks noChangeArrowheads="1"/>
            </p:cNvSpPr>
            <p:nvPr/>
          </p:nvSpPr>
          <p:spPr bwMode="auto">
            <a:xfrm>
              <a:off x="7881291" y="1616076"/>
              <a:ext cx="487363" cy="4857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rgbClr val="0070BA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4" name="Freeform 837"/>
            <p:cNvSpPr>
              <a:spLocks/>
            </p:cNvSpPr>
            <p:nvPr/>
          </p:nvSpPr>
          <p:spPr bwMode="auto">
            <a:xfrm>
              <a:off x="8124178" y="1716088"/>
              <a:ext cx="0" cy="279400"/>
            </a:xfrm>
            <a:custGeom>
              <a:avLst/>
              <a:gdLst>
                <a:gd name="T0" fmla="*/ 176 h 176"/>
                <a:gd name="T1" fmla="*/ 0 h 176"/>
                <a:gd name="T2" fmla="*/ 176 h 17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6">
                  <a:moveTo>
                    <a:pt x="0" y="176"/>
                  </a:moveTo>
                  <a:lnTo>
                    <a:pt x="0" y="0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5" name="Line 838"/>
            <p:cNvSpPr>
              <a:spLocks noChangeShapeType="1"/>
            </p:cNvSpPr>
            <p:nvPr/>
          </p:nvSpPr>
          <p:spPr bwMode="auto">
            <a:xfrm>
              <a:off x="8124178" y="1716088"/>
              <a:ext cx="0" cy="279400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6" name="Rectangle 839"/>
            <p:cNvSpPr>
              <a:spLocks noChangeArrowheads="1"/>
            </p:cNvSpPr>
            <p:nvPr/>
          </p:nvSpPr>
          <p:spPr bwMode="auto">
            <a:xfrm>
              <a:off x="8113066" y="1701801"/>
              <a:ext cx="23813" cy="1428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7" name="Rectangle 840"/>
            <p:cNvSpPr>
              <a:spLocks noChangeArrowheads="1"/>
            </p:cNvSpPr>
            <p:nvPr/>
          </p:nvSpPr>
          <p:spPr bwMode="auto">
            <a:xfrm>
              <a:off x="8113066" y="1701801"/>
              <a:ext cx="23813" cy="14288"/>
            </a:xfrm>
            <a:prstGeom prst="rect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8" name="Freeform 841"/>
            <p:cNvSpPr>
              <a:spLocks/>
            </p:cNvSpPr>
            <p:nvPr/>
          </p:nvSpPr>
          <p:spPr bwMode="auto">
            <a:xfrm>
              <a:off x="8070203" y="1727201"/>
              <a:ext cx="107950" cy="230188"/>
            </a:xfrm>
            <a:custGeom>
              <a:avLst/>
              <a:gdLst>
                <a:gd name="T0" fmla="*/ 68 w 68"/>
                <a:gd name="T1" fmla="*/ 145 h 145"/>
                <a:gd name="T2" fmla="*/ 0 w 68"/>
                <a:gd name="T3" fmla="*/ 145 h 145"/>
                <a:gd name="T4" fmla="*/ 18 w 68"/>
                <a:gd name="T5" fmla="*/ 0 h 145"/>
                <a:gd name="T6" fmla="*/ 51 w 68"/>
                <a:gd name="T7" fmla="*/ 0 h 145"/>
                <a:gd name="T8" fmla="*/ 68 w 68"/>
                <a:gd name="T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145">
                  <a:moveTo>
                    <a:pt x="68" y="145"/>
                  </a:moveTo>
                  <a:lnTo>
                    <a:pt x="0" y="145"/>
                  </a:lnTo>
                  <a:lnTo>
                    <a:pt x="18" y="0"/>
                  </a:lnTo>
                  <a:lnTo>
                    <a:pt x="51" y="0"/>
                  </a:lnTo>
                  <a:lnTo>
                    <a:pt x="68" y="145"/>
                  </a:lnTo>
                  <a:close/>
                </a:path>
              </a:pathLst>
            </a:cu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79" name="Freeform 842"/>
            <p:cNvSpPr>
              <a:spLocks/>
            </p:cNvSpPr>
            <p:nvPr/>
          </p:nvSpPr>
          <p:spPr bwMode="auto">
            <a:xfrm>
              <a:off x="8090841" y="1716088"/>
              <a:ext cx="68263" cy="11113"/>
            </a:xfrm>
            <a:custGeom>
              <a:avLst/>
              <a:gdLst>
                <a:gd name="T0" fmla="*/ 43 w 43"/>
                <a:gd name="T1" fmla="*/ 0 h 7"/>
                <a:gd name="T2" fmla="*/ 0 w 43"/>
                <a:gd name="T3" fmla="*/ 0 h 7"/>
                <a:gd name="T4" fmla="*/ 5 w 43"/>
                <a:gd name="T5" fmla="*/ 7 h 7"/>
                <a:gd name="T6" fmla="*/ 38 w 43"/>
                <a:gd name="T7" fmla="*/ 7 h 7"/>
                <a:gd name="T8" fmla="*/ 43 w 4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7">
                  <a:moveTo>
                    <a:pt x="43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38" y="7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0" name="Freeform 843"/>
            <p:cNvSpPr>
              <a:spLocks/>
            </p:cNvSpPr>
            <p:nvPr/>
          </p:nvSpPr>
          <p:spPr bwMode="auto">
            <a:xfrm>
              <a:off x="8027341" y="1958976"/>
              <a:ext cx="195263" cy="36513"/>
            </a:xfrm>
            <a:custGeom>
              <a:avLst/>
              <a:gdLst>
                <a:gd name="T0" fmla="*/ 0 w 123"/>
                <a:gd name="T1" fmla="*/ 23 h 23"/>
                <a:gd name="T2" fmla="*/ 0 w 123"/>
                <a:gd name="T3" fmla="*/ 0 h 23"/>
                <a:gd name="T4" fmla="*/ 123 w 123"/>
                <a:gd name="T5" fmla="*/ 0 h 23"/>
                <a:gd name="T6" fmla="*/ 123 w 123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23">
                  <a:moveTo>
                    <a:pt x="0" y="23"/>
                  </a:moveTo>
                  <a:lnTo>
                    <a:pt x="0" y="0"/>
                  </a:lnTo>
                  <a:lnTo>
                    <a:pt x="123" y="0"/>
                  </a:lnTo>
                  <a:lnTo>
                    <a:pt x="123" y="23"/>
                  </a:lnTo>
                </a:path>
              </a:pathLst>
            </a:custGeom>
            <a:noFill/>
            <a:ln w="12700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1" name="Line 844"/>
            <p:cNvSpPr>
              <a:spLocks noChangeShapeType="1"/>
            </p:cNvSpPr>
            <p:nvPr/>
          </p:nvSpPr>
          <p:spPr bwMode="auto">
            <a:xfrm>
              <a:off x="8094016" y="1763713"/>
              <a:ext cx="60325" cy="0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2" name="Line 845"/>
            <p:cNvSpPr>
              <a:spLocks noChangeShapeType="1"/>
            </p:cNvSpPr>
            <p:nvPr/>
          </p:nvSpPr>
          <p:spPr bwMode="auto">
            <a:xfrm>
              <a:off x="8089253" y="1825626"/>
              <a:ext cx="71438" cy="0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3" name="Line 846"/>
            <p:cNvSpPr>
              <a:spLocks noChangeShapeType="1"/>
            </p:cNvSpPr>
            <p:nvPr/>
          </p:nvSpPr>
          <p:spPr bwMode="auto">
            <a:xfrm>
              <a:off x="8081316" y="1885951"/>
              <a:ext cx="87313" cy="0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4" name="Line 847"/>
            <p:cNvSpPr>
              <a:spLocks noChangeShapeType="1"/>
            </p:cNvSpPr>
            <p:nvPr/>
          </p:nvSpPr>
          <p:spPr bwMode="auto">
            <a:xfrm flipH="1" flipV="1">
              <a:off x="8098778" y="1727201"/>
              <a:ext cx="55563" cy="36513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5" name="Line 848"/>
            <p:cNvSpPr>
              <a:spLocks noChangeShapeType="1"/>
            </p:cNvSpPr>
            <p:nvPr/>
          </p:nvSpPr>
          <p:spPr bwMode="auto">
            <a:xfrm flipH="1" flipV="1">
              <a:off x="8094016" y="1763713"/>
              <a:ext cx="66675" cy="61913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6" name="Line 849"/>
            <p:cNvSpPr>
              <a:spLocks noChangeShapeType="1"/>
            </p:cNvSpPr>
            <p:nvPr/>
          </p:nvSpPr>
          <p:spPr bwMode="auto">
            <a:xfrm flipH="1" flipV="1">
              <a:off x="8089253" y="1825626"/>
              <a:ext cx="79375" cy="60325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7" name="Line 850"/>
            <p:cNvSpPr>
              <a:spLocks noChangeShapeType="1"/>
            </p:cNvSpPr>
            <p:nvPr/>
          </p:nvSpPr>
          <p:spPr bwMode="auto">
            <a:xfrm flipH="1" flipV="1">
              <a:off x="8082903" y="1887538"/>
              <a:ext cx="92075" cy="69850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88" name="Line 851"/>
            <p:cNvSpPr>
              <a:spLocks noChangeShapeType="1"/>
            </p:cNvSpPr>
            <p:nvPr/>
          </p:nvSpPr>
          <p:spPr bwMode="auto">
            <a:xfrm>
              <a:off x="8000353" y="1997076"/>
              <a:ext cx="249238" cy="0"/>
            </a:xfrm>
            <a:prstGeom prst="line">
              <a:avLst/>
            </a:prstGeom>
            <a:noFill/>
            <a:ln w="12700" cap="rnd">
              <a:solidFill>
                <a:srgbClr val="00427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109" name="Прямоугольник 108"/>
          <p:cNvSpPr/>
          <p:nvPr/>
        </p:nvSpPr>
        <p:spPr>
          <a:xfrm>
            <a:off x="228666" y="3425339"/>
            <a:ext cx="198644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solidFill>
                  <a:srgbClr val="00B0F0"/>
                </a:solidFill>
                <a:latin typeface="HeliosCond" panose="020B0500000000000000" pitchFamily="34" charset="-52"/>
                <a:cs typeface="Arial" panose="020B0604020202020204" pitchFamily="34" charset="0"/>
              </a:rPr>
              <a:t>Производственная программа</a:t>
            </a:r>
          </a:p>
        </p:txBody>
      </p:sp>
      <p:graphicFrame>
        <p:nvGraphicFramePr>
          <p:cNvPr id="111" name="Диаграмма 110">
            <a:extLst>
              <a:ext uri="{FF2B5EF4-FFF2-40B4-BE49-F238E27FC236}">
                <a16:creationId xmlns:a16="http://schemas.microsoft.com/office/drawing/2014/main" id="{E92C489C-F3F0-469D-9B02-F5E705F72805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95001" y="3610497"/>
          <a:ext cx="3507843" cy="1173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2" name="Прямая соединительная линия 111"/>
          <p:cNvCxnSpPr/>
          <p:nvPr/>
        </p:nvCxnSpPr>
        <p:spPr>
          <a:xfrm>
            <a:off x="278620" y="3376348"/>
            <a:ext cx="5054484" cy="0"/>
          </a:xfrm>
          <a:prstGeom prst="line">
            <a:avLst/>
          </a:prstGeom>
          <a:ln w="6350">
            <a:solidFill>
              <a:srgbClr val="706F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Группа 114"/>
          <p:cNvGrpSpPr/>
          <p:nvPr/>
        </p:nvGrpSpPr>
        <p:grpSpPr>
          <a:xfrm>
            <a:off x="4563117" y="3436622"/>
            <a:ext cx="839372" cy="772799"/>
            <a:chOff x="7335989" y="1798663"/>
            <a:chExt cx="1119162" cy="1030398"/>
          </a:xfrm>
        </p:grpSpPr>
        <p:sp>
          <p:nvSpPr>
            <p:cNvPr id="117" name="Прямоугольник 116"/>
            <p:cNvSpPr/>
            <p:nvPr/>
          </p:nvSpPr>
          <p:spPr>
            <a:xfrm>
              <a:off x="7370830" y="2275064"/>
              <a:ext cx="1084321" cy="553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50" b="1" dirty="0">
                  <a:solidFill>
                    <a:srgbClr val="00B0F0"/>
                  </a:solidFill>
                </a:rPr>
                <a:t>ГС с МГРП </a:t>
              </a:r>
              <a:endParaRPr lang="ru-RU" sz="750" b="1" dirty="0">
                <a:solidFill>
                  <a:srgbClr val="00B0F0"/>
                </a:solidFill>
              </a:endParaRPr>
            </a:p>
          </p:txBody>
        </p:sp>
        <p:sp>
          <p:nvSpPr>
            <p:cNvPr id="118" name="Прямоугольник 117"/>
            <p:cNvSpPr/>
            <p:nvPr/>
          </p:nvSpPr>
          <p:spPr>
            <a:xfrm>
              <a:off x="7335989" y="1798663"/>
              <a:ext cx="964707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700" b="1" dirty="0">
                  <a:solidFill>
                    <a:srgbClr val="00B0F0"/>
                  </a:solidFill>
                </a:rPr>
                <a:t>111</a:t>
              </a:r>
              <a:endParaRPr lang="ru-RU" sz="270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119" name="Группа 118"/>
          <p:cNvGrpSpPr/>
          <p:nvPr/>
        </p:nvGrpSpPr>
        <p:grpSpPr>
          <a:xfrm>
            <a:off x="4563117" y="4138157"/>
            <a:ext cx="839372" cy="611217"/>
            <a:chOff x="7335989" y="1798663"/>
            <a:chExt cx="1119162" cy="814956"/>
          </a:xfrm>
        </p:grpSpPr>
        <p:sp>
          <p:nvSpPr>
            <p:cNvPr id="120" name="Прямоугольник 119"/>
            <p:cNvSpPr/>
            <p:nvPr/>
          </p:nvSpPr>
          <p:spPr>
            <a:xfrm>
              <a:off x="7370830" y="2275064"/>
              <a:ext cx="1084321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50" b="1" dirty="0">
                  <a:solidFill>
                    <a:srgbClr val="FF8524"/>
                  </a:solidFill>
                </a:rPr>
                <a:t>млн т</a:t>
              </a:r>
              <a:endParaRPr lang="ru-RU" sz="750" b="1" dirty="0">
                <a:solidFill>
                  <a:srgbClr val="FF8524"/>
                </a:solidFill>
              </a:endParaRPr>
            </a:p>
          </p:txBody>
        </p:sp>
        <p:sp>
          <p:nvSpPr>
            <p:cNvPr id="121" name="Прямоугольник 120"/>
            <p:cNvSpPr/>
            <p:nvPr/>
          </p:nvSpPr>
          <p:spPr>
            <a:xfrm>
              <a:off x="7335989" y="1798663"/>
              <a:ext cx="887422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700" b="1" dirty="0">
                  <a:solidFill>
                    <a:srgbClr val="FF8524"/>
                  </a:solidFill>
                </a:rPr>
                <a:t>7,5</a:t>
              </a:r>
              <a:endParaRPr lang="ru-RU" sz="2700" dirty="0">
                <a:solidFill>
                  <a:srgbClr val="FF8524"/>
                </a:solidFill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4076850" y="4256540"/>
            <a:ext cx="441722" cy="440531"/>
            <a:chOff x="5435799" y="4728168"/>
            <a:chExt cx="588963" cy="587375"/>
          </a:xfrm>
        </p:grpSpPr>
        <p:sp>
          <p:nvSpPr>
            <p:cNvPr id="128" name="Oval 897"/>
            <p:cNvSpPr>
              <a:spLocks noChangeArrowheads="1"/>
            </p:cNvSpPr>
            <p:nvPr/>
          </p:nvSpPr>
          <p:spPr bwMode="auto">
            <a:xfrm>
              <a:off x="5435799" y="4728168"/>
              <a:ext cx="588963" cy="5873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9" name="Freeform 898"/>
            <p:cNvSpPr>
              <a:spLocks/>
            </p:cNvSpPr>
            <p:nvPr/>
          </p:nvSpPr>
          <p:spPr bwMode="auto">
            <a:xfrm>
              <a:off x="5585024" y="4805955"/>
              <a:ext cx="288925" cy="403225"/>
            </a:xfrm>
            <a:custGeom>
              <a:avLst/>
              <a:gdLst>
                <a:gd name="T0" fmla="*/ 119 w 119"/>
                <a:gd name="T1" fmla="*/ 108 h 167"/>
                <a:gd name="T2" fmla="*/ 60 w 119"/>
                <a:gd name="T3" fmla="*/ 167 h 167"/>
                <a:gd name="T4" fmla="*/ 0 w 119"/>
                <a:gd name="T5" fmla="*/ 108 h 167"/>
                <a:gd name="T6" fmla="*/ 60 w 119"/>
                <a:gd name="T7" fmla="*/ 0 h 167"/>
                <a:gd name="T8" fmla="*/ 119 w 119"/>
                <a:gd name="T9" fmla="*/ 10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67">
                  <a:moveTo>
                    <a:pt x="119" y="108"/>
                  </a:moveTo>
                  <a:cubicBezTo>
                    <a:pt x="119" y="140"/>
                    <a:pt x="92" y="167"/>
                    <a:pt x="60" y="167"/>
                  </a:cubicBezTo>
                  <a:cubicBezTo>
                    <a:pt x="27" y="167"/>
                    <a:pt x="0" y="140"/>
                    <a:pt x="0" y="108"/>
                  </a:cubicBezTo>
                  <a:cubicBezTo>
                    <a:pt x="0" y="61"/>
                    <a:pt x="60" y="0"/>
                    <a:pt x="60" y="0"/>
                  </a:cubicBezTo>
                  <a:cubicBezTo>
                    <a:pt x="60" y="0"/>
                    <a:pt x="119" y="61"/>
                    <a:pt x="119" y="108"/>
                  </a:cubicBezTo>
                  <a:close/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30" name="Freeform 899"/>
            <p:cNvSpPr>
              <a:spLocks/>
            </p:cNvSpPr>
            <p:nvPr/>
          </p:nvSpPr>
          <p:spPr bwMode="auto">
            <a:xfrm>
              <a:off x="5804099" y="5002805"/>
              <a:ext cx="42863" cy="77788"/>
            </a:xfrm>
            <a:custGeom>
              <a:avLst/>
              <a:gdLst>
                <a:gd name="T0" fmla="*/ 18 w 18"/>
                <a:gd name="T1" fmla="*/ 21 h 32"/>
                <a:gd name="T2" fmla="*/ 9 w 18"/>
                <a:gd name="T3" fmla="*/ 32 h 32"/>
                <a:gd name="T4" fmla="*/ 0 w 18"/>
                <a:gd name="T5" fmla="*/ 21 h 32"/>
                <a:gd name="T6" fmla="*/ 9 w 18"/>
                <a:gd name="T7" fmla="*/ 0 h 32"/>
                <a:gd name="T8" fmla="*/ 18 w 18"/>
                <a:gd name="T9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2">
                  <a:moveTo>
                    <a:pt x="18" y="21"/>
                  </a:moveTo>
                  <a:cubicBezTo>
                    <a:pt x="18" y="27"/>
                    <a:pt x="14" y="32"/>
                    <a:pt x="9" y="32"/>
                  </a:cubicBezTo>
                  <a:cubicBezTo>
                    <a:pt x="4" y="32"/>
                    <a:pt x="0" y="27"/>
                    <a:pt x="0" y="21"/>
                  </a:cubicBezTo>
                  <a:cubicBezTo>
                    <a:pt x="0" y="12"/>
                    <a:pt x="9" y="0"/>
                    <a:pt x="9" y="0"/>
                  </a:cubicBezTo>
                  <a:cubicBezTo>
                    <a:pt x="9" y="0"/>
                    <a:pt x="18" y="12"/>
                    <a:pt x="18" y="21"/>
                  </a:cubicBezTo>
                  <a:close/>
                </a:path>
              </a:pathLst>
            </a:custGeom>
            <a:noFill/>
            <a:ln w="12700" cap="rnd">
              <a:solidFill>
                <a:srgbClr val="FF852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cxnSp>
        <p:nvCxnSpPr>
          <p:cNvPr id="157" name="Прямая соединительная линия 156"/>
          <p:cNvCxnSpPr/>
          <p:nvPr/>
        </p:nvCxnSpPr>
        <p:spPr>
          <a:xfrm>
            <a:off x="3853975" y="3864810"/>
            <a:ext cx="0" cy="481312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8" name="Равнобедренный треугольник 157"/>
          <p:cNvSpPr/>
          <p:nvPr/>
        </p:nvSpPr>
        <p:spPr>
          <a:xfrm rot="16200000">
            <a:off x="3786784" y="4074358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>
            <a:off x="5619509" y="951310"/>
            <a:ext cx="0" cy="3807619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2" name="TextBox 161"/>
          <p:cNvSpPr txBox="1"/>
          <p:nvPr/>
        </p:nvSpPr>
        <p:spPr>
          <a:xfrm>
            <a:off x="4807553" y="2052616"/>
            <a:ext cx="577305" cy="3231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750" b="1" dirty="0">
                <a:solidFill>
                  <a:srgbClr val="706F6F"/>
                </a:solidFill>
              </a:rPr>
              <a:t>Пальяновский проект</a:t>
            </a:r>
          </a:p>
        </p:txBody>
      </p:sp>
      <p:grpSp>
        <p:nvGrpSpPr>
          <p:cNvPr id="163" name="Группа 162"/>
          <p:cNvGrpSpPr>
            <a:grpSpLocks noChangeAspect="1"/>
          </p:cNvGrpSpPr>
          <p:nvPr/>
        </p:nvGrpSpPr>
        <p:grpSpPr>
          <a:xfrm>
            <a:off x="3860058" y="2050272"/>
            <a:ext cx="990942" cy="1227843"/>
            <a:chOff x="7118736" y="4513066"/>
            <a:chExt cx="1217224" cy="1508222"/>
          </a:xfrm>
        </p:grpSpPr>
        <p:pic>
          <p:nvPicPr>
            <p:cNvPr id="164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0" b="100000" l="0" r="100000">
                          <a14:backgroundMark x1="72449" y1="61647" x2="72449" y2="61647"/>
                          <a14:backgroundMark x1="8163" y1="68353" x2="8163" y2="68353"/>
                          <a14:backgroundMark x1="92857" y1="6706" x2="95335" y2="28118"/>
                          <a14:backgroundMark x1="96793" y1="42588" x2="86152" y2="11059"/>
                          <a14:backgroundMark x1="87026" y1="5765" x2="96356" y2="7294"/>
                          <a14:backgroundMark x1="96356" y1="7294" x2="96064" y2="21176"/>
                          <a14:backgroundMark x1="96064" y1="23765" x2="95773" y2="33294"/>
                          <a14:backgroundMark x1="95481" y1="35294" x2="95481" y2="42353"/>
                          <a14:backgroundMark x1="95481" y1="44588" x2="95773" y2="51765"/>
                          <a14:backgroundMark x1="95773" y1="54941" x2="95773" y2="65412"/>
                          <a14:backgroundMark x1="95773" y1="67765" x2="95773" y2="71176"/>
                          <a14:backgroundMark x1="91108" y1="82235" x2="68076" y2="85176"/>
                          <a14:backgroundMark x1="67347" y1="82588" x2="64140" y2="70118"/>
                          <a14:backgroundMark x1="63411" y1="66588" x2="63411" y2="61059"/>
                          <a14:backgroundMark x1="75364" y1="54941" x2="81341" y2="56235"/>
                          <a14:backgroundMark x1="84985" y1="59647" x2="87901" y2="68588"/>
                          <a14:backgroundMark x1="87901" y1="72353" x2="88484" y2="76235"/>
                          <a14:backgroundMark x1="88484" y1="77647" x2="88484" y2="86235"/>
                          <a14:backgroundMark x1="90671" y1="94353" x2="67055" y2="94353"/>
                          <a14:backgroundMark x1="9913" y1="93882" x2="7726" y2="76941"/>
                          <a14:backgroundMark x1="7726" y1="73294" x2="7726" y2="68000"/>
                          <a14:backgroundMark x1="7726" y1="66235" x2="5977" y2="5729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8736" y="4513066"/>
              <a:ext cx="1217224" cy="1508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5" name="Полилиния 164"/>
            <p:cNvSpPr/>
            <p:nvPr/>
          </p:nvSpPr>
          <p:spPr>
            <a:xfrm>
              <a:off x="7164993" y="4568428"/>
              <a:ext cx="1162800" cy="1392806"/>
            </a:xfrm>
            <a:custGeom>
              <a:avLst/>
              <a:gdLst>
                <a:gd name="connsiteX0" fmla="*/ 0 w 3705225"/>
                <a:gd name="connsiteY0" fmla="*/ 0 h 4467225"/>
                <a:gd name="connsiteX1" fmla="*/ 466725 w 3705225"/>
                <a:gd name="connsiteY1" fmla="*/ 2971800 h 4467225"/>
                <a:gd name="connsiteX2" fmla="*/ 542925 w 3705225"/>
                <a:gd name="connsiteY2" fmla="*/ 4181475 h 4467225"/>
                <a:gd name="connsiteX3" fmla="*/ 514350 w 3705225"/>
                <a:gd name="connsiteY3" fmla="*/ 4467225 h 4467225"/>
                <a:gd name="connsiteX4" fmla="*/ 3705225 w 3705225"/>
                <a:gd name="connsiteY4" fmla="*/ 4210050 h 4467225"/>
                <a:gd name="connsiteX5" fmla="*/ 2990850 w 3705225"/>
                <a:gd name="connsiteY5" fmla="*/ 95250 h 4467225"/>
                <a:gd name="connsiteX6" fmla="*/ 0 w 3705225"/>
                <a:gd name="connsiteY6" fmla="*/ 0 h 446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5225" h="4467225">
                  <a:moveTo>
                    <a:pt x="0" y="0"/>
                  </a:moveTo>
                  <a:lnTo>
                    <a:pt x="466725" y="2971800"/>
                  </a:lnTo>
                  <a:lnTo>
                    <a:pt x="542925" y="4181475"/>
                  </a:lnTo>
                  <a:lnTo>
                    <a:pt x="514350" y="4467225"/>
                  </a:lnTo>
                  <a:lnTo>
                    <a:pt x="3705225" y="4210050"/>
                  </a:lnTo>
                  <a:lnTo>
                    <a:pt x="2990850" y="9525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490244" y="972151"/>
            <a:ext cx="723078" cy="937598"/>
            <a:chOff x="5839404" y="1098259"/>
            <a:chExt cx="1405302" cy="1822222"/>
          </a:xfrm>
        </p:grpSpPr>
        <p:sp>
          <p:nvSpPr>
            <p:cNvPr id="169" name="Freeform 80"/>
            <p:cNvSpPr>
              <a:spLocks/>
            </p:cNvSpPr>
            <p:nvPr/>
          </p:nvSpPr>
          <p:spPr bwMode="auto">
            <a:xfrm rot="19831479">
              <a:off x="5907525" y="1098259"/>
              <a:ext cx="1169920" cy="1554458"/>
            </a:xfrm>
            <a:custGeom>
              <a:avLst/>
              <a:gdLst>
                <a:gd name="T0" fmla="*/ 168 w 502"/>
                <a:gd name="T1" fmla="*/ 189 h 667"/>
                <a:gd name="T2" fmla="*/ 160 w 502"/>
                <a:gd name="T3" fmla="*/ 209 h 667"/>
                <a:gd name="T4" fmla="*/ 158 w 502"/>
                <a:gd name="T5" fmla="*/ 234 h 667"/>
                <a:gd name="T6" fmla="*/ 119 w 502"/>
                <a:gd name="T7" fmla="*/ 269 h 667"/>
                <a:gd name="T8" fmla="*/ 42 w 502"/>
                <a:gd name="T9" fmla="*/ 291 h 667"/>
                <a:gd name="T10" fmla="*/ 22 w 502"/>
                <a:gd name="T11" fmla="*/ 311 h 667"/>
                <a:gd name="T12" fmla="*/ 13 w 502"/>
                <a:gd name="T13" fmla="*/ 369 h 667"/>
                <a:gd name="T14" fmla="*/ 84 w 502"/>
                <a:gd name="T15" fmla="*/ 398 h 667"/>
                <a:gd name="T16" fmla="*/ 142 w 502"/>
                <a:gd name="T17" fmla="*/ 438 h 667"/>
                <a:gd name="T18" fmla="*/ 169 w 502"/>
                <a:gd name="T19" fmla="*/ 514 h 667"/>
                <a:gd name="T20" fmla="*/ 217 w 502"/>
                <a:gd name="T21" fmla="*/ 543 h 667"/>
                <a:gd name="T22" fmla="*/ 291 w 502"/>
                <a:gd name="T23" fmla="*/ 605 h 667"/>
                <a:gd name="T24" fmla="*/ 367 w 502"/>
                <a:gd name="T25" fmla="*/ 601 h 667"/>
                <a:gd name="T26" fmla="*/ 413 w 502"/>
                <a:gd name="T27" fmla="*/ 643 h 667"/>
                <a:gd name="T28" fmla="*/ 455 w 502"/>
                <a:gd name="T29" fmla="*/ 647 h 667"/>
                <a:gd name="T30" fmla="*/ 474 w 502"/>
                <a:gd name="T31" fmla="*/ 592 h 667"/>
                <a:gd name="T32" fmla="*/ 502 w 502"/>
                <a:gd name="T33" fmla="*/ 549 h 667"/>
                <a:gd name="T34" fmla="*/ 480 w 502"/>
                <a:gd name="T35" fmla="*/ 496 h 667"/>
                <a:gd name="T36" fmla="*/ 469 w 502"/>
                <a:gd name="T37" fmla="*/ 454 h 667"/>
                <a:gd name="T38" fmla="*/ 462 w 502"/>
                <a:gd name="T39" fmla="*/ 382 h 667"/>
                <a:gd name="T40" fmla="*/ 489 w 502"/>
                <a:gd name="T41" fmla="*/ 318 h 667"/>
                <a:gd name="T42" fmla="*/ 467 w 502"/>
                <a:gd name="T43" fmla="*/ 283 h 667"/>
                <a:gd name="T44" fmla="*/ 471 w 502"/>
                <a:gd name="T45" fmla="*/ 218 h 667"/>
                <a:gd name="T46" fmla="*/ 476 w 502"/>
                <a:gd name="T47" fmla="*/ 184 h 667"/>
                <a:gd name="T48" fmla="*/ 487 w 502"/>
                <a:gd name="T49" fmla="*/ 147 h 667"/>
                <a:gd name="T50" fmla="*/ 471 w 502"/>
                <a:gd name="T51" fmla="*/ 111 h 667"/>
                <a:gd name="T52" fmla="*/ 460 w 502"/>
                <a:gd name="T53" fmla="*/ 91 h 667"/>
                <a:gd name="T54" fmla="*/ 456 w 502"/>
                <a:gd name="T55" fmla="*/ 131 h 667"/>
                <a:gd name="T56" fmla="*/ 425 w 502"/>
                <a:gd name="T57" fmla="*/ 116 h 667"/>
                <a:gd name="T58" fmla="*/ 447 w 502"/>
                <a:gd name="T59" fmla="*/ 165 h 667"/>
                <a:gd name="T60" fmla="*/ 407 w 502"/>
                <a:gd name="T61" fmla="*/ 136 h 667"/>
                <a:gd name="T62" fmla="*/ 425 w 502"/>
                <a:gd name="T63" fmla="*/ 60 h 667"/>
                <a:gd name="T64" fmla="*/ 415 w 502"/>
                <a:gd name="T65" fmla="*/ 95 h 667"/>
                <a:gd name="T66" fmla="*/ 369 w 502"/>
                <a:gd name="T67" fmla="*/ 124 h 667"/>
                <a:gd name="T68" fmla="*/ 371 w 502"/>
                <a:gd name="T69" fmla="*/ 169 h 667"/>
                <a:gd name="T70" fmla="*/ 331 w 502"/>
                <a:gd name="T71" fmla="*/ 229 h 667"/>
                <a:gd name="T72" fmla="*/ 362 w 502"/>
                <a:gd name="T73" fmla="*/ 253 h 667"/>
                <a:gd name="T74" fmla="*/ 391 w 502"/>
                <a:gd name="T75" fmla="*/ 314 h 667"/>
                <a:gd name="T76" fmla="*/ 373 w 502"/>
                <a:gd name="T77" fmla="*/ 338 h 667"/>
                <a:gd name="T78" fmla="*/ 366 w 502"/>
                <a:gd name="T79" fmla="*/ 338 h 667"/>
                <a:gd name="T80" fmla="*/ 375 w 502"/>
                <a:gd name="T81" fmla="*/ 280 h 667"/>
                <a:gd name="T82" fmla="*/ 329 w 502"/>
                <a:gd name="T83" fmla="*/ 276 h 667"/>
                <a:gd name="T84" fmla="*/ 320 w 502"/>
                <a:gd name="T85" fmla="*/ 314 h 667"/>
                <a:gd name="T86" fmla="*/ 275 w 502"/>
                <a:gd name="T87" fmla="*/ 353 h 667"/>
                <a:gd name="T88" fmla="*/ 229 w 502"/>
                <a:gd name="T89" fmla="*/ 367 h 667"/>
                <a:gd name="T90" fmla="*/ 188 w 502"/>
                <a:gd name="T91" fmla="*/ 322 h 667"/>
                <a:gd name="T92" fmla="*/ 231 w 502"/>
                <a:gd name="T93" fmla="*/ 340 h 667"/>
                <a:gd name="T94" fmla="*/ 289 w 502"/>
                <a:gd name="T95" fmla="*/ 291 h 667"/>
                <a:gd name="T96" fmla="*/ 307 w 502"/>
                <a:gd name="T97" fmla="*/ 249 h 667"/>
                <a:gd name="T98" fmla="*/ 351 w 502"/>
                <a:gd name="T99" fmla="*/ 144 h 667"/>
                <a:gd name="T100" fmla="*/ 373 w 502"/>
                <a:gd name="T101" fmla="*/ 91 h 667"/>
                <a:gd name="T102" fmla="*/ 358 w 502"/>
                <a:gd name="T103" fmla="*/ 31 h 667"/>
                <a:gd name="T104" fmla="*/ 380 w 502"/>
                <a:gd name="T105" fmla="*/ 5 h 667"/>
                <a:gd name="T106" fmla="*/ 347 w 502"/>
                <a:gd name="T107" fmla="*/ 22 h 667"/>
                <a:gd name="T108" fmla="*/ 269 w 502"/>
                <a:gd name="T109" fmla="*/ 84 h 667"/>
                <a:gd name="T110" fmla="*/ 247 w 502"/>
                <a:gd name="T111" fmla="*/ 122 h 667"/>
                <a:gd name="T112" fmla="*/ 229 w 502"/>
                <a:gd name="T113" fmla="*/ 178 h 667"/>
                <a:gd name="T114" fmla="*/ 209 w 502"/>
                <a:gd name="T115" fmla="*/ 243 h 667"/>
                <a:gd name="T116" fmla="*/ 162 w 502"/>
                <a:gd name="T117" fmla="*/ 1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667">
                  <a:moveTo>
                    <a:pt x="162" y="167"/>
                  </a:moveTo>
                  <a:lnTo>
                    <a:pt x="162" y="167"/>
                  </a:lnTo>
                  <a:lnTo>
                    <a:pt x="160" y="169"/>
                  </a:lnTo>
                  <a:lnTo>
                    <a:pt x="160" y="173"/>
                  </a:lnTo>
                  <a:lnTo>
                    <a:pt x="160" y="173"/>
                  </a:lnTo>
                  <a:lnTo>
                    <a:pt x="160" y="173"/>
                  </a:lnTo>
                  <a:lnTo>
                    <a:pt x="162" y="176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8" y="182"/>
                  </a:lnTo>
                  <a:lnTo>
                    <a:pt x="168" y="184"/>
                  </a:lnTo>
                  <a:lnTo>
                    <a:pt x="168" y="189"/>
                  </a:lnTo>
                  <a:lnTo>
                    <a:pt x="168" y="189"/>
                  </a:lnTo>
                  <a:lnTo>
                    <a:pt x="169" y="198"/>
                  </a:lnTo>
                  <a:lnTo>
                    <a:pt x="168" y="20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6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5"/>
                  </a:lnTo>
                  <a:lnTo>
                    <a:pt x="162" y="209"/>
                  </a:lnTo>
                  <a:lnTo>
                    <a:pt x="160" y="209"/>
                  </a:lnTo>
                  <a:lnTo>
                    <a:pt x="160" y="209"/>
                  </a:lnTo>
                  <a:lnTo>
                    <a:pt x="157" y="211"/>
                  </a:lnTo>
                  <a:lnTo>
                    <a:pt x="155" y="216"/>
                  </a:lnTo>
                  <a:lnTo>
                    <a:pt x="149" y="218"/>
                  </a:lnTo>
                  <a:lnTo>
                    <a:pt x="148" y="222"/>
                  </a:lnTo>
                  <a:lnTo>
                    <a:pt x="148" y="222"/>
                  </a:lnTo>
                  <a:lnTo>
                    <a:pt x="148" y="227"/>
                  </a:lnTo>
                  <a:lnTo>
                    <a:pt x="148" y="229"/>
                  </a:lnTo>
                  <a:lnTo>
                    <a:pt x="149" y="231"/>
                  </a:lnTo>
                  <a:lnTo>
                    <a:pt x="151" y="231"/>
                  </a:lnTo>
                  <a:lnTo>
                    <a:pt x="151" y="231"/>
                  </a:lnTo>
                  <a:lnTo>
                    <a:pt x="155" y="231"/>
                  </a:lnTo>
                  <a:lnTo>
                    <a:pt x="158" y="234"/>
                  </a:lnTo>
                  <a:lnTo>
                    <a:pt x="160" y="234"/>
                  </a:lnTo>
                  <a:lnTo>
                    <a:pt x="158" y="238"/>
                  </a:lnTo>
                  <a:lnTo>
                    <a:pt x="158" y="238"/>
                  </a:lnTo>
                  <a:lnTo>
                    <a:pt x="149" y="247"/>
                  </a:lnTo>
                  <a:lnTo>
                    <a:pt x="146" y="253"/>
                  </a:lnTo>
                  <a:lnTo>
                    <a:pt x="142" y="258"/>
                  </a:lnTo>
                  <a:lnTo>
                    <a:pt x="140" y="258"/>
                  </a:lnTo>
                  <a:lnTo>
                    <a:pt x="140" y="258"/>
                  </a:lnTo>
                  <a:lnTo>
                    <a:pt x="135" y="260"/>
                  </a:lnTo>
                  <a:lnTo>
                    <a:pt x="129" y="263"/>
                  </a:lnTo>
                  <a:lnTo>
                    <a:pt x="119" y="269"/>
                  </a:lnTo>
                  <a:lnTo>
                    <a:pt x="119" y="269"/>
                  </a:lnTo>
                  <a:lnTo>
                    <a:pt x="109" y="271"/>
                  </a:lnTo>
                  <a:lnTo>
                    <a:pt x="99" y="273"/>
                  </a:lnTo>
                  <a:lnTo>
                    <a:pt x="99" y="273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79" y="273"/>
                  </a:lnTo>
                  <a:lnTo>
                    <a:pt x="71" y="276"/>
                  </a:lnTo>
                  <a:lnTo>
                    <a:pt x="55" y="283"/>
                  </a:lnTo>
                  <a:lnTo>
                    <a:pt x="55" y="283"/>
                  </a:lnTo>
                  <a:lnTo>
                    <a:pt x="50" y="287"/>
                  </a:lnTo>
                  <a:lnTo>
                    <a:pt x="44" y="289"/>
                  </a:lnTo>
                  <a:lnTo>
                    <a:pt x="42" y="291"/>
                  </a:lnTo>
                  <a:lnTo>
                    <a:pt x="40" y="293"/>
                  </a:lnTo>
                  <a:lnTo>
                    <a:pt x="40" y="293"/>
                  </a:lnTo>
                  <a:lnTo>
                    <a:pt x="33" y="291"/>
                  </a:lnTo>
                  <a:lnTo>
                    <a:pt x="30" y="291"/>
                  </a:lnTo>
                  <a:lnTo>
                    <a:pt x="24" y="291"/>
                  </a:lnTo>
                  <a:lnTo>
                    <a:pt x="24" y="291"/>
                  </a:lnTo>
                  <a:lnTo>
                    <a:pt x="26" y="302"/>
                  </a:lnTo>
                  <a:lnTo>
                    <a:pt x="26" y="302"/>
                  </a:lnTo>
                  <a:lnTo>
                    <a:pt x="24" y="303"/>
                  </a:lnTo>
                  <a:lnTo>
                    <a:pt x="24" y="307"/>
                  </a:lnTo>
                  <a:lnTo>
                    <a:pt x="22" y="311"/>
                  </a:lnTo>
                  <a:lnTo>
                    <a:pt x="22" y="311"/>
                  </a:lnTo>
                  <a:lnTo>
                    <a:pt x="24" y="314"/>
                  </a:lnTo>
                  <a:lnTo>
                    <a:pt x="30" y="320"/>
                  </a:lnTo>
                  <a:lnTo>
                    <a:pt x="24" y="325"/>
                  </a:lnTo>
                  <a:lnTo>
                    <a:pt x="13" y="334"/>
                  </a:lnTo>
                  <a:lnTo>
                    <a:pt x="13" y="340"/>
                  </a:lnTo>
                  <a:lnTo>
                    <a:pt x="10" y="345"/>
                  </a:lnTo>
                  <a:lnTo>
                    <a:pt x="4" y="345"/>
                  </a:lnTo>
                  <a:lnTo>
                    <a:pt x="0" y="349"/>
                  </a:lnTo>
                  <a:lnTo>
                    <a:pt x="4" y="356"/>
                  </a:lnTo>
                  <a:lnTo>
                    <a:pt x="15" y="360"/>
                  </a:lnTo>
                  <a:lnTo>
                    <a:pt x="17" y="367"/>
                  </a:lnTo>
                  <a:lnTo>
                    <a:pt x="13" y="369"/>
                  </a:lnTo>
                  <a:lnTo>
                    <a:pt x="19" y="376"/>
                  </a:lnTo>
                  <a:lnTo>
                    <a:pt x="24" y="376"/>
                  </a:lnTo>
                  <a:lnTo>
                    <a:pt x="33" y="382"/>
                  </a:lnTo>
                  <a:lnTo>
                    <a:pt x="39" y="382"/>
                  </a:lnTo>
                  <a:lnTo>
                    <a:pt x="40" y="383"/>
                  </a:lnTo>
                  <a:lnTo>
                    <a:pt x="44" y="383"/>
                  </a:lnTo>
                  <a:lnTo>
                    <a:pt x="53" y="385"/>
                  </a:lnTo>
                  <a:lnTo>
                    <a:pt x="59" y="385"/>
                  </a:lnTo>
                  <a:lnTo>
                    <a:pt x="66" y="389"/>
                  </a:lnTo>
                  <a:lnTo>
                    <a:pt x="73" y="391"/>
                  </a:lnTo>
                  <a:lnTo>
                    <a:pt x="75" y="396"/>
                  </a:lnTo>
                  <a:lnTo>
                    <a:pt x="84" y="398"/>
                  </a:lnTo>
                  <a:lnTo>
                    <a:pt x="88" y="405"/>
                  </a:lnTo>
                  <a:lnTo>
                    <a:pt x="82" y="409"/>
                  </a:lnTo>
                  <a:lnTo>
                    <a:pt x="79" y="416"/>
                  </a:lnTo>
                  <a:lnTo>
                    <a:pt x="86" y="427"/>
                  </a:lnTo>
                  <a:lnTo>
                    <a:pt x="95" y="432"/>
                  </a:lnTo>
                  <a:lnTo>
                    <a:pt x="115" y="429"/>
                  </a:lnTo>
                  <a:lnTo>
                    <a:pt x="122" y="436"/>
                  </a:lnTo>
                  <a:lnTo>
                    <a:pt x="126" y="432"/>
                  </a:lnTo>
                  <a:lnTo>
                    <a:pt x="126" y="429"/>
                  </a:lnTo>
                  <a:lnTo>
                    <a:pt x="135" y="431"/>
                  </a:lnTo>
                  <a:lnTo>
                    <a:pt x="137" y="432"/>
                  </a:lnTo>
                  <a:lnTo>
                    <a:pt x="142" y="438"/>
                  </a:lnTo>
                  <a:lnTo>
                    <a:pt x="146" y="443"/>
                  </a:lnTo>
                  <a:lnTo>
                    <a:pt x="151" y="445"/>
                  </a:lnTo>
                  <a:lnTo>
                    <a:pt x="157" y="452"/>
                  </a:lnTo>
                  <a:lnTo>
                    <a:pt x="160" y="458"/>
                  </a:lnTo>
                  <a:lnTo>
                    <a:pt x="151" y="463"/>
                  </a:lnTo>
                  <a:lnTo>
                    <a:pt x="151" y="471"/>
                  </a:lnTo>
                  <a:lnTo>
                    <a:pt x="151" y="482"/>
                  </a:lnTo>
                  <a:lnTo>
                    <a:pt x="162" y="487"/>
                  </a:lnTo>
                  <a:lnTo>
                    <a:pt x="162" y="492"/>
                  </a:lnTo>
                  <a:lnTo>
                    <a:pt x="157" y="516"/>
                  </a:lnTo>
                  <a:lnTo>
                    <a:pt x="160" y="514"/>
                  </a:lnTo>
                  <a:lnTo>
                    <a:pt x="169" y="514"/>
                  </a:lnTo>
                  <a:lnTo>
                    <a:pt x="182" y="520"/>
                  </a:lnTo>
                  <a:lnTo>
                    <a:pt x="188" y="516"/>
                  </a:lnTo>
                  <a:lnTo>
                    <a:pt x="191" y="516"/>
                  </a:lnTo>
                  <a:lnTo>
                    <a:pt x="191" y="516"/>
                  </a:lnTo>
                  <a:lnTo>
                    <a:pt x="193" y="531"/>
                  </a:lnTo>
                  <a:lnTo>
                    <a:pt x="193" y="531"/>
                  </a:lnTo>
                  <a:lnTo>
                    <a:pt x="197" y="532"/>
                  </a:lnTo>
                  <a:lnTo>
                    <a:pt x="200" y="534"/>
                  </a:lnTo>
                  <a:lnTo>
                    <a:pt x="208" y="536"/>
                  </a:lnTo>
                  <a:lnTo>
                    <a:pt x="208" y="536"/>
                  </a:lnTo>
                  <a:lnTo>
                    <a:pt x="211" y="540"/>
                  </a:lnTo>
                  <a:lnTo>
                    <a:pt x="217" y="543"/>
                  </a:lnTo>
                  <a:lnTo>
                    <a:pt x="218" y="551"/>
                  </a:lnTo>
                  <a:lnTo>
                    <a:pt x="218" y="551"/>
                  </a:lnTo>
                  <a:lnTo>
                    <a:pt x="229" y="554"/>
                  </a:lnTo>
                  <a:lnTo>
                    <a:pt x="229" y="554"/>
                  </a:lnTo>
                  <a:lnTo>
                    <a:pt x="244" y="556"/>
                  </a:lnTo>
                  <a:lnTo>
                    <a:pt x="255" y="563"/>
                  </a:lnTo>
                  <a:lnTo>
                    <a:pt x="255" y="571"/>
                  </a:lnTo>
                  <a:lnTo>
                    <a:pt x="266" y="569"/>
                  </a:lnTo>
                  <a:lnTo>
                    <a:pt x="273" y="574"/>
                  </a:lnTo>
                  <a:lnTo>
                    <a:pt x="273" y="583"/>
                  </a:lnTo>
                  <a:lnTo>
                    <a:pt x="287" y="605"/>
                  </a:lnTo>
                  <a:lnTo>
                    <a:pt x="291" y="605"/>
                  </a:lnTo>
                  <a:lnTo>
                    <a:pt x="309" y="605"/>
                  </a:lnTo>
                  <a:lnTo>
                    <a:pt x="315" y="612"/>
                  </a:lnTo>
                  <a:lnTo>
                    <a:pt x="331" y="616"/>
                  </a:lnTo>
                  <a:lnTo>
                    <a:pt x="335" y="607"/>
                  </a:lnTo>
                  <a:lnTo>
                    <a:pt x="342" y="603"/>
                  </a:lnTo>
                  <a:lnTo>
                    <a:pt x="355" y="600"/>
                  </a:lnTo>
                  <a:lnTo>
                    <a:pt x="356" y="596"/>
                  </a:lnTo>
                  <a:lnTo>
                    <a:pt x="356" y="596"/>
                  </a:lnTo>
                  <a:lnTo>
                    <a:pt x="366" y="594"/>
                  </a:lnTo>
                  <a:lnTo>
                    <a:pt x="366" y="594"/>
                  </a:lnTo>
                  <a:lnTo>
                    <a:pt x="367" y="598"/>
                  </a:lnTo>
                  <a:lnTo>
                    <a:pt x="367" y="601"/>
                  </a:lnTo>
                  <a:lnTo>
                    <a:pt x="371" y="611"/>
                  </a:lnTo>
                  <a:lnTo>
                    <a:pt x="369" y="614"/>
                  </a:lnTo>
                  <a:lnTo>
                    <a:pt x="376" y="620"/>
                  </a:lnTo>
                  <a:lnTo>
                    <a:pt x="378" y="621"/>
                  </a:lnTo>
                  <a:lnTo>
                    <a:pt x="389" y="621"/>
                  </a:lnTo>
                  <a:lnTo>
                    <a:pt x="393" y="621"/>
                  </a:lnTo>
                  <a:lnTo>
                    <a:pt x="396" y="621"/>
                  </a:lnTo>
                  <a:lnTo>
                    <a:pt x="404" y="625"/>
                  </a:lnTo>
                  <a:lnTo>
                    <a:pt x="404" y="632"/>
                  </a:lnTo>
                  <a:lnTo>
                    <a:pt x="409" y="638"/>
                  </a:lnTo>
                  <a:lnTo>
                    <a:pt x="407" y="641"/>
                  </a:lnTo>
                  <a:lnTo>
                    <a:pt x="413" y="643"/>
                  </a:lnTo>
                  <a:lnTo>
                    <a:pt x="416" y="643"/>
                  </a:lnTo>
                  <a:lnTo>
                    <a:pt x="427" y="641"/>
                  </a:lnTo>
                  <a:lnTo>
                    <a:pt x="431" y="654"/>
                  </a:lnTo>
                  <a:lnTo>
                    <a:pt x="435" y="658"/>
                  </a:lnTo>
                  <a:lnTo>
                    <a:pt x="435" y="661"/>
                  </a:lnTo>
                  <a:lnTo>
                    <a:pt x="438" y="667"/>
                  </a:lnTo>
                  <a:lnTo>
                    <a:pt x="438" y="667"/>
                  </a:lnTo>
                  <a:lnTo>
                    <a:pt x="440" y="663"/>
                  </a:lnTo>
                  <a:lnTo>
                    <a:pt x="440" y="663"/>
                  </a:lnTo>
                  <a:lnTo>
                    <a:pt x="445" y="658"/>
                  </a:lnTo>
                  <a:lnTo>
                    <a:pt x="447" y="654"/>
                  </a:lnTo>
                  <a:lnTo>
                    <a:pt x="455" y="647"/>
                  </a:lnTo>
                  <a:lnTo>
                    <a:pt x="455" y="647"/>
                  </a:lnTo>
                  <a:lnTo>
                    <a:pt x="467" y="638"/>
                  </a:lnTo>
                  <a:lnTo>
                    <a:pt x="474" y="625"/>
                  </a:lnTo>
                  <a:lnTo>
                    <a:pt x="474" y="625"/>
                  </a:lnTo>
                  <a:lnTo>
                    <a:pt x="476" y="621"/>
                  </a:lnTo>
                  <a:lnTo>
                    <a:pt x="476" y="618"/>
                  </a:lnTo>
                  <a:lnTo>
                    <a:pt x="476" y="612"/>
                  </a:lnTo>
                  <a:lnTo>
                    <a:pt x="474" y="607"/>
                  </a:lnTo>
                  <a:lnTo>
                    <a:pt x="474" y="607"/>
                  </a:lnTo>
                  <a:lnTo>
                    <a:pt x="471" y="600"/>
                  </a:lnTo>
                  <a:lnTo>
                    <a:pt x="471" y="600"/>
                  </a:lnTo>
                  <a:lnTo>
                    <a:pt x="474" y="592"/>
                  </a:lnTo>
                  <a:lnTo>
                    <a:pt x="480" y="585"/>
                  </a:lnTo>
                  <a:lnTo>
                    <a:pt x="487" y="580"/>
                  </a:lnTo>
                  <a:lnTo>
                    <a:pt x="487" y="580"/>
                  </a:lnTo>
                  <a:lnTo>
                    <a:pt x="489" y="576"/>
                  </a:lnTo>
                  <a:lnTo>
                    <a:pt x="493" y="576"/>
                  </a:lnTo>
                  <a:lnTo>
                    <a:pt x="493" y="574"/>
                  </a:lnTo>
                  <a:lnTo>
                    <a:pt x="494" y="571"/>
                  </a:lnTo>
                  <a:lnTo>
                    <a:pt x="494" y="571"/>
                  </a:lnTo>
                  <a:lnTo>
                    <a:pt x="498" y="558"/>
                  </a:lnTo>
                  <a:lnTo>
                    <a:pt x="500" y="552"/>
                  </a:lnTo>
                  <a:lnTo>
                    <a:pt x="502" y="549"/>
                  </a:lnTo>
                  <a:lnTo>
                    <a:pt x="502" y="549"/>
                  </a:lnTo>
                  <a:lnTo>
                    <a:pt x="500" y="538"/>
                  </a:lnTo>
                  <a:lnTo>
                    <a:pt x="498" y="536"/>
                  </a:lnTo>
                  <a:lnTo>
                    <a:pt x="496" y="534"/>
                  </a:lnTo>
                  <a:lnTo>
                    <a:pt x="496" y="534"/>
                  </a:lnTo>
                  <a:lnTo>
                    <a:pt x="491" y="532"/>
                  </a:lnTo>
                  <a:lnTo>
                    <a:pt x="482" y="529"/>
                  </a:lnTo>
                  <a:lnTo>
                    <a:pt x="471" y="523"/>
                  </a:lnTo>
                  <a:lnTo>
                    <a:pt x="471" y="523"/>
                  </a:lnTo>
                  <a:lnTo>
                    <a:pt x="478" y="509"/>
                  </a:lnTo>
                  <a:lnTo>
                    <a:pt x="478" y="509"/>
                  </a:lnTo>
                  <a:lnTo>
                    <a:pt x="478" y="502"/>
                  </a:lnTo>
                  <a:lnTo>
                    <a:pt x="480" y="496"/>
                  </a:lnTo>
                  <a:lnTo>
                    <a:pt x="478" y="489"/>
                  </a:lnTo>
                  <a:lnTo>
                    <a:pt x="478" y="482"/>
                  </a:lnTo>
                  <a:lnTo>
                    <a:pt x="478" y="482"/>
                  </a:lnTo>
                  <a:lnTo>
                    <a:pt x="474" y="478"/>
                  </a:lnTo>
                  <a:lnTo>
                    <a:pt x="471" y="476"/>
                  </a:lnTo>
                  <a:lnTo>
                    <a:pt x="462" y="474"/>
                  </a:lnTo>
                  <a:lnTo>
                    <a:pt x="462" y="474"/>
                  </a:lnTo>
                  <a:lnTo>
                    <a:pt x="462" y="467"/>
                  </a:lnTo>
                  <a:lnTo>
                    <a:pt x="464" y="460"/>
                  </a:lnTo>
                  <a:lnTo>
                    <a:pt x="467" y="456"/>
                  </a:lnTo>
                  <a:lnTo>
                    <a:pt x="467" y="456"/>
                  </a:lnTo>
                  <a:lnTo>
                    <a:pt x="469" y="454"/>
                  </a:lnTo>
                  <a:lnTo>
                    <a:pt x="469" y="452"/>
                  </a:lnTo>
                  <a:lnTo>
                    <a:pt x="471" y="451"/>
                  </a:lnTo>
                  <a:lnTo>
                    <a:pt x="462" y="436"/>
                  </a:lnTo>
                  <a:lnTo>
                    <a:pt x="471" y="427"/>
                  </a:lnTo>
                  <a:lnTo>
                    <a:pt x="471" y="427"/>
                  </a:lnTo>
                  <a:lnTo>
                    <a:pt x="469" y="422"/>
                  </a:lnTo>
                  <a:lnTo>
                    <a:pt x="464" y="407"/>
                  </a:lnTo>
                  <a:lnTo>
                    <a:pt x="464" y="407"/>
                  </a:lnTo>
                  <a:lnTo>
                    <a:pt x="460" y="402"/>
                  </a:lnTo>
                  <a:lnTo>
                    <a:pt x="458" y="394"/>
                  </a:lnTo>
                  <a:lnTo>
                    <a:pt x="455" y="391"/>
                  </a:lnTo>
                  <a:lnTo>
                    <a:pt x="462" y="382"/>
                  </a:lnTo>
                  <a:lnTo>
                    <a:pt x="458" y="353"/>
                  </a:lnTo>
                  <a:lnTo>
                    <a:pt x="471" y="354"/>
                  </a:lnTo>
                  <a:lnTo>
                    <a:pt x="471" y="354"/>
                  </a:lnTo>
                  <a:lnTo>
                    <a:pt x="476" y="345"/>
                  </a:lnTo>
                  <a:lnTo>
                    <a:pt x="480" y="340"/>
                  </a:lnTo>
                  <a:lnTo>
                    <a:pt x="482" y="338"/>
                  </a:lnTo>
                  <a:lnTo>
                    <a:pt x="482" y="333"/>
                  </a:lnTo>
                  <a:lnTo>
                    <a:pt x="482" y="333"/>
                  </a:lnTo>
                  <a:lnTo>
                    <a:pt x="484" y="327"/>
                  </a:lnTo>
                  <a:lnTo>
                    <a:pt x="487" y="323"/>
                  </a:lnTo>
                  <a:lnTo>
                    <a:pt x="489" y="322"/>
                  </a:lnTo>
                  <a:lnTo>
                    <a:pt x="489" y="318"/>
                  </a:lnTo>
                  <a:lnTo>
                    <a:pt x="489" y="318"/>
                  </a:lnTo>
                  <a:lnTo>
                    <a:pt x="489" y="305"/>
                  </a:lnTo>
                  <a:lnTo>
                    <a:pt x="489" y="298"/>
                  </a:lnTo>
                  <a:lnTo>
                    <a:pt x="487" y="293"/>
                  </a:lnTo>
                  <a:lnTo>
                    <a:pt x="487" y="291"/>
                  </a:lnTo>
                  <a:lnTo>
                    <a:pt x="487" y="291"/>
                  </a:lnTo>
                  <a:lnTo>
                    <a:pt x="482" y="289"/>
                  </a:lnTo>
                  <a:lnTo>
                    <a:pt x="482" y="287"/>
                  </a:lnTo>
                  <a:lnTo>
                    <a:pt x="478" y="283"/>
                  </a:lnTo>
                  <a:lnTo>
                    <a:pt x="474" y="283"/>
                  </a:lnTo>
                  <a:lnTo>
                    <a:pt x="474" y="283"/>
                  </a:lnTo>
                  <a:lnTo>
                    <a:pt x="467" y="283"/>
                  </a:lnTo>
                  <a:lnTo>
                    <a:pt x="462" y="280"/>
                  </a:lnTo>
                  <a:lnTo>
                    <a:pt x="451" y="273"/>
                  </a:lnTo>
                  <a:lnTo>
                    <a:pt x="451" y="273"/>
                  </a:lnTo>
                  <a:lnTo>
                    <a:pt x="447" y="271"/>
                  </a:lnTo>
                  <a:lnTo>
                    <a:pt x="442" y="267"/>
                  </a:lnTo>
                  <a:lnTo>
                    <a:pt x="442" y="265"/>
                  </a:lnTo>
                  <a:lnTo>
                    <a:pt x="435" y="242"/>
                  </a:lnTo>
                  <a:lnTo>
                    <a:pt x="435" y="242"/>
                  </a:lnTo>
                  <a:lnTo>
                    <a:pt x="462" y="222"/>
                  </a:lnTo>
                  <a:lnTo>
                    <a:pt x="462" y="222"/>
                  </a:lnTo>
                  <a:lnTo>
                    <a:pt x="469" y="220"/>
                  </a:lnTo>
                  <a:lnTo>
                    <a:pt x="471" y="218"/>
                  </a:lnTo>
                  <a:lnTo>
                    <a:pt x="474" y="218"/>
                  </a:lnTo>
                  <a:lnTo>
                    <a:pt x="474" y="220"/>
                  </a:lnTo>
                  <a:lnTo>
                    <a:pt x="474" y="220"/>
                  </a:lnTo>
                  <a:lnTo>
                    <a:pt x="476" y="220"/>
                  </a:lnTo>
                  <a:lnTo>
                    <a:pt x="478" y="220"/>
                  </a:lnTo>
                  <a:lnTo>
                    <a:pt x="478" y="216"/>
                  </a:lnTo>
                  <a:lnTo>
                    <a:pt x="482" y="205"/>
                  </a:lnTo>
                  <a:lnTo>
                    <a:pt x="482" y="205"/>
                  </a:lnTo>
                  <a:lnTo>
                    <a:pt x="480" y="196"/>
                  </a:lnTo>
                  <a:lnTo>
                    <a:pt x="478" y="189"/>
                  </a:lnTo>
                  <a:lnTo>
                    <a:pt x="476" y="184"/>
                  </a:lnTo>
                  <a:lnTo>
                    <a:pt x="476" y="184"/>
                  </a:lnTo>
                  <a:lnTo>
                    <a:pt x="464" y="164"/>
                  </a:lnTo>
                  <a:lnTo>
                    <a:pt x="464" y="164"/>
                  </a:lnTo>
                  <a:lnTo>
                    <a:pt x="467" y="160"/>
                  </a:lnTo>
                  <a:lnTo>
                    <a:pt x="471" y="158"/>
                  </a:lnTo>
                  <a:lnTo>
                    <a:pt x="473" y="156"/>
                  </a:lnTo>
                  <a:lnTo>
                    <a:pt x="473" y="156"/>
                  </a:lnTo>
                  <a:lnTo>
                    <a:pt x="482" y="156"/>
                  </a:lnTo>
                  <a:lnTo>
                    <a:pt x="487" y="154"/>
                  </a:lnTo>
                  <a:lnTo>
                    <a:pt x="487" y="153"/>
                  </a:lnTo>
                  <a:lnTo>
                    <a:pt x="487" y="153"/>
                  </a:lnTo>
                  <a:lnTo>
                    <a:pt x="487" y="153"/>
                  </a:lnTo>
                  <a:lnTo>
                    <a:pt x="487" y="147"/>
                  </a:lnTo>
                  <a:lnTo>
                    <a:pt x="489" y="147"/>
                  </a:lnTo>
                  <a:lnTo>
                    <a:pt x="491" y="147"/>
                  </a:lnTo>
                  <a:lnTo>
                    <a:pt x="491" y="145"/>
                  </a:lnTo>
                  <a:lnTo>
                    <a:pt x="491" y="145"/>
                  </a:lnTo>
                  <a:lnTo>
                    <a:pt x="491" y="144"/>
                  </a:lnTo>
                  <a:lnTo>
                    <a:pt x="489" y="140"/>
                  </a:lnTo>
                  <a:lnTo>
                    <a:pt x="484" y="134"/>
                  </a:lnTo>
                  <a:lnTo>
                    <a:pt x="473" y="124"/>
                  </a:lnTo>
                  <a:lnTo>
                    <a:pt x="473" y="124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11"/>
                  </a:lnTo>
                  <a:lnTo>
                    <a:pt x="471" y="111"/>
                  </a:lnTo>
                  <a:lnTo>
                    <a:pt x="473" y="104"/>
                  </a:lnTo>
                  <a:lnTo>
                    <a:pt x="473" y="104"/>
                  </a:lnTo>
                  <a:lnTo>
                    <a:pt x="473" y="104"/>
                  </a:lnTo>
                  <a:lnTo>
                    <a:pt x="473" y="104"/>
                  </a:lnTo>
                  <a:lnTo>
                    <a:pt x="471" y="102"/>
                  </a:lnTo>
                  <a:lnTo>
                    <a:pt x="471" y="102"/>
                  </a:lnTo>
                  <a:lnTo>
                    <a:pt x="469" y="98"/>
                  </a:lnTo>
                  <a:lnTo>
                    <a:pt x="467" y="95"/>
                  </a:lnTo>
                  <a:lnTo>
                    <a:pt x="467" y="93"/>
                  </a:lnTo>
                  <a:lnTo>
                    <a:pt x="467" y="93"/>
                  </a:lnTo>
                  <a:lnTo>
                    <a:pt x="460" y="91"/>
                  </a:lnTo>
                  <a:lnTo>
                    <a:pt x="455" y="93"/>
                  </a:lnTo>
                  <a:lnTo>
                    <a:pt x="451" y="95"/>
                  </a:lnTo>
                  <a:lnTo>
                    <a:pt x="447" y="98"/>
                  </a:lnTo>
                  <a:lnTo>
                    <a:pt x="447" y="98"/>
                  </a:lnTo>
                  <a:lnTo>
                    <a:pt x="447" y="100"/>
                  </a:lnTo>
                  <a:lnTo>
                    <a:pt x="449" y="104"/>
                  </a:lnTo>
                  <a:lnTo>
                    <a:pt x="455" y="116"/>
                  </a:lnTo>
                  <a:lnTo>
                    <a:pt x="458" y="124"/>
                  </a:lnTo>
                  <a:lnTo>
                    <a:pt x="458" y="127"/>
                  </a:lnTo>
                  <a:lnTo>
                    <a:pt x="458" y="131"/>
                  </a:lnTo>
                  <a:lnTo>
                    <a:pt x="456" y="131"/>
                  </a:lnTo>
                  <a:lnTo>
                    <a:pt x="456" y="131"/>
                  </a:lnTo>
                  <a:lnTo>
                    <a:pt x="455" y="127"/>
                  </a:lnTo>
                  <a:lnTo>
                    <a:pt x="451" y="127"/>
                  </a:lnTo>
                  <a:lnTo>
                    <a:pt x="449" y="124"/>
                  </a:lnTo>
                  <a:lnTo>
                    <a:pt x="447" y="118"/>
                  </a:lnTo>
                  <a:lnTo>
                    <a:pt x="442" y="116"/>
                  </a:lnTo>
                  <a:lnTo>
                    <a:pt x="440" y="116"/>
                  </a:lnTo>
                  <a:lnTo>
                    <a:pt x="440" y="116"/>
                  </a:lnTo>
                  <a:lnTo>
                    <a:pt x="435" y="113"/>
                  </a:lnTo>
                  <a:lnTo>
                    <a:pt x="429" y="113"/>
                  </a:lnTo>
                  <a:lnTo>
                    <a:pt x="427" y="113"/>
                  </a:lnTo>
                  <a:lnTo>
                    <a:pt x="425" y="116"/>
                  </a:lnTo>
                  <a:lnTo>
                    <a:pt x="425" y="116"/>
                  </a:lnTo>
                  <a:lnTo>
                    <a:pt x="422" y="122"/>
                  </a:lnTo>
                  <a:lnTo>
                    <a:pt x="422" y="127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25" y="142"/>
                  </a:lnTo>
                  <a:lnTo>
                    <a:pt x="425" y="142"/>
                  </a:lnTo>
                  <a:lnTo>
                    <a:pt x="438" y="153"/>
                  </a:lnTo>
                  <a:lnTo>
                    <a:pt x="445" y="160"/>
                  </a:lnTo>
                  <a:lnTo>
                    <a:pt x="447" y="162"/>
                  </a:lnTo>
                  <a:lnTo>
                    <a:pt x="447" y="164"/>
                  </a:lnTo>
                  <a:lnTo>
                    <a:pt x="447" y="164"/>
                  </a:lnTo>
                  <a:lnTo>
                    <a:pt x="447" y="165"/>
                  </a:lnTo>
                  <a:lnTo>
                    <a:pt x="445" y="165"/>
                  </a:lnTo>
                  <a:lnTo>
                    <a:pt x="440" y="165"/>
                  </a:lnTo>
                  <a:lnTo>
                    <a:pt x="435" y="164"/>
                  </a:lnTo>
                  <a:lnTo>
                    <a:pt x="429" y="160"/>
                  </a:lnTo>
                  <a:lnTo>
                    <a:pt x="429" y="160"/>
                  </a:lnTo>
                  <a:lnTo>
                    <a:pt x="422" y="156"/>
                  </a:lnTo>
                  <a:lnTo>
                    <a:pt x="415" y="153"/>
                  </a:lnTo>
                  <a:lnTo>
                    <a:pt x="411" y="147"/>
                  </a:lnTo>
                  <a:lnTo>
                    <a:pt x="409" y="145"/>
                  </a:lnTo>
                  <a:lnTo>
                    <a:pt x="407" y="140"/>
                  </a:lnTo>
                  <a:lnTo>
                    <a:pt x="407" y="136"/>
                  </a:lnTo>
                  <a:lnTo>
                    <a:pt x="407" y="136"/>
                  </a:lnTo>
                  <a:lnTo>
                    <a:pt x="409" y="124"/>
                  </a:lnTo>
                  <a:lnTo>
                    <a:pt x="413" y="116"/>
                  </a:lnTo>
                  <a:lnTo>
                    <a:pt x="420" y="100"/>
                  </a:lnTo>
                  <a:lnTo>
                    <a:pt x="420" y="100"/>
                  </a:lnTo>
                  <a:lnTo>
                    <a:pt x="425" y="95"/>
                  </a:lnTo>
                  <a:lnTo>
                    <a:pt x="429" y="85"/>
                  </a:lnTo>
                  <a:lnTo>
                    <a:pt x="431" y="80"/>
                  </a:lnTo>
                  <a:lnTo>
                    <a:pt x="431" y="76"/>
                  </a:lnTo>
                  <a:lnTo>
                    <a:pt x="431" y="73"/>
                  </a:lnTo>
                  <a:lnTo>
                    <a:pt x="429" y="67"/>
                  </a:lnTo>
                  <a:lnTo>
                    <a:pt x="429" y="67"/>
                  </a:lnTo>
                  <a:lnTo>
                    <a:pt x="425" y="60"/>
                  </a:lnTo>
                  <a:lnTo>
                    <a:pt x="422" y="56"/>
                  </a:lnTo>
                  <a:lnTo>
                    <a:pt x="420" y="55"/>
                  </a:lnTo>
                  <a:lnTo>
                    <a:pt x="418" y="55"/>
                  </a:lnTo>
                  <a:lnTo>
                    <a:pt x="418" y="55"/>
                  </a:lnTo>
                  <a:lnTo>
                    <a:pt x="420" y="58"/>
                  </a:lnTo>
                  <a:lnTo>
                    <a:pt x="422" y="67"/>
                  </a:lnTo>
                  <a:lnTo>
                    <a:pt x="422" y="71"/>
                  </a:lnTo>
                  <a:lnTo>
                    <a:pt x="422" y="76"/>
                  </a:lnTo>
                  <a:lnTo>
                    <a:pt x="422" y="80"/>
                  </a:lnTo>
                  <a:lnTo>
                    <a:pt x="420" y="85"/>
                  </a:lnTo>
                  <a:lnTo>
                    <a:pt x="420" y="85"/>
                  </a:lnTo>
                  <a:lnTo>
                    <a:pt x="415" y="95"/>
                  </a:lnTo>
                  <a:lnTo>
                    <a:pt x="407" y="100"/>
                  </a:lnTo>
                  <a:lnTo>
                    <a:pt x="398" y="104"/>
                  </a:lnTo>
                  <a:lnTo>
                    <a:pt x="393" y="105"/>
                  </a:lnTo>
                  <a:lnTo>
                    <a:pt x="393" y="105"/>
                  </a:lnTo>
                  <a:lnTo>
                    <a:pt x="389" y="105"/>
                  </a:lnTo>
                  <a:lnTo>
                    <a:pt x="386" y="105"/>
                  </a:lnTo>
                  <a:lnTo>
                    <a:pt x="380" y="111"/>
                  </a:lnTo>
                  <a:lnTo>
                    <a:pt x="376" y="116"/>
                  </a:lnTo>
                  <a:lnTo>
                    <a:pt x="375" y="118"/>
                  </a:lnTo>
                  <a:lnTo>
                    <a:pt x="375" y="118"/>
                  </a:lnTo>
                  <a:lnTo>
                    <a:pt x="371" y="120"/>
                  </a:lnTo>
                  <a:lnTo>
                    <a:pt x="369" y="124"/>
                  </a:lnTo>
                  <a:lnTo>
                    <a:pt x="369" y="124"/>
                  </a:lnTo>
                  <a:lnTo>
                    <a:pt x="369" y="127"/>
                  </a:lnTo>
                  <a:lnTo>
                    <a:pt x="369" y="127"/>
                  </a:lnTo>
                  <a:lnTo>
                    <a:pt x="371" y="136"/>
                  </a:lnTo>
                  <a:lnTo>
                    <a:pt x="371" y="142"/>
                  </a:lnTo>
                  <a:lnTo>
                    <a:pt x="371" y="147"/>
                  </a:lnTo>
                  <a:lnTo>
                    <a:pt x="369" y="153"/>
                  </a:lnTo>
                  <a:lnTo>
                    <a:pt x="369" y="153"/>
                  </a:lnTo>
                  <a:lnTo>
                    <a:pt x="369" y="156"/>
                  </a:lnTo>
                  <a:lnTo>
                    <a:pt x="369" y="160"/>
                  </a:lnTo>
                  <a:lnTo>
                    <a:pt x="371" y="165"/>
                  </a:lnTo>
                  <a:lnTo>
                    <a:pt x="371" y="169"/>
                  </a:lnTo>
                  <a:lnTo>
                    <a:pt x="371" y="173"/>
                  </a:lnTo>
                  <a:lnTo>
                    <a:pt x="369" y="176"/>
                  </a:lnTo>
                  <a:lnTo>
                    <a:pt x="366" y="180"/>
                  </a:lnTo>
                  <a:lnTo>
                    <a:pt x="366" y="180"/>
                  </a:lnTo>
                  <a:lnTo>
                    <a:pt x="356" y="185"/>
                  </a:lnTo>
                  <a:lnTo>
                    <a:pt x="347" y="196"/>
                  </a:lnTo>
                  <a:lnTo>
                    <a:pt x="338" y="205"/>
                  </a:lnTo>
                  <a:lnTo>
                    <a:pt x="336" y="209"/>
                  </a:lnTo>
                  <a:lnTo>
                    <a:pt x="335" y="214"/>
                  </a:lnTo>
                  <a:lnTo>
                    <a:pt x="335" y="214"/>
                  </a:lnTo>
                  <a:lnTo>
                    <a:pt x="335" y="222"/>
                  </a:lnTo>
                  <a:lnTo>
                    <a:pt x="331" y="229"/>
                  </a:lnTo>
                  <a:lnTo>
                    <a:pt x="329" y="238"/>
                  </a:lnTo>
                  <a:lnTo>
                    <a:pt x="327" y="240"/>
                  </a:lnTo>
                  <a:lnTo>
                    <a:pt x="327" y="242"/>
                  </a:lnTo>
                  <a:lnTo>
                    <a:pt x="327" y="242"/>
                  </a:lnTo>
                  <a:lnTo>
                    <a:pt x="331" y="245"/>
                  </a:lnTo>
                  <a:lnTo>
                    <a:pt x="338" y="249"/>
                  </a:lnTo>
                  <a:lnTo>
                    <a:pt x="347" y="253"/>
                  </a:lnTo>
                  <a:lnTo>
                    <a:pt x="351" y="253"/>
                  </a:lnTo>
                  <a:lnTo>
                    <a:pt x="351" y="253"/>
                  </a:lnTo>
                  <a:lnTo>
                    <a:pt x="351" y="253"/>
                  </a:lnTo>
                  <a:lnTo>
                    <a:pt x="356" y="253"/>
                  </a:lnTo>
                  <a:lnTo>
                    <a:pt x="362" y="253"/>
                  </a:lnTo>
                  <a:lnTo>
                    <a:pt x="369" y="256"/>
                  </a:lnTo>
                  <a:lnTo>
                    <a:pt x="375" y="260"/>
                  </a:lnTo>
                  <a:lnTo>
                    <a:pt x="375" y="260"/>
                  </a:lnTo>
                  <a:lnTo>
                    <a:pt x="380" y="265"/>
                  </a:lnTo>
                  <a:lnTo>
                    <a:pt x="387" y="271"/>
                  </a:lnTo>
                  <a:lnTo>
                    <a:pt x="389" y="276"/>
                  </a:lnTo>
                  <a:lnTo>
                    <a:pt x="391" y="280"/>
                  </a:lnTo>
                  <a:lnTo>
                    <a:pt x="393" y="285"/>
                  </a:lnTo>
                  <a:lnTo>
                    <a:pt x="393" y="289"/>
                  </a:lnTo>
                  <a:lnTo>
                    <a:pt x="393" y="289"/>
                  </a:lnTo>
                  <a:lnTo>
                    <a:pt x="393" y="311"/>
                  </a:lnTo>
                  <a:lnTo>
                    <a:pt x="391" y="314"/>
                  </a:lnTo>
                  <a:lnTo>
                    <a:pt x="389" y="320"/>
                  </a:lnTo>
                  <a:lnTo>
                    <a:pt x="389" y="320"/>
                  </a:lnTo>
                  <a:lnTo>
                    <a:pt x="389" y="320"/>
                  </a:lnTo>
                  <a:lnTo>
                    <a:pt x="386" y="320"/>
                  </a:lnTo>
                  <a:lnTo>
                    <a:pt x="384" y="318"/>
                  </a:lnTo>
                  <a:lnTo>
                    <a:pt x="380" y="314"/>
                  </a:lnTo>
                  <a:lnTo>
                    <a:pt x="378" y="320"/>
                  </a:lnTo>
                  <a:lnTo>
                    <a:pt x="378" y="320"/>
                  </a:lnTo>
                  <a:lnTo>
                    <a:pt x="376" y="322"/>
                  </a:lnTo>
                  <a:lnTo>
                    <a:pt x="375" y="327"/>
                  </a:lnTo>
                  <a:lnTo>
                    <a:pt x="373" y="333"/>
                  </a:lnTo>
                  <a:lnTo>
                    <a:pt x="373" y="338"/>
                  </a:lnTo>
                  <a:lnTo>
                    <a:pt x="373" y="338"/>
                  </a:lnTo>
                  <a:lnTo>
                    <a:pt x="376" y="343"/>
                  </a:lnTo>
                  <a:lnTo>
                    <a:pt x="384" y="349"/>
                  </a:lnTo>
                  <a:lnTo>
                    <a:pt x="393" y="356"/>
                  </a:lnTo>
                  <a:lnTo>
                    <a:pt x="393" y="356"/>
                  </a:lnTo>
                  <a:lnTo>
                    <a:pt x="386" y="354"/>
                  </a:lnTo>
                  <a:lnTo>
                    <a:pt x="378" y="353"/>
                  </a:lnTo>
                  <a:lnTo>
                    <a:pt x="373" y="349"/>
                  </a:lnTo>
                  <a:lnTo>
                    <a:pt x="373" y="349"/>
                  </a:lnTo>
                  <a:lnTo>
                    <a:pt x="369" y="343"/>
                  </a:lnTo>
                  <a:lnTo>
                    <a:pt x="366" y="340"/>
                  </a:lnTo>
                  <a:lnTo>
                    <a:pt x="366" y="338"/>
                  </a:lnTo>
                  <a:lnTo>
                    <a:pt x="367" y="329"/>
                  </a:lnTo>
                  <a:lnTo>
                    <a:pt x="367" y="329"/>
                  </a:lnTo>
                  <a:lnTo>
                    <a:pt x="371" y="323"/>
                  </a:lnTo>
                  <a:lnTo>
                    <a:pt x="375" y="314"/>
                  </a:lnTo>
                  <a:lnTo>
                    <a:pt x="376" y="311"/>
                  </a:lnTo>
                  <a:lnTo>
                    <a:pt x="378" y="303"/>
                  </a:lnTo>
                  <a:lnTo>
                    <a:pt x="378" y="303"/>
                  </a:lnTo>
                  <a:lnTo>
                    <a:pt x="376" y="296"/>
                  </a:lnTo>
                  <a:lnTo>
                    <a:pt x="375" y="289"/>
                  </a:lnTo>
                  <a:lnTo>
                    <a:pt x="375" y="285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76" y="273"/>
                  </a:lnTo>
                  <a:lnTo>
                    <a:pt x="375" y="271"/>
                  </a:lnTo>
                  <a:lnTo>
                    <a:pt x="373" y="269"/>
                  </a:lnTo>
                  <a:lnTo>
                    <a:pt x="373" y="269"/>
                  </a:lnTo>
                  <a:lnTo>
                    <a:pt x="367" y="267"/>
                  </a:lnTo>
                  <a:lnTo>
                    <a:pt x="358" y="267"/>
                  </a:lnTo>
                  <a:lnTo>
                    <a:pt x="344" y="267"/>
                  </a:lnTo>
                  <a:lnTo>
                    <a:pt x="344" y="267"/>
                  </a:lnTo>
                  <a:lnTo>
                    <a:pt x="338" y="267"/>
                  </a:lnTo>
                  <a:lnTo>
                    <a:pt x="335" y="267"/>
                  </a:lnTo>
                  <a:lnTo>
                    <a:pt x="331" y="269"/>
                  </a:lnTo>
                  <a:lnTo>
                    <a:pt x="329" y="276"/>
                  </a:lnTo>
                  <a:lnTo>
                    <a:pt x="329" y="276"/>
                  </a:lnTo>
                  <a:lnTo>
                    <a:pt x="327" y="280"/>
                  </a:lnTo>
                  <a:lnTo>
                    <a:pt x="324" y="283"/>
                  </a:lnTo>
                  <a:lnTo>
                    <a:pt x="324" y="287"/>
                  </a:lnTo>
                  <a:lnTo>
                    <a:pt x="324" y="289"/>
                  </a:lnTo>
                  <a:lnTo>
                    <a:pt x="324" y="289"/>
                  </a:lnTo>
                  <a:lnTo>
                    <a:pt x="324" y="293"/>
                  </a:lnTo>
                  <a:lnTo>
                    <a:pt x="326" y="300"/>
                  </a:lnTo>
                  <a:lnTo>
                    <a:pt x="324" y="307"/>
                  </a:lnTo>
                  <a:lnTo>
                    <a:pt x="324" y="313"/>
                  </a:lnTo>
                  <a:lnTo>
                    <a:pt x="324" y="313"/>
                  </a:lnTo>
                  <a:lnTo>
                    <a:pt x="320" y="314"/>
                  </a:lnTo>
                  <a:lnTo>
                    <a:pt x="316" y="318"/>
                  </a:lnTo>
                  <a:lnTo>
                    <a:pt x="309" y="323"/>
                  </a:lnTo>
                  <a:lnTo>
                    <a:pt x="304" y="327"/>
                  </a:lnTo>
                  <a:lnTo>
                    <a:pt x="295" y="331"/>
                  </a:lnTo>
                  <a:lnTo>
                    <a:pt x="295" y="331"/>
                  </a:lnTo>
                  <a:lnTo>
                    <a:pt x="291" y="333"/>
                  </a:lnTo>
                  <a:lnTo>
                    <a:pt x="291" y="334"/>
                  </a:lnTo>
                  <a:lnTo>
                    <a:pt x="287" y="343"/>
                  </a:lnTo>
                  <a:lnTo>
                    <a:pt x="282" y="349"/>
                  </a:lnTo>
                  <a:lnTo>
                    <a:pt x="280" y="353"/>
                  </a:lnTo>
                  <a:lnTo>
                    <a:pt x="275" y="353"/>
                  </a:lnTo>
                  <a:lnTo>
                    <a:pt x="275" y="353"/>
                  </a:lnTo>
                  <a:lnTo>
                    <a:pt x="273" y="353"/>
                  </a:lnTo>
                  <a:lnTo>
                    <a:pt x="273" y="353"/>
                  </a:lnTo>
                  <a:lnTo>
                    <a:pt x="255" y="356"/>
                  </a:lnTo>
                  <a:lnTo>
                    <a:pt x="249" y="356"/>
                  </a:lnTo>
                  <a:lnTo>
                    <a:pt x="246" y="362"/>
                  </a:lnTo>
                  <a:lnTo>
                    <a:pt x="246" y="362"/>
                  </a:lnTo>
                  <a:lnTo>
                    <a:pt x="242" y="363"/>
                  </a:lnTo>
                  <a:lnTo>
                    <a:pt x="238" y="367"/>
                  </a:lnTo>
                  <a:lnTo>
                    <a:pt x="237" y="369"/>
                  </a:lnTo>
                  <a:lnTo>
                    <a:pt x="231" y="369"/>
                  </a:lnTo>
                  <a:lnTo>
                    <a:pt x="229" y="367"/>
                  </a:lnTo>
                  <a:lnTo>
                    <a:pt x="229" y="367"/>
                  </a:lnTo>
                  <a:lnTo>
                    <a:pt x="222" y="362"/>
                  </a:lnTo>
                  <a:lnTo>
                    <a:pt x="213" y="354"/>
                  </a:lnTo>
                  <a:lnTo>
                    <a:pt x="213" y="354"/>
                  </a:lnTo>
                  <a:lnTo>
                    <a:pt x="208" y="349"/>
                  </a:lnTo>
                  <a:lnTo>
                    <a:pt x="198" y="345"/>
                  </a:lnTo>
                  <a:lnTo>
                    <a:pt x="189" y="340"/>
                  </a:lnTo>
                  <a:lnTo>
                    <a:pt x="188" y="338"/>
                  </a:lnTo>
                  <a:lnTo>
                    <a:pt x="186" y="334"/>
                  </a:lnTo>
                  <a:lnTo>
                    <a:pt x="186" y="334"/>
                  </a:lnTo>
                  <a:lnTo>
                    <a:pt x="186" y="323"/>
                  </a:lnTo>
                  <a:lnTo>
                    <a:pt x="186" y="322"/>
                  </a:lnTo>
                  <a:lnTo>
                    <a:pt x="188" y="322"/>
                  </a:lnTo>
                  <a:lnTo>
                    <a:pt x="191" y="323"/>
                  </a:lnTo>
                  <a:lnTo>
                    <a:pt x="191" y="323"/>
                  </a:lnTo>
                  <a:lnTo>
                    <a:pt x="197" y="327"/>
                  </a:lnTo>
                  <a:lnTo>
                    <a:pt x="198" y="331"/>
                  </a:lnTo>
                  <a:lnTo>
                    <a:pt x="202" y="338"/>
                  </a:lnTo>
                  <a:lnTo>
                    <a:pt x="204" y="340"/>
                  </a:lnTo>
                  <a:lnTo>
                    <a:pt x="206" y="343"/>
                  </a:lnTo>
                  <a:lnTo>
                    <a:pt x="208" y="343"/>
                  </a:lnTo>
                  <a:lnTo>
                    <a:pt x="211" y="343"/>
                  </a:lnTo>
                  <a:lnTo>
                    <a:pt x="211" y="343"/>
                  </a:lnTo>
                  <a:lnTo>
                    <a:pt x="222" y="343"/>
                  </a:lnTo>
                  <a:lnTo>
                    <a:pt x="231" y="340"/>
                  </a:lnTo>
                  <a:lnTo>
                    <a:pt x="240" y="338"/>
                  </a:lnTo>
                  <a:lnTo>
                    <a:pt x="244" y="334"/>
                  </a:lnTo>
                  <a:lnTo>
                    <a:pt x="246" y="334"/>
                  </a:lnTo>
                  <a:lnTo>
                    <a:pt x="246" y="334"/>
                  </a:lnTo>
                  <a:lnTo>
                    <a:pt x="253" y="327"/>
                  </a:lnTo>
                  <a:lnTo>
                    <a:pt x="266" y="320"/>
                  </a:lnTo>
                  <a:lnTo>
                    <a:pt x="278" y="313"/>
                  </a:lnTo>
                  <a:lnTo>
                    <a:pt x="286" y="305"/>
                  </a:lnTo>
                  <a:lnTo>
                    <a:pt x="286" y="305"/>
                  </a:lnTo>
                  <a:lnTo>
                    <a:pt x="287" y="303"/>
                  </a:lnTo>
                  <a:lnTo>
                    <a:pt x="287" y="300"/>
                  </a:lnTo>
                  <a:lnTo>
                    <a:pt x="289" y="291"/>
                  </a:lnTo>
                  <a:lnTo>
                    <a:pt x="291" y="287"/>
                  </a:lnTo>
                  <a:lnTo>
                    <a:pt x="295" y="283"/>
                  </a:lnTo>
                  <a:lnTo>
                    <a:pt x="297" y="280"/>
                  </a:lnTo>
                  <a:lnTo>
                    <a:pt x="297" y="280"/>
                  </a:lnTo>
                  <a:lnTo>
                    <a:pt x="304" y="278"/>
                  </a:lnTo>
                  <a:lnTo>
                    <a:pt x="309" y="276"/>
                  </a:lnTo>
                  <a:lnTo>
                    <a:pt x="311" y="273"/>
                  </a:lnTo>
                  <a:lnTo>
                    <a:pt x="311" y="271"/>
                  </a:lnTo>
                  <a:lnTo>
                    <a:pt x="311" y="269"/>
                  </a:lnTo>
                  <a:lnTo>
                    <a:pt x="311" y="269"/>
                  </a:lnTo>
                  <a:lnTo>
                    <a:pt x="311" y="262"/>
                  </a:lnTo>
                  <a:lnTo>
                    <a:pt x="307" y="249"/>
                  </a:lnTo>
                  <a:lnTo>
                    <a:pt x="306" y="245"/>
                  </a:lnTo>
                  <a:lnTo>
                    <a:pt x="306" y="238"/>
                  </a:lnTo>
                  <a:lnTo>
                    <a:pt x="307" y="231"/>
                  </a:lnTo>
                  <a:lnTo>
                    <a:pt x="309" y="225"/>
                  </a:lnTo>
                  <a:lnTo>
                    <a:pt x="309" y="225"/>
                  </a:lnTo>
                  <a:lnTo>
                    <a:pt x="327" y="196"/>
                  </a:lnTo>
                  <a:lnTo>
                    <a:pt x="333" y="182"/>
                  </a:lnTo>
                  <a:lnTo>
                    <a:pt x="338" y="173"/>
                  </a:lnTo>
                  <a:lnTo>
                    <a:pt x="338" y="173"/>
                  </a:lnTo>
                  <a:lnTo>
                    <a:pt x="344" y="162"/>
                  </a:lnTo>
                  <a:lnTo>
                    <a:pt x="349" y="153"/>
                  </a:lnTo>
                  <a:lnTo>
                    <a:pt x="351" y="144"/>
                  </a:lnTo>
                  <a:lnTo>
                    <a:pt x="351" y="140"/>
                  </a:lnTo>
                  <a:lnTo>
                    <a:pt x="351" y="136"/>
                  </a:lnTo>
                  <a:lnTo>
                    <a:pt x="351" y="136"/>
                  </a:lnTo>
                  <a:lnTo>
                    <a:pt x="351" y="131"/>
                  </a:lnTo>
                  <a:lnTo>
                    <a:pt x="347" y="124"/>
                  </a:lnTo>
                  <a:lnTo>
                    <a:pt x="346" y="120"/>
                  </a:lnTo>
                  <a:lnTo>
                    <a:pt x="346" y="116"/>
                  </a:lnTo>
                  <a:lnTo>
                    <a:pt x="347" y="113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66" y="96"/>
                  </a:lnTo>
                  <a:lnTo>
                    <a:pt x="373" y="91"/>
                  </a:lnTo>
                  <a:lnTo>
                    <a:pt x="376" y="82"/>
                  </a:lnTo>
                  <a:lnTo>
                    <a:pt x="376" y="82"/>
                  </a:lnTo>
                  <a:lnTo>
                    <a:pt x="380" y="76"/>
                  </a:lnTo>
                  <a:lnTo>
                    <a:pt x="386" y="71"/>
                  </a:lnTo>
                  <a:lnTo>
                    <a:pt x="389" y="60"/>
                  </a:lnTo>
                  <a:lnTo>
                    <a:pt x="389" y="55"/>
                  </a:lnTo>
                  <a:lnTo>
                    <a:pt x="389" y="55"/>
                  </a:lnTo>
                  <a:lnTo>
                    <a:pt x="387" y="53"/>
                  </a:lnTo>
                  <a:lnTo>
                    <a:pt x="386" y="49"/>
                  </a:lnTo>
                  <a:lnTo>
                    <a:pt x="376" y="42"/>
                  </a:lnTo>
                  <a:lnTo>
                    <a:pt x="369" y="35"/>
                  </a:lnTo>
                  <a:lnTo>
                    <a:pt x="358" y="31"/>
                  </a:lnTo>
                  <a:lnTo>
                    <a:pt x="358" y="31"/>
                  </a:lnTo>
                  <a:lnTo>
                    <a:pt x="356" y="29"/>
                  </a:lnTo>
                  <a:lnTo>
                    <a:pt x="355" y="29"/>
                  </a:lnTo>
                  <a:lnTo>
                    <a:pt x="362" y="29"/>
                  </a:lnTo>
                  <a:lnTo>
                    <a:pt x="376" y="27"/>
                  </a:lnTo>
                  <a:lnTo>
                    <a:pt x="376" y="27"/>
                  </a:lnTo>
                  <a:lnTo>
                    <a:pt x="380" y="25"/>
                  </a:lnTo>
                  <a:lnTo>
                    <a:pt x="386" y="20"/>
                  </a:lnTo>
                  <a:lnTo>
                    <a:pt x="386" y="16"/>
                  </a:lnTo>
                  <a:lnTo>
                    <a:pt x="386" y="9"/>
                  </a:lnTo>
                  <a:lnTo>
                    <a:pt x="386" y="9"/>
                  </a:lnTo>
                  <a:lnTo>
                    <a:pt x="380" y="5"/>
                  </a:lnTo>
                  <a:lnTo>
                    <a:pt x="376" y="0"/>
                  </a:lnTo>
                  <a:lnTo>
                    <a:pt x="373" y="0"/>
                  </a:lnTo>
                  <a:lnTo>
                    <a:pt x="369" y="5"/>
                  </a:lnTo>
                  <a:lnTo>
                    <a:pt x="369" y="5"/>
                  </a:lnTo>
                  <a:lnTo>
                    <a:pt x="364" y="9"/>
                  </a:lnTo>
                  <a:lnTo>
                    <a:pt x="358" y="15"/>
                  </a:lnTo>
                  <a:lnTo>
                    <a:pt x="355" y="20"/>
                  </a:lnTo>
                  <a:lnTo>
                    <a:pt x="355" y="20"/>
                  </a:lnTo>
                  <a:lnTo>
                    <a:pt x="351" y="20"/>
                  </a:lnTo>
                  <a:lnTo>
                    <a:pt x="349" y="20"/>
                  </a:lnTo>
                  <a:lnTo>
                    <a:pt x="347" y="22"/>
                  </a:lnTo>
                  <a:lnTo>
                    <a:pt x="347" y="22"/>
                  </a:lnTo>
                  <a:lnTo>
                    <a:pt x="331" y="36"/>
                  </a:lnTo>
                  <a:lnTo>
                    <a:pt x="315" y="58"/>
                  </a:lnTo>
                  <a:lnTo>
                    <a:pt x="315" y="58"/>
                  </a:lnTo>
                  <a:lnTo>
                    <a:pt x="307" y="67"/>
                  </a:lnTo>
                  <a:lnTo>
                    <a:pt x="300" y="75"/>
                  </a:lnTo>
                  <a:lnTo>
                    <a:pt x="295" y="76"/>
                  </a:lnTo>
                  <a:lnTo>
                    <a:pt x="291" y="78"/>
                  </a:lnTo>
                  <a:lnTo>
                    <a:pt x="286" y="80"/>
                  </a:lnTo>
                  <a:lnTo>
                    <a:pt x="282" y="82"/>
                  </a:lnTo>
                  <a:lnTo>
                    <a:pt x="282" y="82"/>
                  </a:lnTo>
                  <a:lnTo>
                    <a:pt x="275" y="82"/>
                  </a:lnTo>
                  <a:lnTo>
                    <a:pt x="269" y="84"/>
                  </a:lnTo>
                  <a:lnTo>
                    <a:pt x="262" y="91"/>
                  </a:lnTo>
                  <a:lnTo>
                    <a:pt x="255" y="95"/>
                  </a:lnTo>
                  <a:lnTo>
                    <a:pt x="251" y="100"/>
                  </a:lnTo>
                  <a:lnTo>
                    <a:pt x="251" y="100"/>
                  </a:lnTo>
                  <a:lnTo>
                    <a:pt x="249" y="100"/>
                  </a:lnTo>
                  <a:lnTo>
                    <a:pt x="249" y="102"/>
                  </a:lnTo>
                  <a:lnTo>
                    <a:pt x="251" y="105"/>
                  </a:lnTo>
                  <a:lnTo>
                    <a:pt x="253" y="109"/>
                  </a:lnTo>
                  <a:lnTo>
                    <a:pt x="251" y="113"/>
                  </a:lnTo>
                  <a:lnTo>
                    <a:pt x="249" y="116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4" y="127"/>
                  </a:lnTo>
                  <a:lnTo>
                    <a:pt x="240" y="134"/>
                  </a:lnTo>
                  <a:lnTo>
                    <a:pt x="231" y="144"/>
                  </a:lnTo>
                  <a:lnTo>
                    <a:pt x="226" y="147"/>
                  </a:lnTo>
                  <a:lnTo>
                    <a:pt x="222" y="153"/>
                  </a:lnTo>
                  <a:lnTo>
                    <a:pt x="222" y="156"/>
                  </a:lnTo>
                  <a:lnTo>
                    <a:pt x="222" y="156"/>
                  </a:lnTo>
                  <a:lnTo>
                    <a:pt x="224" y="160"/>
                  </a:lnTo>
                  <a:lnTo>
                    <a:pt x="226" y="165"/>
                  </a:lnTo>
                  <a:lnTo>
                    <a:pt x="229" y="173"/>
                  </a:lnTo>
                  <a:lnTo>
                    <a:pt x="229" y="176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9" y="187"/>
                  </a:lnTo>
                  <a:lnTo>
                    <a:pt x="229" y="196"/>
                  </a:lnTo>
                  <a:lnTo>
                    <a:pt x="229" y="196"/>
                  </a:lnTo>
                  <a:lnTo>
                    <a:pt x="231" y="202"/>
                  </a:lnTo>
                  <a:lnTo>
                    <a:pt x="233" y="209"/>
                  </a:lnTo>
                  <a:lnTo>
                    <a:pt x="237" y="218"/>
                  </a:lnTo>
                  <a:lnTo>
                    <a:pt x="237" y="220"/>
                  </a:lnTo>
                  <a:lnTo>
                    <a:pt x="231" y="222"/>
                  </a:lnTo>
                  <a:lnTo>
                    <a:pt x="231" y="222"/>
                  </a:lnTo>
                  <a:lnTo>
                    <a:pt x="218" y="240"/>
                  </a:lnTo>
                  <a:lnTo>
                    <a:pt x="209" y="243"/>
                  </a:lnTo>
                  <a:lnTo>
                    <a:pt x="208" y="243"/>
                  </a:lnTo>
                  <a:lnTo>
                    <a:pt x="208" y="242"/>
                  </a:lnTo>
                  <a:lnTo>
                    <a:pt x="208" y="242"/>
                  </a:lnTo>
                  <a:lnTo>
                    <a:pt x="208" y="234"/>
                  </a:lnTo>
                  <a:lnTo>
                    <a:pt x="206" y="222"/>
                  </a:lnTo>
                  <a:lnTo>
                    <a:pt x="204" y="209"/>
                  </a:lnTo>
                  <a:lnTo>
                    <a:pt x="200" y="196"/>
                  </a:lnTo>
                  <a:lnTo>
                    <a:pt x="200" y="196"/>
                  </a:lnTo>
                  <a:lnTo>
                    <a:pt x="184" y="160"/>
                  </a:lnTo>
                  <a:lnTo>
                    <a:pt x="177" y="164"/>
                  </a:lnTo>
                  <a:lnTo>
                    <a:pt x="177" y="164"/>
                  </a:lnTo>
                  <a:lnTo>
                    <a:pt x="162" y="167"/>
                  </a:lnTo>
                  <a:lnTo>
                    <a:pt x="162" y="167"/>
                  </a:lnTo>
                  <a:lnTo>
                    <a:pt x="162" y="167"/>
                  </a:lnTo>
                  <a:lnTo>
                    <a:pt x="162" y="167"/>
                  </a:lnTo>
                  <a:lnTo>
                    <a:pt x="162" y="16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0" name="Freeform 101"/>
            <p:cNvSpPr>
              <a:spLocks/>
            </p:cNvSpPr>
            <p:nvPr/>
          </p:nvSpPr>
          <p:spPr bwMode="auto">
            <a:xfrm rot="19831479">
              <a:off x="5839404" y="1815815"/>
              <a:ext cx="1405302" cy="1104666"/>
            </a:xfrm>
            <a:custGeom>
              <a:avLst/>
              <a:gdLst>
                <a:gd name="T0" fmla="*/ 572 w 603"/>
                <a:gd name="T1" fmla="*/ 396 h 474"/>
                <a:gd name="T2" fmla="*/ 571 w 603"/>
                <a:gd name="T3" fmla="*/ 367 h 474"/>
                <a:gd name="T4" fmla="*/ 543 w 603"/>
                <a:gd name="T5" fmla="*/ 350 h 474"/>
                <a:gd name="T6" fmla="*/ 529 w 603"/>
                <a:gd name="T7" fmla="*/ 330 h 474"/>
                <a:gd name="T8" fmla="*/ 507 w 603"/>
                <a:gd name="T9" fmla="*/ 320 h 474"/>
                <a:gd name="T10" fmla="*/ 491 w 603"/>
                <a:gd name="T11" fmla="*/ 309 h 474"/>
                <a:gd name="T12" fmla="*/ 445 w 603"/>
                <a:gd name="T13" fmla="*/ 314 h 474"/>
                <a:gd name="T14" fmla="*/ 402 w 603"/>
                <a:gd name="T15" fmla="*/ 278 h 474"/>
                <a:gd name="T16" fmla="*/ 354 w 603"/>
                <a:gd name="T17" fmla="*/ 260 h 474"/>
                <a:gd name="T18" fmla="*/ 333 w 603"/>
                <a:gd name="T19" fmla="*/ 241 h 474"/>
                <a:gd name="T20" fmla="*/ 305 w 603"/>
                <a:gd name="T21" fmla="*/ 223 h 474"/>
                <a:gd name="T22" fmla="*/ 287 w 603"/>
                <a:gd name="T23" fmla="*/ 191 h 474"/>
                <a:gd name="T24" fmla="*/ 287 w 603"/>
                <a:gd name="T25" fmla="*/ 154 h 474"/>
                <a:gd name="T26" fmla="*/ 262 w 603"/>
                <a:gd name="T27" fmla="*/ 138 h 474"/>
                <a:gd name="T28" fmla="*/ 222 w 603"/>
                <a:gd name="T29" fmla="*/ 136 h 474"/>
                <a:gd name="T30" fmla="*/ 211 w 603"/>
                <a:gd name="T31" fmla="*/ 105 h 474"/>
                <a:gd name="T32" fmla="*/ 180 w 603"/>
                <a:gd name="T33" fmla="*/ 92 h 474"/>
                <a:gd name="T34" fmla="*/ 155 w 603"/>
                <a:gd name="T35" fmla="*/ 85 h 474"/>
                <a:gd name="T36" fmla="*/ 136 w 603"/>
                <a:gd name="T37" fmla="*/ 58 h 474"/>
                <a:gd name="T38" fmla="*/ 160 w 603"/>
                <a:gd name="T39" fmla="*/ 34 h 474"/>
                <a:gd name="T40" fmla="*/ 160 w 603"/>
                <a:gd name="T41" fmla="*/ 12 h 474"/>
                <a:gd name="T42" fmla="*/ 113 w 603"/>
                <a:gd name="T43" fmla="*/ 20 h 474"/>
                <a:gd name="T44" fmla="*/ 98 w 603"/>
                <a:gd name="T45" fmla="*/ 11 h 474"/>
                <a:gd name="T46" fmla="*/ 71 w 603"/>
                <a:gd name="T47" fmla="*/ 34 h 474"/>
                <a:gd name="T48" fmla="*/ 64 w 603"/>
                <a:gd name="T49" fmla="*/ 52 h 474"/>
                <a:gd name="T50" fmla="*/ 28 w 603"/>
                <a:gd name="T51" fmla="*/ 81 h 474"/>
                <a:gd name="T52" fmla="*/ 17 w 603"/>
                <a:gd name="T53" fmla="*/ 111 h 474"/>
                <a:gd name="T54" fmla="*/ 11 w 603"/>
                <a:gd name="T55" fmla="*/ 120 h 474"/>
                <a:gd name="T56" fmla="*/ 0 w 603"/>
                <a:gd name="T57" fmla="*/ 138 h 474"/>
                <a:gd name="T58" fmla="*/ 9 w 603"/>
                <a:gd name="T59" fmla="*/ 158 h 474"/>
                <a:gd name="T60" fmla="*/ 35 w 603"/>
                <a:gd name="T61" fmla="*/ 200 h 474"/>
                <a:gd name="T62" fmla="*/ 37 w 603"/>
                <a:gd name="T63" fmla="*/ 229 h 474"/>
                <a:gd name="T64" fmla="*/ 29 w 603"/>
                <a:gd name="T65" fmla="*/ 265 h 474"/>
                <a:gd name="T66" fmla="*/ 46 w 603"/>
                <a:gd name="T67" fmla="*/ 330 h 474"/>
                <a:gd name="T68" fmla="*/ 53 w 603"/>
                <a:gd name="T69" fmla="*/ 376 h 474"/>
                <a:gd name="T70" fmla="*/ 87 w 603"/>
                <a:gd name="T71" fmla="*/ 361 h 474"/>
                <a:gd name="T72" fmla="*/ 153 w 603"/>
                <a:gd name="T73" fmla="*/ 350 h 474"/>
                <a:gd name="T74" fmla="*/ 213 w 603"/>
                <a:gd name="T75" fmla="*/ 359 h 474"/>
                <a:gd name="T76" fmla="*/ 222 w 603"/>
                <a:gd name="T77" fmla="*/ 403 h 474"/>
                <a:gd name="T78" fmla="*/ 262 w 603"/>
                <a:gd name="T79" fmla="*/ 429 h 474"/>
                <a:gd name="T80" fmla="*/ 271 w 603"/>
                <a:gd name="T81" fmla="*/ 452 h 474"/>
                <a:gd name="T82" fmla="*/ 287 w 603"/>
                <a:gd name="T83" fmla="*/ 470 h 474"/>
                <a:gd name="T84" fmla="*/ 311 w 603"/>
                <a:gd name="T85" fmla="*/ 458 h 474"/>
                <a:gd name="T86" fmla="*/ 338 w 603"/>
                <a:gd name="T87" fmla="*/ 447 h 474"/>
                <a:gd name="T88" fmla="*/ 365 w 603"/>
                <a:gd name="T89" fmla="*/ 403 h 474"/>
                <a:gd name="T90" fmla="*/ 374 w 603"/>
                <a:gd name="T91" fmla="*/ 396 h 474"/>
                <a:gd name="T92" fmla="*/ 418 w 603"/>
                <a:gd name="T93" fmla="*/ 410 h 474"/>
                <a:gd name="T94" fmla="*/ 427 w 603"/>
                <a:gd name="T95" fmla="*/ 423 h 474"/>
                <a:gd name="T96" fmla="*/ 463 w 603"/>
                <a:gd name="T97" fmla="*/ 429 h 474"/>
                <a:gd name="T98" fmla="*/ 480 w 603"/>
                <a:gd name="T99" fmla="*/ 439 h 474"/>
                <a:gd name="T100" fmla="*/ 498 w 603"/>
                <a:gd name="T101" fmla="*/ 443 h 474"/>
                <a:gd name="T102" fmla="*/ 529 w 603"/>
                <a:gd name="T103" fmla="*/ 432 h 474"/>
                <a:gd name="T104" fmla="*/ 592 w 603"/>
                <a:gd name="T105" fmla="*/ 427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03" h="474">
                  <a:moveTo>
                    <a:pt x="600" y="418"/>
                  </a:moveTo>
                  <a:lnTo>
                    <a:pt x="594" y="414"/>
                  </a:lnTo>
                  <a:lnTo>
                    <a:pt x="583" y="405"/>
                  </a:lnTo>
                  <a:lnTo>
                    <a:pt x="574" y="401"/>
                  </a:lnTo>
                  <a:lnTo>
                    <a:pt x="572" y="396"/>
                  </a:lnTo>
                  <a:lnTo>
                    <a:pt x="571" y="389"/>
                  </a:lnTo>
                  <a:lnTo>
                    <a:pt x="572" y="383"/>
                  </a:lnTo>
                  <a:lnTo>
                    <a:pt x="574" y="376"/>
                  </a:lnTo>
                  <a:lnTo>
                    <a:pt x="571" y="370"/>
                  </a:lnTo>
                  <a:lnTo>
                    <a:pt x="571" y="367"/>
                  </a:lnTo>
                  <a:lnTo>
                    <a:pt x="567" y="363"/>
                  </a:lnTo>
                  <a:lnTo>
                    <a:pt x="563" y="350"/>
                  </a:lnTo>
                  <a:lnTo>
                    <a:pt x="552" y="352"/>
                  </a:lnTo>
                  <a:lnTo>
                    <a:pt x="549" y="352"/>
                  </a:lnTo>
                  <a:lnTo>
                    <a:pt x="543" y="350"/>
                  </a:lnTo>
                  <a:lnTo>
                    <a:pt x="545" y="347"/>
                  </a:lnTo>
                  <a:lnTo>
                    <a:pt x="540" y="341"/>
                  </a:lnTo>
                  <a:lnTo>
                    <a:pt x="540" y="334"/>
                  </a:lnTo>
                  <a:lnTo>
                    <a:pt x="532" y="330"/>
                  </a:lnTo>
                  <a:lnTo>
                    <a:pt x="529" y="330"/>
                  </a:lnTo>
                  <a:lnTo>
                    <a:pt x="525" y="330"/>
                  </a:lnTo>
                  <a:lnTo>
                    <a:pt x="514" y="330"/>
                  </a:lnTo>
                  <a:lnTo>
                    <a:pt x="512" y="329"/>
                  </a:lnTo>
                  <a:lnTo>
                    <a:pt x="505" y="323"/>
                  </a:lnTo>
                  <a:lnTo>
                    <a:pt x="507" y="320"/>
                  </a:lnTo>
                  <a:lnTo>
                    <a:pt x="503" y="310"/>
                  </a:lnTo>
                  <a:lnTo>
                    <a:pt x="503" y="307"/>
                  </a:lnTo>
                  <a:lnTo>
                    <a:pt x="502" y="303"/>
                  </a:lnTo>
                  <a:lnTo>
                    <a:pt x="492" y="305"/>
                  </a:lnTo>
                  <a:lnTo>
                    <a:pt x="491" y="309"/>
                  </a:lnTo>
                  <a:lnTo>
                    <a:pt x="478" y="312"/>
                  </a:lnTo>
                  <a:lnTo>
                    <a:pt x="471" y="316"/>
                  </a:lnTo>
                  <a:lnTo>
                    <a:pt x="467" y="325"/>
                  </a:lnTo>
                  <a:lnTo>
                    <a:pt x="451" y="321"/>
                  </a:lnTo>
                  <a:lnTo>
                    <a:pt x="445" y="314"/>
                  </a:lnTo>
                  <a:lnTo>
                    <a:pt x="427" y="314"/>
                  </a:lnTo>
                  <a:lnTo>
                    <a:pt x="423" y="314"/>
                  </a:lnTo>
                  <a:lnTo>
                    <a:pt x="409" y="292"/>
                  </a:lnTo>
                  <a:lnTo>
                    <a:pt x="409" y="283"/>
                  </a:lnTo>
                  <a:lnTo>
                    <a:pt x="402" y="278"/>
                  </a:lnTo>
                  <a:lnTo>
                    <a:pt x="391" y="280"/>
                  </a:lnTo>
                  <a:lnTo>
                    <a:pt x="391" y="272"/>
                  </a:lnTo>
                  <a:lnTo>
                    <a:pt x="380" y="265"/>
                  </a:lnTo>
                  <a:lnTo>
                    <a:pt x="365" y="263"/>
                  </a:lnTo>
                  <a:lnTo>
                    <a:pt x="354" y="260"/>
                  </a:lnTo>
                  <a:lnTo>
                    <a:pt x="353" y="252"/>
                  </a:lnTo>
                  <a:lnTo>
                    <a:pt x="347" y="249"/>
                  </a:lnTo>
                  <a:lnTo>
                    <a:pt x="344" y="245"/>
                  </a:lnTo>
                  <a:lnTo>
                    <a:pt x="336" y="243"/>
                  </a:lnTo>
                  <a:lnTo>
                    <a:pt x="333" y="241"/>
                  </a:lnTo>
                  <a:lnTo>
                    <a:pt x="329" y="240"/>
                  </a:lnTo>
                  <a:lnTo>
                    <a:pt x="327" y="225"/>
                  </a:lnTo>
                  <a:lnTo>
                    <a:pt x="324" y="225"/>
                  </a:lnTo>
                  <a:lnTo>
                    <a:pt x="318" y="229"/>
                  </a:lnTo>
                  <a:lnTo>
                    <a:pt x="305" y="223"/>
                  </a:lnTo>
                  <a:lnTo>
                    <a:pt x="296" y="223"/>
                  </a:lnTo>
                  <a:lnTo>
                    <a:pt x="293" y="225"/>
                  </a:lnTo>
                  <a:lnTo>
                    <a:pt x="298" y="201"/>
                  </a:lnTo>
                  <a:lnTo>
                    <a:pt x="298" y="196"/>
                  </a:lnTo>
                  <a:lnTo>
                    <a:pt x="287" y="191"/>
                  </a:lnTo>
                  <a:lnTo>
                    <a:pt x="287" y="180"/>
                  </a:lnTo>
                  <a:lnTo>
                    <a:pt x="287" y="172"/>
                  </a:lnTo>
                  <a:lnTo>
                    <a:pt x="296" y="167"/>
                  </a:lnTo>
                  <a:lnTo>
                    <a:pt x="293" y="161"/>
                  </a:lnTo>
                  <a:lnTo>
                    <a:pt x="287" y="154"/>
                  </a:lnTo>
                  <a:lnTo>
                    <a:pt x="282" y="152"/>
                  </a:lnTo>
                  <a:lnTo>
                    <a:pt x="278" y="147"/>
                  </a:lnTo>
                  <a:lnTo>
                    <a:pt x="273" y="141"/>
                  </a:lnTo>
                  <a:lnTo>
                    <a:pt x="271" y="140"/>
                  </a:lnTo>
                  <a:lnTo>
                    <a:pt x="262" y="138"/>
                  </a:lnTo>
                  <a:lnTo>
                    <a:pt x="262" y="141"/>
                  </a:lnTo>
                  <a:lnTo>
                    <a:pt x="258" y="145"/>
                  </a:lnTo>
                  <a:lnTo>
                    <a:pt x="251" y="138"/>
                  </a:lnTo>
                  <a:lnTo>
                    <a:pt x="231" y="141"/>
                  </a:lnTo>
                  <a:lnTo>
                    <a:pt x="222" y="136"/>
                  </a:lnTo>
                  <a:lnTo>
                    <a:pt x="215" y="125"/>
                  </a:lnTo>
                  <a:lnTo>
                    <a:pt x="218" y="118"/>
                  </a:lnTo>
                  <a:lnTo>
                    <a:pt x="224" y="114"/>
                  </a:lnTo>
                  <a:lnTo>
                    <a:pt x="220" y="107"/>
                  </a:lnTo>
                  <a:lnTo>
                    <a:pt x="211" y="105"/>
                  </a:lnTo>
                  <a:lnTo>
                    <a:pt x="209" y="100"/>
                  </a:lnTo>
                  <a:lnTo>
                    <a:pt x="202" y="98"/>
                  </a:lnTo>
                  <a:lnTo>
                    <a:pt x="195" y="94"/>
                  </a:lnTo>
                  <a:lnTo>
                    <a:pt x="189" y="94"/>
                  </a:lnTo>
                  <a:lnTo>
                    <a:pt x="180" y="92"/>
                  </a:lnTo>
                  <a:lnTo>
                    <a:pt x="176" y="92"/>
                  </a:lnTo>
                  <a:lnTo>
                    <a:pt x="175" y="91"/>
                  </a:lnTo>
                  <a:lnTo>
                    <a:pt x="169" y="91"/>
                  </a:lnTo>
                  <a:lnTo>
                    <a:pt x="160" y="85"/>
                  </a:lnTo>
                  <a:lnTo>
                    <a:pt x="155" y="85"/>
                  </a:lnTo>
                  <a:lnTo>
                    <a:pt x="149" y="78"/>
                  </a:lnTo>
                  <a:lnTo>
                    <a:pt x="153" y="76"/>
                  </a:lnTo>
                  <a:lnTo>
                    <a:pt x="151" y="69"/>
                  </a:lnTo>
                  <a:lnTo>
                    <a:pt x="140" y="65"/>
                  </a:lnTo>
                  <a:lnTo>
                    <a:pt x="136" y="58"/>
                  </a:lnTo>
                  <a:lnTo>
                    <a:pt x="140" y="54"/>
                  </a:lnTo>
                  <a:lnTo>
                    <a:pt x="146" y="54"/>
                  </a:lnTo>
                  <a:lnTo>
                    <a:pt x="149" y="49"/>
                  </a:lnTo>
                  <a:lnTo>
                    <a:pt x="149" y="43"/>
                  </a:lnTo>
                  <a:lnTo>
                    <a:pt x="160" y="34"/>
                  </a:lnTo>
                  <a:lnTo>
                    <a:pt x="166" y="29"/>
                  </a:lnTo>
                  <a:lnTo>
                    <a:pt x="160" y="23"/>
                  </a:lnTo>
                  <a:lnTo>
                    <a:pt x="158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2" y="11"/>
                  </a:lnTo>
                  <a:lnTo>
                    <a:pt x="160" y="0"/>
                  </a:lnTo>
                  <a:lnTo>
                    <a:pt x="153" y="2"/>
                  </a:lnTo>
                  <a:lnTo>
                    <a:pt x="124" y="16"/>
                  </a:lnTo>
                  <a:lnTo>
                    <a:pt x="113" y="20"/>
                  </a:lnTo>
                  <a:lnTo>
                    <a:pt x="111" y="18"/>
                  </a:lnTo>
                  <a:lnTo>
                    <a:pt x="111" y="14"/>
                  </a:lnTo>
                  <a:lnTo>
                    <a:pt x="109" y="11"/>
                  </a:lnTo>
                  <a:lnTo>
                    <a:pt x="107" y="9"/>
                  </a:lnTo>
                  <a:lnTo>
                    <a:pt x="98" y="11"/>
                  </a:lnTo>
                  <a:lnTo>
                    <a:pt x="93" y="12"/>
                  </a:lnTo>
                  <a:lnTo>
                    <a:pt x="89" y="12"/>
                  </a:lnTo>
                  <a:lnTo>
                    <a:pt x="84" y="20"/>
                  </a:lnTo>
                  <a:lnTo>
                    <a:pt x="75" y="27"/>
                  </a:lnTo>
                  <a:lnTo>
                    <a:pt x="71" y="34"/>
                  </a:lnTo>
                  <a:lnTo>
                    <a:pt x="71" y="43"/>
                  </a:lnTo>
                  <a:lnTo>
                    <a:pt x="71" y="47"/>
                  </a:lnTo>
                  <a:lnTo>
                    <a:pt x="69" y="49"/>
                  </a:lnTo>
                  <a:lnTo>
                    <a:pt x="66" y="51"/>
                  </a:lnTo>
                  <a:lnTo>
                    <a:pt x="64" y="52"/>
                  </a:lnTo>
                  <a:lnTo>
                    <a:pt x="60" y="54"/>
                  </a:lnTo>
                  <a:lnTo>
                    <a:pt x="55" y="58"/>
                  </a:lnTo>
                  <a:lnTo>
                    <a:pt x="44" y="65"/>
                  </a:lnTo>
                  <a:lnTo>
                    <a:pt x="33" y="78"/>
                  </a:lnTo>
                  <a:lnTo>
                    <a:pt x="28" y="81"/>
                  </a:lnTo>
                  <a:lnTo>
                    <a:pt x="26" y="85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6" y="98"/>
                  </a:lnTo>
                  <a:lnTo>
                    <a:pt x="17" y="111"/>
                  </a:lnTo>
                  <a:lnTo>
                    <a:pt x="17" y="112"/>
                  </a:lnTo>
                  <a:lnTo>
                    <a:pt x="17" y="116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1" y="120"/>
                  </a:lnTo>
                  <a:lnTo>
                    <a:pt x="8" y="125"/>
                  </a:lnTo>
                  <a:lnTo>
                    <a:pt x="4" y="132"/>
                  </a:lnTo>
                  <a:lnTo>
                    <a:pt x="2" y="136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6" y="143"/>
                  </a:lnTo>
                  <a:lnTo>
                    <a:pt x="4" y="152"/>
                  </a:lnTo>
                  <a:lnTo>
                    <a:pt x="4" y="154"/>
                  </a:lnTo>
                  <a:lnTo>
                    <a:pt x="9" y="158"/>
                  </a:lnTo>
                  <a:lnTo>
                    <a:pt x="17" y="163"/>
                  </a:lnTo>
                  <a:lnTo>
                    <a:pt x="20" y="165"/>
                  </a:lnTo>
                  <a:lnTo>
                    <a:pt x="22" y="172"/>
                  </a:lnTo>
                  <a:lnTo>
                    <a:pt x="28" y="180"/>
                  </a:lnTo>
                  <a:lnTo>
                    <a:pt x="35" y="200"/>
                  </a:lnTo>
                  <a:lnTo>
                    <a:pt x="40" y="209"/>
                  </a:lnTo>
                  <a:lnTo>
                    <a:pt x="42" y="214"/>
                  </a:lnTo>
                  <a:lnTo>
                    <a:pt x="42" y="216"/>
                  </a:lnTo>
                  <a:lnTo>
                    <a:pt x="37" y="225"/>
                  </a:lnTo>
                  <a:lnTo>
                    <a:pt x="37" y="229"/>
                  </a:lnTo>
                  <a:lnTo>
                    <a:pt x="35" y="232"/>
                  </a:lnTo>
                  <a:lnTo>
                    <a:pt x="33" y="238"/>
                  </a:lnTo>
                  <a:lnTo>
                    <a:pt x="31" y="245"/>
                  </a:lnTo>
                  <a:lnTo>
                    <a:pt x="29" y="261"/>
                  </a:lnTo>
                  <a:lnTo>
                    <a:pt x="29" y="265"/>
                  </a:lnTo>
                  <a:lnTo>
                    <a:pt x="28" y="265"/>
                  </a:lnTo>
                  <a:lnTo>
                    <a:pt x="33" y="278"/>
                  </a:lnTo>
                  <a:lnTo>
                    <a:pt x="22" y="307"/>
                  </a:lnTo>
                  <a:lnTo>
                    <a:pt x="22" y="312"/>
                  </a:lnTo>
                  <a:lnTo>
                    <a:pt x="46" y="330"/>
                  </a:lnTo>
                  <a:lnTo>
                    <a:pt x="46" y="340"/>
                  </a:lnTo>
                  <a:lnTo>
                    <a:pt x="46" y="345"/>
                  </a:lnTo>
                  <a:lnTo>
                    <a:pt x="40" y="359"/>
                  </a:lnTo>
                  <a:lnTo>
                    <a:pt x="42" y="374"/>
                  </a:lnTo>
                  <a:lnTo>
                    <a:pt x="53" y="376"/>
                  </a:lnTo>
                  <a:lnTo>
                    <a:pt x="60" y="376"/>
                  </a:lnTo>
                  <a:lnTo>
                    <a:pt x="66" y="376"/>
                  </a:lnTo>
                  <a:lnTo>
                    <a:pt x="77" y="370"/>
                  </a:lnTo>
                  <a:lnTo>
                    <a:pt x="87" y="367"/>
                  </a:lnTo>
                  <a:lnTo>
                    <a:pt x="87" y="361"/>
                  </a:lnTo>
                  <a:lnTo>
                    <a:pt x="118" y="361"/>
                  </a:lnTo>
                  <a:lnTo>
                    <a:pt x="127" y="359"/>
                  </a:lnTo>
                  <a:lnTo>
                    <a:pt x="136" y="356"/>
                  </a:lnTo>
                  <a:lnTo>
                    <a:pt x="147" y="354"/>
                  </a:lnTo>
                  <a:lnTo>
                    <a:pt x="153" y="350"/>
                  </a:lnTo>
                  <a:lnTo>
                    <a:pt x="156" y="347"/>
                  </a:lnTo>
                  <a:lnTo>
                    <a:pt x="162" y="343"/>
                  </a:lnTo>
                  <a:lnTo>
                    <a:pt x="173" y="340"/>
                  </a:lnTo>
                  <a:lnTo>
                    <a:pt x="189" y="359"/>
                  </a:lnTo>
                  <a:lnTo>
                    <a:pt x="213" y="359"/>
                  </a:lnTo>
                  <a:lnTo>
                    <a:pt x="213" y="385"/>
                  </a:lnTo>
                  <a:lnTo>
                    <a:pt x="213" y="389"/>
                  </a:lnTo>
                  <a:lnTo>
                    <a:pt x="215" y="390"/>
                  </a:lnTo>
                  <a:lnTo>
                    <a:pt x="218" y="398"/>
                  </a:lnTo>
                  <a:lnTo>
                    <a:pt x="222" y="403"/>
                  </a:lnTo>
                  <a:lnTo>
                    <a:pt x="227" y="407"/>
                  </a:lnTo>
                  <a:lnTo>
                    <a:pt x="238" y="416"/>
                  </a:lnTo>
                  <a:lnTo>
                    <a:pt x="245" y="427"/>
                  </a:lnTo>
                  <a:lnTo>
                    <a:pt x="262" y="427"/>
                  </a:lnTo>
                  <a:lnTo>
                    <a:pt x="262" y="429"/>
                  </a:lnTo>
                  <a:lnTo>
                    <a:pt x="262" y="436"/>
                  </a:lnTo>
                  <a:lnTo>
                    <a:pt x="262" y="443"/>
                  </a:lnTo>
                  <a:lnTo>
                    <a:pt x="264" y="447"/>
                  </a:lnTo>
                  <a:lnTo>
                    <a:pt x="265" y="450"/>
                  </a:lnTo>
                  <a:lnTo>
                    <a:pt x="271" y="452"/>
                  </a:lnTo>
                  <a:lnTo>
                    <a:pt x="275" y="456"/>
                  </a:lnTo>
                  <a:lnTo>
                    <a:pt x="275" y="458"/>
                  </a:lnTo>
                  <a:lnTo>
                    <a:pt x="275" y="461"/>
                  </a:lnTo>
                  <a:lnTo>
                    <a:pt x="278" y="465"/>
                  </a:lnTo>
                  <a:lnTo>
                    <a:pt x="287" y="470"/>
                  </a:lnTo>
                  <a:lnTo>
                    <a:pt x="294" y="474"/>
                  </a:lnTo>
                  <a:lnTo>
                    <a:pt x="298" y="470"/>
                  </a:lnTo>
                  <a:lnTo>
                    <a:pt x="300" y="467"/>
                  </a:lnTo>
                  <a:lnTo>
                    <a:pt x="302" y="461"/>
                  </a:lnTo>
                  <a:lnTo>
                    <a:pt x="311" y="458"/>
                  </a:lnTo>
                  <a:lnTo>
                    <a:pt x="314" y="456"/>
                  </a:lnTo>
                  <a:lnTo>
                    <a:pt x="320" y="452"/>
                  </a:lnTo>
                  <a:lnTo>
                    <a:pt x="333" y="450"/>
                  </a:lnTo>
                  <a:lnTo>
                    <a:pt x="336" y="449"/>
                  </a:lnTo>
                  <a:lnTo>
                    <a:pt x="338" y="447"/>
                  </a:lnTo>
                  <a:lnTo>
                    <a:pt x="342" y="438"/>
                  </a:lnTo>
                  <a:lnTo>
                    <a:pt x="345" y="429"/>
                  </a:lnTo>
                  <a:lnTo>
                    <a:pt x="354" y="419"/>
                  </a:lnTo>
                  <a:lnTo>
                    <a:pt x="363" y="407"/>
                  </a:lnTo>
                  <a:lnTo>
                    <a:pt x="365" y="403"/>
                  </a:lnTo>
                  <a:lnTo>
                    <a:pt x="367" y="398"/>
                  </a:lnTo>
                  <a:lnTo>
                    <a:pt x="367" y="396"/>
                  </a:lnTo>
                  <a:lnTo>
                    <a:pt x="369" y="394"/>
                  </a:lnTo>
                  <a:lnTo>
                    <a:pt x="373" y="394"/>
                  </a:lnTo>
                  <a:lnTo>
                    <a:pt x="374" y="396"/>
                  </a:lnTo>
                  <a:lnTo>
                    <a:pt x="382" y="401"/>
                  </a:lnTo>
                  <a:lnTo>
                    <a:pt x="389" y="403"/>
                  </a:lnTo>
                  <a:lnTo>
                    <a:pt x="394" y="405"/>
                  </a:lnTo>
                  <a:lnTo>
                    <a:pt x="411" y="409"/>
                  </a:lnTo>
                  <a:lnTo>
                    <a:pt x="418" y="410"/>
                  </a:lnTo>
                  <a:lnTo>
                    <a:pt x="420" y="412"/>
                  </a:lnTo>
                  <a:lnTo>
                    <a:pt x="422" y="412"/>
                  </a:lnTo>
                  <a:lnTo>
                    <a:pt x="422" y="416"/>
                  </a:lnTo>
                  <a:lnTo>
                    <a:pt x="423" y="419"/>
                  </a:lnTo>
                  <a:lnTo>
                    <a:pt x="427" y="423"/>
                  </a:lnTo>
                  <a:lnTo>
                    <a:pt x="433" y="425"/>
                  </a:lnTo>
                  <a:lnTo>
                    <a:pt x="447" y="425"/>
                  </a:lnTo>
                  <a:lnTo>
                    <a:pt x="460" y="427"/>
                  </a:lnTo>
                  <a:lnTo>
                    <a:pt x="463" y="427"/>
                  </a:lnTo>
                  <a:lnTo>
                    <a:pt x="463" y="429"/>
                  </a:lnTo>
                  <a:lnTo>
                    <a:pt x="463" y="432"/>
                  </a:lnTo>
                  <a:lnTo>
                    <a:pt x="465" y="432"/>
                  </a:lnTo>
                  <a:lnTo>
                    <a:pt x="467" y="434"/>
                  </a:lnTo>
                  <a:lnTo>
                    <a:pt x="474" y="438"/>
                  </a:lnTo>
                  <a:lnTo>
                    <a:pt x="480" y="439"/>
                  </a:lnTo>
                  <a:lnTo>
                    <a:pt x="483" y="443"/>
                  </a:lnTo>
                  <a:lnTo>
                    <a:pt x="487" y="447"/>
                  </a:lnTo>
                  <a:lnTo>
                    <a:pt x="489" y="447"/>
                  </a:lnTo>
                  <a:lnTo>
                    <a:pt x="492" y="447"/>
                  </a:lnTo>
                  <a:lnTo>
                    <a:pt x="498" y="443"/>
                  </a:lnTo>
                  <a:lnTo>
                    <a:pt x="503" y="439"/>
                  </a:lnTo>
                  <a:lnTo>
                    <a:pt x="511" y="434"/>
                  </a:lnTo>
                  <a:lnTo>
                    <a:pt x="522" y="430"/>
                  </a:lnTo>
                  <a:lnTo>
                    <a:pt x="527" y="430"/>
                  </a:lnTo>
                  <a:lnTo>
                    <a:pt x="529" y="432"/>
                  </a:lnTo>
                  <a:lnTo>
                    <a:pt x="534" y="436"/>
                  </a:lnTo>
                  <a:lnTo>
                    <a:pt x="540" y="439"/>
                  </a:lnTo>
                  <a:lnTo>
                    <a:pt x="545" y="445"/>
                  </a:lnTo>
                  <a:lnTo>
                    <a:pt x="592" y="432"/>
                  </a:lnTo>
                  <a:lnTo>
                    <a:pt x="592" y="427"/>
                  </a:lnTo>
                  <a:lnTo>
                    <a:pt x="598" y="425"/>
                  </a:lnTo>
                  <a:lnTo>
                    <a:pt x="603" y="423"/>
                  </a:lnTo>
                  <a:lnTo>
                    <a:pt x="603" y="419"/>
                  </a:lnTo>
                  <a:lnTo>
                    <a:pt x="600" y="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26" name="Полилиния 125"/>
            <p:cNvSpPr>
              <a:spLocks noChangeAspect="1"/>
            </p:cNvSpPr>
            <p:nvPr/>
          </p:nvSpPr>
          <p:spPr>
            <a:xfrm>
              <a:off x="6012895" y="2408628"/>
              <a:ext cx="72923" cy="87346"/>
            </a:xfrm>
            <a:custGeom>
              <a:avLst/>
              <a:gdLst>
                <a:gd name="connsiteX0" fmla="*/ 0 w 3705225"/>
                <a:gd name="connsiteY0" fmla="*/ 0 h 4467225"/>
                <a:gd name="connsiteX1" fmla="*/ 466725 w 3705225"/>
                <a:gd name="connsiteY1" fmla="*/ 2971800 h 4467225"/>
                <a:gd name="connsiteX2" fmla="*/ 542925 w 3705225"/>
                <a:gd name="connsiteY2" fmla="*/ 4181475 h 4467225"/>
                <a:gd name="connsiteX3" fmla="*/ 514350 w 3705225"/>
                <a:gd name="connsiteY3" fmla="*/ 4467225 h 4467225"/>
                <a:gd name="connsiteX4" fmla="*/ 3705225 w 3705225"/>
                <a:gd name="connsiteY4" fmla="*/ 4210050 h 4467225"/>
                <a:gd name="connsiteX5" fmla="*/ 2990850 w 3705225"/>
                <a:gd name="connsiteY5" fmla="*/ 95250 h 4467225"/>
                <a:gd name="connsiteX6" fmla="*/ 0 w 3705225"/>
                <a:gd name="connsiteY6" fmla="*/ 0 h 446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05225" h="4467225">
                  <a:moveTo>
                    <a:pt x="0" y="0"/>
                  </a:moveTo>
                  <a:lnTo>
                    <a:pt x="466725" y="2971800"/>
                  </a:lnTo>
                  <a:lnTo>
                    <a:pt x="542925" y="4181475"/>
                  </a:lnTo>
                  <a:lnTo>
                    <a:pt x="514350" y="4467225"/>
                  </a:lnTo>
                  <a:lnTo>
                    <a:pt x="3705225" y="4210050"/>
                  </a:lnTo>
                  <a:lnTo>
                    <a:pt x="2990850" y="95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524"/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/>
            </a:p>
          </p:txBody>
        </p:sp>
      </p:grpSp>
      <p:cxnSp>
        <p:nvCxnSpPr>
          <p:cNvPr id="7" name="Соединительная линия уступом 6"/>
          <p:cNvCxnSpPr/>
          <p:nvPr/>
        </p:nvCxnSpPr>
        <p:spPr>
          <a:xfrm rot="5400000" flipH="1" flipV="1">
            <a:off x="4214290" y="1716363"/>
            <a:ext cx="431009" cy="341560"/>
          </a:xfrm>
          <a:prstGeom prst="bentConnector3">
            <a:avLst>
              <a:gd name="adj1" fmla="val 99723"/>
            </a:avLst>
          </a:prstGeom>
          <a:ln>
            <a:solidFill>
              <a:srgbClr val="FF8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Oval 897"/>
          <p:cNvSpPr>
            <a:spLocks noChangeArrowheads="1"/>
          </p:cNvSpPr>
          <p:nvPr/>
        </p:nvSpPr>
        <p:spPr bwMode="auto">
          <a:xfrm>
            <a:off x="4076850" y="3546127"/>
            <a:ext cx="441722" cy="440531"/>
          </a:xfrm>
          <a:prstGeom prst="ellipse">
            <a:avLst/>
          </a:prstGeom>
          <a:solidFill>
            <a:srgbClr val="FFFFFF"/>
          </a:solidFill>
          <a:ln w="12700" cap="rnd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/>
          </a:p>
        </p:txBody>
      </p:sp>
      <p:grpSp>
        <p:nvGrpSpPr>
          <p:cNvPr id="176" name="Группа 175"/>
          <p:cNvGrpSpPr/>
          <p:nvPr/>
        </p:nvGrpSpPr>
        <p:grpSpPr>
          <a:xfrm>
            <a:off x="4204246" y="3643344"/>
            <a:ext cx="186929" cy="221456"/>
            <a:chOff x="8152753" y="1854201"/>
            <a:chExt cx="249238" cy="295275"/>
          </a:xfrm>
        </p:grpSpPr>
        <p:sp>
          <p:nvSpPr>
            <p:cNvPr id="177" name="Freeform 837"/>
            <p:cNvSpPr>
              <a:spLocks/>
            </p:cNvSpPr>
            <p:nvPr/>
          </p:nvSpPr>
          <p:spPr bwMode="auto">
            <a:xfrm>
              <a:off x="8276578" y="1868488"/>
              <a:ext cx="0" cy="279400"/>
            </a:xfrm>
            <a:custGeom>
              <a:avLst/>
              <a:gdLst>
                <a:gd name="T0" fmla="*/ 176 h 176"/>
                <a:gd name="T1" fmla="*/ 0 h 176"/>
                <a:gd name="T2" fmla="*/ 176 h 17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6">
                  <a:moveTo>
                    <a:pt x="0" y="176"/>
                  </a:moveTo>
                  <a:lnTo>
                    <a:pt x="0" y="0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B0F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8" name="Line 838"/>
            <p:cNvSpPr>
              <a:spLocks noChangeShapeType="1"/>
            </p:cNvSpPr>
            <p:nvPr/>
          </p:nvSpPr>
          <p:spPr bwMode="auto">
            <a:xfrm>
              <a:off x="8276578" y="1868488"/>
              <a:ext cx="0" cy="279400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79" name="Rectangle 839"/>
            <p:cNvSpPr>
              <a:spLocks noChangeArrowheads="1"/>
            </p:cNvSpPr>
            <p:nvPr/>
          </p:nvSpPr>
          <p:spPr bwMode="auto">
            <a:xfrm>
              <a:off x="8265466" y="1854201"/>
              <a:ext cx="23813" cy="1428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B0F0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0" name="Rectangle 840"/>
            <p:cNvSpPr>
              <a:spLocks noChangeArrowheads="1"/>
            </p:cNvSpPr>
            <p:nvPr/>
          </p:nvSpPr>
          <p:spPr bwMode="auto">
            <a:xfrm>
              <a:off x="8265466" y="1854201"/>
              <a:ext cx="23813" cy="14288"/>
            </a:xfrm>
            <a:prstGeom prst="rect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1" name="Freeform 841"/>
            <p:cNvSpPr>
              <a:spLocks/>
            </p:cNvSpPr>
            <p:nvPr/>
          </p:nvSpPr>
          <p:spPr bwMode="auto">
            <a:xfrm>
              <a:off x="8222603" y="1879601"/>
              <a:ext cx="107950" cy="230188"/>
            </a:xfrm>
            <a:custGeom>
              <a:avLst/>
              <a:gdLst>
                <a:gd name="T0" fmla="*/ 68 w 68"/>
                <a:gd name="T1" fmla="*/ 145 h 145"/>
                <a:gd name="T2" fmla="*/ 0 w 68"/>
                <a:gd name="T3" fmla="*/ 145 h 145"/>
                <a:gd name="T4" fmla="*/ 18 w 68"/>
                <a:gd name="T5" fmla="*/ 0 h 145"/>
                <a:gd name="T6" fmla="*/ 51 w 68"/>
                <a:gd name="T7" fmla="*/ 0 h 145"/>
                <a:gd name="T8" fmla="*/ 68 w 68"/>
                <a:gd name="T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145">
                  <a:moveTo>
                    <a:pt x="68" y="145"/>
                  </a:moveTo>
                  <a:lnTo>
                    <a:pt x="0" y="145"/>
                  </a:lnTo>
                  <a:lnTo>
                    <a:pt x="18" y="0"/>
                  </a:lnTo>
                  <a:lnTo>
                    <a:pt x="51" y="0"/>
                  </a:lnTo>
                  <a:lnTo>
                    <a:pt x="68" y="145"/>
                  </a:lnTo>
                  <a:close/>
                </a:path>
              </a:pathLst>
            </a:cu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2" name="Freeform 842"/>
            <p:cNvSpPr>
              <a:spLocks/>
            </p:cNvSpPr>
            <p:nvPr/>
          </p:nvSpPr>
          <p:spPr bwMode="auto">
            <a:xfrm>
              <a:off x="8243241" y="1868488"/>
              <a:ext cx="68263" cy="11113"/>
            </a:xfrm>
            <a:custGeom>
              <a:avLst/>
              <a:gdLst>
                <a:gd name="T0" fmla="*/ 43 w 43"/>
                <a:gd name="T1" fmla="*/ 0 h 7"/>
                <a:gd name="T2" fmla="*/ 0 w 43"/>
                <a:gd name="T3" fmla="*/ 0 h 7"/>
                <a:gd name="T4" fmla="*/ 5 w 43"/>
                <a:gd name="T5" fmla="*/ 7 h 7"/>
                <a:gd name="T6" fmla="*/ 38 w 43"/>
                <a:gd name="T7" fmla="*/ 7 h 7"/>
                <a:gd name="T8" fmla="*/ 43 w 43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7">
                  <a:moveTo>
                    <a:pt x="43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38" y="7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3" name="Freeform 843"/>
            <p:cNvSpPr>
              <a:spLocks/>
            </p:cNvSpPr>
            <p:nvPr/>
          </p:nvSpPr>
          <p:spPr bwMode="auto">
            <a:xfrm>
              <a:off x="8179741" y="2111376"/>
              <a:ext cx="195263" cy="36513"/>
            </a:xfrm>
            <a:custGeom>
              <a:avLst/>
              <a:gdLst>
                <a:gd name="T0" fmla="*/ 0 w 123"/>
                <a:gd name="T1" fmla="*/ 23 h 23"/>
                <a:gd name="T2" fmla="*/ 0 w 123"/>
                <a:gd name="T3" fmla="*/ 0 h 23"/>
                <a:gd name="T4" fmla="*/ 123 w 123"/>
                <a:gd name="T5" fmla="*/ 0 h 23"/>
                <a:gd name="T6" fmla="*/ 123 w 123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23">
                  <a:moveTo>
                    <a:pt x="0" y="23"/>
                  </a:moveTo>
                  <a:lnTo>
                    <a:pt x="0" y="0"/>
                  </a:lnTo>
                  <a:lnTo>
                    <a:pt x="123" y="0"/>
                  </a:lnTo>
                  <a:lnTo>
                    <a:pt x="123" y="23"/>
                  </a:lnTo>
                </a:path>
              </a:pathLst>
            </a:cu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4" name="Line 844"/>
            <p:cNvSpPr>
              <a:spLocks noChangeShapeType="1"/>
            </p:cNvSpPr>
            <p:nvPr/>
          </p:nvSpPr>
          <p:spPr bwMode="auto">
            <a:xfrm>
              <a:off x="8246416" y="1916113"/>
              <a:ext cx="60325" cy="0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5" name="Line 845"/>
            <p:cNvSpPr>
              <a:spLocks noChangeShapeType="1"/>
            </p:cNvSpPr>
            <p:nvPr/>
          </p:nvSpPr>
          <p:spPr bwMode="auto">
            <a:xfrm>
              <a:off x="8241653" y="1978026"/>
              <a:ext cx="71438" cy="0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6" name="Line 846"/>
            <p:cNvSpPr>
              <a:spLocks noChangeShapeType="1"/>
            </p:cNvSpPr>
            <p:nvPr/>
          </p:nvSpPr>
          <p:spPr bwMode="auto">
            <a:xfrm>
              <a:off x="8233716" y="2038351"/>
              <a:ext cx="87313" cy="0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7" name="Line 847"/>
            <p:cNvSpPr>
              <a:spLocks noChangeShapeType="1"/>
            </p:cNvSpPr>
            <p:nvPr/>
          </p:nvSpPr>
          <p:spPr bwMode="auto">
            <a:xfrm flipH="1" flipV="1">
              <a:off x="8251178" y="1879601"/>
              <a:ext cx="55563" cy="36513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8" name="Line 848"/>
            <p:cNvSpPr>
              <a:spLocks noChangeShapeType="1"/>
            </p:cNvSpPr>
            <p:nvPr/>
          </p:nvSpPr>
          <p:spPr bwMode="auto">
            <a:xfrm flipH="1" flipV="1">
              <a:off x="8246416" y="1916113"/>
              <a:ext cx="66675" cy="61913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89" name="Line 849"/>
            <p:cNvSpPr>
              <a:spLocks noChangeShapeType="1"/>
            </p:cNvSpPr>
            <p:nvPr/>
          </p:nvSpPr>
          <p:spPr bwMode="auto">
            <a:xfrm flipH="1" flipV="1">
              <a:off x="8241653" y="1978026"/>
              <a:ext cx="79375" cy="60325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0" name="Line 850"/>
            <p:cNvSpPr>
              <a:spLocks noChangeShapeType="1"/>
            </p:cNvSpPr>
            <p:nvPr/>
          </p:nvSpPr>
          <p:spPr bwMode="auto">
            <a:xfrm flipH="1" flipV="1">
              <a:off x="8235303" y="2039938"/>
              <a:ext cx="92075" cy="69850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191" name="Line 851"/>
            <p:cNvSpPr>
              <a:spLocks noChangeShapeType="1"/>
            </p:cNvSpPr>
            <p:nvPr/>
          </p:nvSpPr>
          <p:spPr bwMode="auto">
            <a:xfrm>
              <a:off x="8152753" y="2149476"/>
              <a:ext cx="249238" cy="0"/>
            </a:xfrm>
            <a:prstGeom prst="line">
              <a:avLst/>
            </a:prstGeom>
            <a:noFill/>
            <a:ln w="12700" cap="rnd">
              <a:solidFill>
                <a:srgbClr val="00B0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531020" y="4646228"/>
            <a:ext cx="2032929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50" dirty="0">
                <a:solidFill>
                  <a:srgbClr val="706F6F"/>
                </a:solidFill>
                <a:latin typeface="HeliosCond" panose="020B0500000000000000" pitchFamily="34" charset="-52"/>
              </a:rPr>
              <a:t>Ввод новых добывающих скважин, всего шт.</a:t>
            </a:r>
            <a:endParaRPr lang="ru-RU" sz="750" dirty="0">
              <a:solidFill>
                <a:srgbClr val="706F6F"/>
              </a:solidFill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2473040" y="4646228"/>
            <a:ext cx="156004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50" dirty="0">
                <a:solidFill>
                  <a:srgbClr val="706F6F"/>
                </a:solidFill>
              </a:rPr>
              <a:t>Добыча нефти,</a:t>
            </a:r>
            <a:r>
              <a:rPr lang="ru-RU" sz="750" dirty="0">
                <a:solidFill>
                  <a:srgbClr val="7F7F7F"/>
                </a:solidFill>
              </a:rPr>
              <a:t> тыс. тонн в год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483023" y="4701884"/>
            <a:ext cx="73352" cy="7335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825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431121" y="4754682"/>
            <a:ext cx="79079" cy="0"/>
          </a:xfrm>
          <a:prstGeom prst="line">
            <a:avLst/>
          </a:prstGeom>
          <a:ln w="19050">
            <a:solidFill>
              <a:srgbClr val="FF8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5891401" y="2234804"/>
            <a:ext cx="365522" cy="364331"/>
            <a:chOff x="7881291" y="-936800"/>
            <a:chExt cx="487363" cy="485775"/>
          </a:xfrm>
        </p:grpSpPr>
        <p:sp>
          <p:nvSpPr>
            <p:cNvPr id="198" name="Oval 836"/>
            <p:cNvSpPr>
              <a:spLocks noChangeArrowheads="1"/>
            </p:cNvSpPr>
            <p:nvPr/>
          </p:nvSpPr>
          <p:spPr bwMode="auto">
            <a:xfrm>
              <a:off x="7881291" y="-936800"/>
              <a:ext cx="487363" cy="4857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rgbClr val="0070BA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grpSp>
          <p:nvGrpSpPr>
            <p:cNvPr id="124" name="Группа 123"/>
            <p:cNvGrpSpPr/>
            <p:nvPr/>
          </p:nvGrpSpPr>
          <p:grpSpPr>
            <a:xfrm>
              <a:off x="7988660" y="-867812"/>
              <a:ext cx="272624" cy="347800"/>
              <a:chOff x="8313738" y="-752475"/>
              <a:chExt cx="477837" cy="609600"/>
            </a:xfrm>
          </p:grpSpPr>
          <p:sp>
            <p:nvSpPr>
              <p:cNvPr id="100" name="Freeform 22"/>
              <p:cNvSpPr>
                <a:spLocks/>
              </p:cNvSpPr>
              <p:nvPr/>
            </p:nvSpPr>
            <p:spPr bwMode="auto">
              <a:xfrm>
                <a:off x="8401050" y="-752475"/>
                <a:ext cx="152400" cy="609600"/>
              </a:xfrm>
              <a:custGeom>
                <a:avLst/>
                <a:gdLst>
                  <a:gd name="T0" fmla="*/ 96 w 96"/>
                  <a:gd name="T1" fmla="*/ 384 h 384"/>
                  <a:gd name="T2" fmla="*/ 0 w 96"/>
                  <a:gd name="T3" fmla="*/ 384 h 384"/>
                  <a:gd name="T4" fmla="*/ 71 w 96"/>
                  <a:gd name="T5" fmla="*/ 0 h 384"/>
                  <a:gd name="T6" fmla="*/ 96 w 96"/>
                  <a:gd name="T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6" h="384">
                    <a:moveTo>
                      <a:pt x="96" y="384"/>
                    </a:moveTo>
                    <a:lnTo>
                      <a:pt x="0" y="384"/>
                    </a:lnTo>
                    <a:lnTo>
                      <a:pt x="71" y="0"/>
                    </a:lnTo>
                    <a:lnTo>
                      <a:pt x="96" y="0"/>
                    </a:lnTo>
                  </a:path>
                </a:pathLst>
              </a:custGeom>
              <a:noFill/>
              <a:ln w="12700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1" name="Freeform 23"/>
              <p:cNvSpPr>
                <a:spLocks/>
              </p:cNvSpPr>
              <p:nvPr/>
            </p:nvSpPr>
            <p:spPr bwMode="auto">
              <a:xfrm>
                <a:off x="8420100" y="-752475"/>
                <a:ext cx="133350" cy="609600"/>
              </a:xfrm>
              <a:custGeom>
                <a:avLst/>
                <a:gdLst>
                  <a:gd name="T0" fmla="*/ 21 w 84"/>
                  <a:gd name="T1" fmla="*/ 384 h 384"/>
                  <a:gd name="T2" fmla="*/ 84 w 84"/>
                  <a:gd name="T3" fmla="*/ 357 h 384"/>
                  <a:gd name="T4" fmla="*/ 0 w 84"/>
                  <a:gd name="T5" fmla="*/ 320 h 384"/>
                  <a:gd name="T6" fmla="*/ 84 w 84"/>
                  <a:gd name="T7" fmla="*/ 275 h 384"/>
                  <a:gd name="T8" fmla="*/ 15 w 84"/>
                  <a:gd name="T9" fmla="*/ 236 h 384"/>
                  <a:gd name="T10" fmla="*/ 84 w 84"/>
                  <a:gd name="T11" fmla="*/ 162 h 384"/>
                  <a:gd name="T12" fmla="*/ 29 w 84"/>
                  <a:gd name="T13" fmla="*/ 162 h 384"/>
                  <a:gd name="T14" fmla="*/ 84 w 84"/>
                  <a:gd name="T15" fmla="*/ 112 h 384"/>
                  <a:gd name="T16" fmla="*/ 46 w 84"/>
                  <a:gd name="T17" fmla="*/ 70 h 384"/>
                  <a:gd name="T18" fmla="*/ 84 w 84"/>
                  <a:gd name="T19" fmla="*/ 31 h 384"/>
                  <a:gd name="T20" fmla="*/ 59 w 84"/>
                  <a:gd name="T21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384">
                    <a:moveTo>
                      <a:pt x="21" y="384"/>
                    </a:moveTo>
                    <a:lnTo>
                      <a:pt x="84" y="357"/>
                    </a:lnTo>
                    <a:lnTo>
                      <a:pt x="0" y="320"/>
                    </a:lnTo>
                    <a:lnTo>
                      <a:pt x="84" y="275"/>
                    </a:lnTo>
                    <a:lnTo>
                      <a:pt x="15" y="236"/>
                    </a:lnTo>
                    <a:lnTo>
                      <a:pt x="84" y="162"/>
                    </a:lnTo>
                    <a:lnTo>
                      <a:pt x="29" y="162"/>
                    </a:lnTo>
                    <a:lnTo>
                      <a:pt x="84" y="112"/>
                    </a:lnTo>
                    <a:lnTo>
                      <a:pt x="46" y="70"/>
                    </a:lnTo>
                    <a:lnTo>
                      <a:pt x="84" y="31"/>
                    </a:lnTo>
                    <a:lnTo>
                      <a:pt x="59" y="0"/>
                    </a:lnTo>
                  </a:path>
                </a:pathLst>
              </a:custGeom>
              <a:noFill/>
              <a:ln w="12700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2" name="Freeform 24"/>
              <p:cNvSpPr>
                <a:spLocks/>
              </p:cNvSpPr>
              <p:nvPr/>
            </p:nvSpPr>
            <p:spPr bwMode="auto">
              <a:xfrm>
                <a:off x="8553450" y="-752475"/>
                <a:ext cx="150813" cy="609600"/>
              </a:xfrm>
              <a:custGeom>
                <a:avLst/>
                <a:gdLst>
                  <a:gd name="T0" fmla="*/ 0 w 95"/>
                  <a:gd name="T1" fmla="*/ 384 h 384"/>
                  <a:gd name="T2" fmla="*/ 95 w 95"/>
                  <a:gd name="T3" fmla="*/ 384 h 384"/>
                  <a:gd name="T4" fmla="*/ 25 w 95"/>
                  <a:gd name="T5" fmla="*/ 0 h 384"/>
                  <a:gd name="T6" fmla="*/ 0 w 95"/>
                  <a:gd name="T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384">
                    <a:moveTo>
                      <a:pt x="0" y="384"/>
                    </a:moveTo>
                    <a:lnTo>
                      <a:pt x="95" y="384"/>
                    </a:lnTo>
                    <a:lnTo>
                      <a:pt x="25" y="0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3" name="Freeform 25"/>
              <p:cNvSpPr>
                <a:spLocks/>
              </p:cNvSpPr>
              <p:nvPr/>
            </p:nvSpPr>
            <p:spPr bwMode="auto">
              <a:xfrm>
                <a:off x="8553450" y="-752475"/>
                <a:ext cx="133350" cy="609600"/>
              </a:xfrm>
              <a:custGeom>
                <a:avLst/>
                <a:gdLst>
                  <a:gd name="T0" fmla="*/ 62 w 84"/>
                  <a:gd name="T1" fmla="*/ 384 h 384"/>
                  <a:gd name="T2" fmla="*/ 0 w 84"/>
                  <a:gd name="T3" fmla="*/ 357 h 384"/>
                  <a:gd name="T4" fmla="*/ 84 w 84"/>
                  <a:gd name="T5" fmla="*/ 320 h 384"/>
                  <a:gd name="T6" fmla="*/ 0 w 84"/>
                  <a:gd name="T7" fmla="*/ 275 h 384"/>
                  <a:gd name="T8" fmla="*/ 68 w 84"/>
                  <a:gd name="T9" fmla="*/ 236 h 384"/>
                  <a:gd name="T10" fmla="*/ 0 w 84"/>
                  <a:gd name="T11" fmla="*/ 162 h 384"/>
                  <a:gd name="T12" fmla="*/ 55 w 84"/>
                  <a:gd name="T13" fmla="*/ 162 h 384"/>
                  <a:gd name="T14" fmla="*/ 0 w 84"/>
                  <a:gd name="T15" fmla="*/ 112 h 384"/>
                  <a:gd name="T16" fmla="*/ 38 w 84"/>
                  <a:gd name="T17" fmla="*/ 70 h 384"/>
                  <a:gd name="T18" fmla="*/ 0 w 84"/>
                  <a:gd name="T19" fmla="*/ 31 h 384"/>
                  <a:gd name="T20" fmla="*/ 25 w 84"/>
                  <a:gd name="T21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384">
                    <a:moveTo>
                      <a:pt x="62" y="384"/>
                    </a:moveTo>
                    <a:lnTo>
                      <a:pt x="0" y="357"/>
                    </a:lnTo>
                    <a:lnTo>
                      <a:pt x="84" y="320"/>
                    </a:lnTo>
                    <a:lnTo>
                      <a:pt x="0" y="275"/>
                    </a:lnTo>
                    <a:lnTo>
                      <a:pt x="68" y="236"/>
                    </a:lnTo>
                    <a:lnTo>
                      <a:pt x="0" y="162"/>
                    </a:lnTo>
                    <a:lnTo>
                      <a:pt x="55" y="162"/>
                    </a:lnTo>
                    <a:lnTo>
                      <a:pt x="0" y="112"/>
                    </a:lnTo>
                    <a:lnTo>
                      <a:pt x="38" y="70"/>
                    </a:lnTo>
                    <a:lnTo>
                      <a:pt x="0" y="31"/>
                    </a:lnTo>
                    <a:lnTo>
                      <a:pt x="25" y="0"/>
                    </a:lnTo>
                  </a:path>
                </a:pathLst>
              </a:custGeom>
              <a:noFill/>
              <a:ln w="12700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4" name="Freeform 26"/>
              <p:cNvSpPr>
                <a:spLocks/>
              </p:cNvSpPr>
              <p:nvPr/>
            </p:nvSpPr>
            <p:spPr bwMode="auto">
              <a:xfrm>
                <a:off x="8313738" y="-495300"/>
                <a:ext cx="239713" cy="117475"/>
              </a:xfrm>
              <a:custGeom>
                <a:avLst/>
                <a:gdLst>
                  <a:gd name="T0" fmla="*/ 151 w 151"/>
                  <a:gd name="T1" fmla="*/ 0 h 74"/>
                  <a:gd name="T2" fmla="*/ 47 w 151"/>
                  <a:gd name="T3" fmla="*/ 0 h 74"/>
                  <a:gd name="T4" fmla="*/ 0 w 151"/>
                  <a:gd name="T5" fmla="*/ 74 h 74"/>
                  <a:gd name="T6" fmla="*/ 151 w 151"/>
                  <a:gd name="T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1" h="74">
                    <a:moveTo>
                      <a:pt x="151" y="0"/>
                    </a:moveTo>
                    <a:lnTo>
                      <a:pt x="47" y="0"/>
                    </a:lnTo>
                    <a:lnTo>
                      <a:pt x="0" y="74"/>
                    </a:lnTo>
                    <a:lnTo>
                      <a:pt x="151" y="74"/>
                    </a:lnTo>
                  </a:path>
                </a:pathLst>
              </a:custGeom>
              <a:noFill/>
              <a:ln w="12700" cap="rnd">
                <a:solidFill>
                  <a:srgbClr val="00427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5" name="Line 27"/>
              <p:cNvSpPr>
                <a:spLocks noChangeShapeType="1"/>
              </p:cNvSpPr>
              <p:nvPr/>
            </p:nvSpPr>
            <p:spPr bwMode="auto">
              <a:xfrm>
                <a:off x="8388350" y="-495300"/>
                <a:ext cx="55563" cy="117475"/>
              </a:xfrm>
              <a:prstGeom prst="line">
                <a:avLst/>
              </a:prstGeom>
              <a:noFill/>
              <a:ln w="12700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6" name="Freeform 28"/>
              <p:cNvSpPr>
                <a:spLocks/>
              </p:cNvSpPr>
              <p:nvPr/>
            </p:nvSpPr>
            <p:spPr bwMode="auto">
              <a:xfrm>
                <a:off x="8408988" y="-641350"/>
                <a:ext cx="144463" cy="73025"/>
              </a:xfrm>
              <a:custGeom>
                <a:avLst/>
                <a:gdLst>
                  <a:gd name="T0" fmla="*/ 91 w 91"/>
                  <a:gd name="T1" fmla="*/ 0 h 46"/>
                  <a:gd name="T2" fmla="*/ 28 w 91"/>
                  <a:gd name="T3" fmla="*/ 0 h 46"/>
                  <a:gd name="T4" fmla="*/ 0 w 91"/>
                  <a:gd name="T5" fmla="*/ 46 h 46"/>
                  <a:gd name="T6" fmla="*/ 91 w 91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1" h="46">
                    <a:moveTo>
                      <a:pt x="91" y="0"/>
                    </a:moveTo>
                    <a:lnTo>
                      <a:pt x="28" y="0"/>
                    </a:lnTo>
                    <a:lnTo>
                      <a:pt x="0" y="46"/>
                    </a:lnTo>
                    <a:lnTo>
                      <a:pt x="91" y="46"/>
                    </a:lnTo>
                  </a:path>
                </a:pathLst>
              </a:custGeom>
              <a:noFill/>
              <a:ln w="12700" cap="rnd">
                <a:solidFill>
                  <a:srgbClr val="00427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07" name="Freeform 29"/>
              <p:cNvSpPr>
                <a:spLocks/>
              </p:cNvSpPr>
              <p:nvPr/>
            </p:nvSpPr>
            <p:spPr bwMode="auto">
              <a:xfrm>
                <a:off x="8553450" y="-641350"/>
                <a:ext cx="142875" cy="73025"/>
              </a:xfrm>
              <a:custGeom>
                <a:avLst/>
                <a:gdLst>
                  <a:gd name="T0" fmla="*/ 0 w 90"/>
                  <a:gd name="T1" fmla="*/ 0 h 46"/>
                  <a:gd name="T2" fmla="*/ 62 w 90"/>
                  <a:gd name="T3" fmla="*/ 0 h 46"/>
                  <a:gd name="T4" fmla="*/ 90 w 90"/>
                  <a:gd name="T5" fmla="*/ 46 h 46"/>
                  <a:gd name="T6" fmla="*/ 0 w 90"/>
                  <a:gd name="T7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46">
                    <a:moveTo>
                      <a:pt x="0" y="0"/>
                    </a:moveTo>
                    <a:lnTo>
                      <a:pt x="62" y="0"/>
                    </a:lnTo>
                    <a:lnTo>
                      <a:pt x="90" y="46"/>
                    </a:lnTo>
                    <a:lnTo>
                      <a:pt x="0" y="46"/>
                    </a:lnTo>
                  </a:path>
                </a:pathLst>
              </a:custGeom>
              <a:noFill/>
              <a:ln w="12700" cap="rnd">
                <a:solidFill>
                  <a:srgbClr val="00427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10" name="Freeform 30"/>
              <p:cNvSpPr>
                <a:spLocks/>
              </p:cNvSpPr>
              <p:nvPr/>
            </p:nvSpPr>
            <p:spPr bwMode="auto">
              <a:xfrm>
                <a:off x="8553450" y="-495300"/>
                <a:ext cx="238125" cy="117475"/>
              </a:xfrm>
              <a:custGeom>
                <a:avLst/>
                <a:gdLst>
                  <a:gd name="T0" fmla="*/ 0 w 150"/>
                  <a:gd name="T1" fmla="*/ 0 h 74"/>
                  <a:gd name="T2" fmla="*/ 104 w 150"/>
                  <a:gd name="T3" fmla="*/ 0 h 74"/>
                  <a:gd name="T4" fmla="*/ 150 w 150"/>
                  <a:gd name="T5" fmla="*/ 74 h 74"/>
                  <a:gd name="T6" fmla="*/ 0 w 150"/>
                  <a:gd name="T7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74">
                    <a:moveTo>
                      <a:pt x="0" y="0"/>
                    </a:moveTo>
                    <a:lnTo>
                      <a:pt x="104" y="0"/>
                    </a:lnTo>
                    <a:lnTo>
                      <a:pt x="150" y="74"/>
                    </a:lnTo>
                    <a:lnTo>
                      <a:pt x="0" y="74"/>
                    </a:lnTo>
                  </a:path>
                </a:pathLst>
              </a:custGeom>
              <a:noFill/>
              <a:ln w="12700" cap="rnd">
                <a:solidFill>
                  <a:srgbClr val="00427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113" name="Line 31"/>
              <p:cNvSpPr>
                <a:spLocks noChangeShapeType="1"/>
              </p:cNvSpPr>
              <p:nvPr/>
            </p:nvSpPr>
            <p:spPr bwMode="auto">
              <a:xfrm flipH="1">
                <a:off x="8661400" y="-495300"/>
                <a:ext cx="57150" cy="117475"/>
              </a:xfrm>
              <a:prstGeom prst="line">
                <a:avLst/>
              </a:prstGeom>
              <a:noFill/>
              <a:ln w="12700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</p:grpSp>
      </p:grpSp>
      <p:grpSp>
        <p:nvGrpSpPr>
          <p:cNvPr id="215" name="Группа 214"/>
          <p:cNvGrpSpPr/>
          <p:nvPr/>
        </p:nvGrpSpPr>
        <p:grpSpPr>
          <a:xfrm>
            <a:off x="5891401" y="3808840"/>
            <a:ext cx="365522" cy="364331"/>
            <a:chOff x="9450067" y="-693913"/>
            <a:chExt cx="487363" cy="485775"/>
          </a:xfrm>
        </p:grpSpPr>
        <p:sp>
          <p:nvSpPr>
            <p:cNvPr id="216" name="Oval 836"/>
            <p:cNvSpPr>
              <a:spLocks noChangeArrowheads="1"/>
            </p:cNvSpPr>
            <p:nvPr/>
          </p:nvSpPr>
          <p:spPr bwMode="auto">
            <a:xfrm>
              <a:off x="9450067" y="-693913"/>
              <a:ext cx="487363" cy="4857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rgbClr val="0070BA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grpSp>
          <p:nvGrpSpPr>
            <p:cNvPr id="217" name="Группа 216"/>
            <p:cNvGrpSpPr/>
            <p:nvPr/>
          </p:nvGrpSpPr>
          <p:grpSpPr>
            <a:xfrm>
              <a:off x="9504508" y="-539245"/>
              <a:ext cx="383885" cy="295853"/>
              <a:chOff x="9485313" y="-558800"/>
              <a:chExt cx="422274" cy="325438"/>
            </a:xfrm>
          </p:grpSpPr>
          <p:sp>
            <p:nvSpPr>
              <p:cNvPr id="218" name="Freeform 35"/>
              <p:cNvSpPr>
                <a:spLocks noEditPoints="1"/>
              </p:cNvSpPr>
              <p:nvPr/>
            </p:nvSpPr>
            <p:spPr bwMode="auto">
              <a:xfrm>
                <a:off x="9696450" y="-454025"/>
                <a:ext cx="211137" cy="206375"/>
              </a:xfrm>
              <a:custGeom>
                <a:avLst/>
                <a:gdLst>
                  <a:gd name="T0" fmla="*/ 35 w 97"/>
                  <a:gd name="T1" fmla="*/ 94 h 94"/>
                  <a:gd name="T2" fmla="*/ 97 w 97"/>
                  <a:gd name="T3" fmla="*/ 37 h 94"/>
                  <a:gd name="T4" fmla="*/ 75 w 97"/>
                  <a:gd name="T5" fmla="*/ 0 h 94"/>
                  <a:gd name="T6" fmla="*/ 20 w 97"/>
                  <a:gd name="T7" fmla="*/ 0 h 94"/>
                  <a:gd name="T8" fmla="*/ 0 w 97"/>
                  <a:gd name="T9" fmla="*/ 3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94">
                    <a:moveTo>
                      <a:pt x="35" y="94"/>
                    </a:moveTo>
                    <a:cubicBezTo>
                      <a:pt x="63" y="85"/>
                      <a:pt x="85" y="64"/>
                      <a:pt x="97" y="37"/>
                    </a:cubicBezTo>
                    <a:cubicBezTo>
                      <a:pt x="75" y="0"/>
                      <a:pt x="75" y="0"/>
                      <a:pt x="75" y="0"/>
                    </a:cubicBezTo>
                    <a:moveTo>
                      <a:pt x="20" y="0"/>
                    </a:moveTo>
                    <a:cubicBezTo>
                      <a:pt x="0" y="34"/>
                      <a:pt x="0" y="34"/>
                      <a:pt x="0" y="34"/>
                    </a:cubicBezTo>
                  </a:path>
                </a:pathLst>
              </a:custGeom>
              <a:noFill/>
              <a:ln w="12700" cap="flat">
                <a:solidFill>
                  <a:srgbClr val="0070B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219" name="Freeform 36"/>
              <p:cNvSpPr>
                <a:spLocks noEditPoints="1"/>
              </p:cNvSpPr>
              <p:nvPr/>
            </p:nvSpPr>
            <p:spPr bwMode="auto">
              <a:xfrm>
                <a:off x="9739313" y="-558800"/>
                <a:ext cx="120650" cy="127000"/>
              </a:xfrm>
              <a:custGeom>
                <a:avLst/>
                <a:gdLst>
                  <a:gd name="T0" fmla="*/ 28 w 55"/>
                  <a:gd name="T1" fmla="*/ 0 h 58"/>
                  <a:gd name="T2" fmla="*/ 55 w 55"/>
                  <a:gd name="T3" fmla="*/ 48 h 58"/>
                  <a:gd name="T4" fmla="*/ 41 w 55"/>
                  <a:gd name="T5" fmla="*/ 58 h 58"/>
                  <a:gd name="T6" fmla="*/ 28 w 55"/>
                  <a:gd name="T7" fmla="*/ 48 h 58"/>
                  <a:gd name="T8" fmla="*/ 14 w 55"/>
                  <a:gd name="T9" fmla="*/ 58 h 58"/>
                  <a:gd name="T10" fmla="*/ 0 w 55"/>
                  <a:gd name="T11" fmla="*/ 48 h 58"/>
                  <a:gd name="T12" fmla="*/ 28 w 55"/>
                  <a:gd name="T13" fmla="*/ 0 h 58"/>
                  <a:gd name="T14" fmla="*/ 28 w 55"/>
                  <a:gd name="T15" fmla="*/ 0 h 58"/>
                  <a:gd name="T16" fmla="*/ 28 w 55"/>
                  <a:gd name="T17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58">
                    <a:moveTo>
                      <a:pt x="28" y="0"/>
                    </a:moveTo>
                    <a:cubicBezTo>
                      <a:pt x="55" y="48"/>
                      <a:pt x="55" y="48"/>
                      <a:pt x="55" y="48"/>
                    </a:cubicBezTo>
                    <a:cubicBezTo>
                      <a:pt x="41" y="58"/>
                      <a:pt x="41" y="58"/>
                      <a:pt x="41" y="58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5" y="21"/>
                      <a:pt x="28" y="0"/>
                      <a:pt x="28" y="0"/>
                    </a:cubicBezTo>
                    <a:close/>
                    <a:moveTo>
                      <a:pt x="28" y="0"/>
                    </a:moveTo>
                    <a:cubicBezTo>
                      <a:pt x="28" y="0"/>
                      <a:pt x="28" y="0"/>
                      <a:pt x="28" y="0"/>
                    </a:cubicBezTo>
                  </a:path>
                </a:pathLst>
              </a:custGeom>
              <a:noFill/>
              <a:ln w="12700" cap="flat">
                <a:solidFill>
                  <a:srgbClr val="00427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220" name="Freeform 37"/>
              <p:cNvSpPr>
                <a:spLocks/>
              </p:cNvSpPr>
              <p:nvPr/>
            </p:nvSpPr>
            <p:spPr bwMode="auto">
              <a:xfrm>
                <a:off x="9485313" y="-454025"/>
                <a:ext cx="287337" cy="220663"/>
              </a:xfrm>
              <a:custGeom>
                <a:avLst/>
                <a:gdLst>
                  <a:gd name="T0" fmla="*/ 21 w 131"/>
                  <a:gd name="T1" fmla="*/ 0 h 100"/>
                  <a:gd name="T2" fmla="*/ 0 w 131"/>
                  <a:gd name="T3" fmla="*/ 37 h 100"/>
                  <a:gd name="T4" fmla="*/ 96 w 131"/>
                  <a:gd name="T5" fmla="*/ 100 h 100"/>
                  <a:gd name="T6" fmla="*/ 131 w 131"/>
                  <a:gd name="T7" fmla="*/ 94 h 100"/>
                  <a:gd name="T8" fmla="*/ 96 w 131"/>
                  <a:gd name="T9" fmla="*/ 34 h 100"/>
                  <a:gd name="T10" fmla="*/ 76 w 131"/>
                  <a:gd name="T1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1" h="100">
                    <a:moveTo>
                      <a:pt x="21" y="0"/>
                    </a:moveTo>
                    <a:cubicBezTo>
                      <a:pt x="0" y="37"/>
                      <a:pt x="0" y="37"/>
                      <a:pt x="0" y="37"/>
                    </a:cubicBezTo>
                    <a:cubicBezTo>
                      <a:pt x="16" y="74"/>
                      <a:pt x="53" y="100"/>
                      <a:pt x="96" y="100"/>
                    </a:cubicBezTo>
                    <a:cubicBezTo>
                      <a:pt x="108" y="100"/>
                      <a:pt x="120" y="98"/>
                      <a:pt x="131" y="94"/>
                    </a:cubicBezTo>
                    <a:cubicBezTo>
                      <a:pt x="96" y="34"/>
                      <a:pt x="96" y="34"/>
                      <a:pt x="96" y="34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noFill/>
              <a:ln w="12700" cap="flat">
                <a:solidFill>
                  <a:srgbClr val="0070B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  <p:sp>
            <p:nvSpPr>
              <p:cNvPr id="221" name="Freeform 38"/>
              <p:cNvSpPr>
                <a:spLocks noEditPoints="1"/>
              </p:cNvSpPr>
              <p:nvPr/>
            </p:nvSpPr>
            <p:spPr bwMode="auto">
              <a:xfrm>
                <a:off x="9531350" y="-558800"/>
                <a:ext cx="120650" cy="127000"/>
              </a:xfrm>
              <a:custGeom>
                <a:avLst/>
                <a:gdLst>
                  <a:gd name="T0" fmla="*/ 28 w 55"/>
                  <a:gd name="T1" fmla="*/ 0 h 58"/>
                  <a:gd name="T2" fmla="*/ 0 w 55"/>
                  <a:gd name="T3" fmla="*/ 48 h 58"/>
                  <a:gd name="T4" fmla="*/ 14 w 55"/>
                  <a:gd name="T5" fmla="*/ 58 h 58"/>
                  <a:gd name="T6" fmla="*/ 28 w 55"/>
                  <a:gd name="T7" fmla="*/ 48 h 58"/>
                  <a:gd name="T8" fmla="*/ 42 w 55"/>
                  <a:gd name="T9" fmla="*/ 58 h 58"/>
                  <a:gd name="T10" fmla="*/ 55 w 55"/>
                  <a:gd name="T11" fmla="*/ 48 h 58"/>
                  <a:gd name="T12" fmla="*/ 28 w 55"/>
                  <a:gd name="T13" fmla="*/ 0 h 58"/>
                  <a:gd name="T14" fmla="*/ 28 w 55"/>
                  <a:gd name="T15" fmla="*/ 0 h 58"/>
                  <a:gd name="T16" fmla="*/ 28 w 55"/>
                  <a:gd name="T17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58">
                    <a:moveTo>
                      <a:pt x="28" y="0"/>
                    </a:moveTo>
                    <a:cubicBezTo>
                      <a:pt x="0" y="48"/>
                      <a:pt x="0" y="48"/>
                      <a:pt x="0" y="48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42" y="58"/>
                      <a:pt x="42" y="58"/>
                      <a:pt x="42" y="58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40" y="21"/>
                      <a:pt x="28" y="0"/>
                      <a:pt x="28" y="0"/>
                    </a:cubicBezTo>
                    <a:close/>
                    <a:moveTo>
                      <a:pt x="28" y="0"/>
                    </a:moveTo>
                    <a:cubicBezTo>
                      <a:pt x="28" y="0"/>
                      <a:pt x="28" y="0"/>
                      <a:pt x="28" y="0"/>
                    </a:cubicBezTo>
                  </a:path>
                </a:pathLst>
              </a:custGeom>
              <a:noFill/>
              <a:ln w="12700" cap="flat">
                <a:solidFill>
                  <a:srgbClr val="00427A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35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0517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emplateSlide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86736680"/>
              </p:ext>
            </p:extLst>
          </p:nvPr>
        </p:nvGraphicFramePr>
        <p:xfrm>
          <a:off x="287341" y="950915"/>
          <a:ext cx="8569325" cy="27561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69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376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72000" anchor="b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92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baseline="0" dirty="0" smtClean="0">
                          <a:solidFill>
                            <a:schemeClr val="tx1"/>
                          </a:solidFill>
                        </a:rPr>
                        <a:t>Олюнин Алексей Владимирович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baseline="0" dirty="0" smtClean="0">
                          <a:solidFill>
                            <a:schemeClr val="tx1"/>
                          </a:solidFill>
                        </a:rPr>
                        <a:t>Управление геологии и разработк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kern="1200" baseline="0" dirty="0" smtClean="0">
                          <a:solidFill>
                            <a:schemeClr val="tx1"/>
                          </a:solidFill>
                        </a:rPr>
                        <a:t>Проект «Бажен» ООО «Газпромнефть-Ангара»</a:t>
                      </a:r>
                      <a:r>
                        <a:rPr lang="ru-RU" sz="1800" u="none" strike="noStrike" kern="1200" baseline="0" dirty="0" smtClean="0">
                          <a:solidFill>
                            <a:schemeClr val="bg2"/>
                          </a:solidFill>
                        </a:rPr>
                        <a:t/>
                      </a:r>
                      <a:br>
                        <a:rPr lang="ru-RU" sz="1800" u="none" strike="noStrike" kern="1200" baseline="0" dirty="0" smtClean="0">
                          <a:solidFill>
                            <a:schemeClr val="bg2"/>
                          </a:solidFill>
                        </a:rPr>
                      </a:br>
                      <a:r>
                        <a:rPr lang="en-US" sz="1800" u="none" strike="noStrike" kern="1200" baseline="0" dirty="0" smtClean="0">
                          <a:solidFill>
                            <a:schemeClr val="tx1"/>
                          </a:solidFill>
                          <a:hlinkClick r:id="rId3"/>
                        </a:rPr>
                        <a:t>Olyunin.AV@gazprom-neft.ru</a:t>
                      </a:r>
                      <a:endParaRPr lang="ru-RU" sz="1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7200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92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720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TitleSlid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Контакт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5172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Масштаб проекта «Бажен» и текущий статус</a:t>
            </a:r>
            <a:endParaRPr lang="ru-RU" sz="2400" dirty="0"/>
          </a:p>
        </p:txBody>
      </p:sp>
      <p:grpSp>
        <p:nvGrpSpPr>
          <p:cNvPr id="303" name="Группа 302"/>
          <p:cNvGrpSpPr/>
          <p:nvPr/>
        </p:nvGrpSpPr>
        <p:grpSpPr>
          <a:xfrm>
            <a:off x="546068" y="823832"/>
            <a:ext cx="2276707" cy="1022372"/>
            <a:chOff x="567731" y="1808820"/>
            <a:chExt cx="2244207" cy="118314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Freeform 5"/>
            <p:cNvSpPr>
              <a:spLocks/>
            </p:cNvSpPr>
            <p:nvPr/>
          </p:nvSpPr>
          <p:spPr bwMode="auto">
            <a:xfrm>
              <a:off x="1722921" y="2487102"/>
              <a:ext cx="380500" cy="394761"/>
            </a:xfrm>
            <a:custGeom>
              <a:avLst/>
              <a:gdLst>
                <a:gd name="T0" fmla="*/ 629 w 667"/>
                <a:gd name="T1" fmla="*/ 194 h 692"/>
                <a:gd name="T2" fmla="*/ 599 w 667"/>
                <a:gd name="T3" fmla="*/ 203 h 692"/>
                <a:gd name="T4" fmla="*/ 551 w 667"/>
                <a:gd name="T5" fmla="*/ 164 h 692"/>
                <a:gd name="T6" fmla="*/ 523 w 667"/>
                <a:gd name="T7" fmla="*/ 198 h 692"/>
                <a:gd name="T8" fmla="*/ 503 w 667"/>
                <a:gd name="T9" fmla="*/ 238 h 692"/>
                <a:gd name="T10" fmla="*/ 480 w 667"/>
                <a:gd name="T11" fmla="*/ 238 h 692"/>
                <a:gd name="T12" fmla="*/ 434 w 667"/>
                <a:gd name="T13" fmla="*/ 253 h 692"/>
                <a:gd name="T14" fmla="*/ 418 w 667"/>
                <a:gd name="T15" fmla="*/ 267 h 692"/>
                <a:gd name="T16" fmla="*/ 395 w 667"/>
                <a:gd name="T17" fmla="*/ 226 h 692"/>
                <a:gd name="T18" fmla="*/ 407 w 667"/>
                <a:gd name="T19" fmla="*/ 155 h 692"/>
                <a:gd name="T20" fmla="*/ 379 w 667"/>
                <a:gd name="T21" fmla="*/ 118 h 692"/>
                <a:gd name="T22" fmla="*/ 380 w 667"/>
                <a:gd name="T23" fmla="*/ 93 h 692"/>
                <a:gd name="T24" fmla="*/ 373 w 667"/>
                <a:gd name="T25" fmla="*/ 73 h 692"/>
                <a:gd name="T26" fmla="*/ 361 w 667"/>
                <a:gd name="T27" fmla="*/ 43 h 692"/>
                <a:gd name="T28" fmla="*/ 334 w 667"/>
                <a:gd name="T29" fmla="*/ 30 h 692"/>
                <a:gd name="T30" fmla="*/ 334 w 667"/>
                <a:gd name="T31" fmla="*/ 4 h 692"/>
                <a:gd name="T32" fmla="*/ 295 w 667"/>
                <a:gd name="T33" fmla="*/ 23 h 692"/>
                <a:gd name="T34" fmla="*/ 295 w 667"/>
                <a:gd name="T35" fmla="*/ 123 h 692"/>
                <a:gd name="T36" fmla="*/ 265 w 667"/>
                <a:gd name="T37" fmla="*/ 214 h 692"/>
                <a:gd name="T38" fmla="*/ 267 w 667"/>
                <a:gd name="T39" fmla="*/ 295 h 692"/>
                <a:gd name="T40" fmla="*/ 213 w 667"/>
                <a:gd name="T41" fmla="*/ 269 h 692"/>
                <a:gd name="T42" fmla="*/ 197 w 667"/>
                <a:gd name="T43" fmla="*/ 299 h 692"/>
                <a:gd name="T44" fmla="*/ 171 w 667"/>
                <a:gd name="T45" fmla="*/ 327 h 692"/>
                <a:gd name="T46" fmla="*/ 156 w 667"/>
                <a:gd name="T47" fmla="*/ 361 h 692"/>
                <a:gd name="T48" fmla="*/ 133 w 667"/>
                <a:gd name="T49" fmla="*/ 342 h 692"/>
                <a:gd name="T50" fmla="*/ 108 w 667"/>
                <a:gd name="T51" fmla="*/ 350 h 692"/>
                <a:gd name="T52" fmla="*/ 59 w 667"/>
                <a:gd name="T53" fmla="*/ 391 h 692"/>
                <a:gd name="T54" fmla="*/ 46 w 667"/>
                <a:gd name="T55" fmla="*/ 439 h 692"/>
                <a:gd name="T56" fmla="*/ 30 w 667"/>
                <a:gd name="T57" fmla="*/ 477 h 692"/>
                <a:gd name="T58" fmla="*/ 7 w 667"/>
                <a:gd name="T59" fmla="*/ 517 h 692"/>
                <a:gd name="T60" fmla="*/ 11 w 667"/>
                <a:gd name="T61" fmla="*/ 551 h 692"/>
                <a:gd name="T62" fmla="*/ 32 w 667"/>
                <a:gd name="T63" fmla="*/ 560 h 692"/>
                <a:gd name="T64" fmla="*/ 66 w 667"/>
                <a:gd name="T65" fmla="*/ 585 h 692"/>
                <a:gd name="T66" fmla="*/ 89 w 667"/>
                <a:gd name="T67" fmla="*/ 592 h 692"/>
                <a:gd name="T68" fmla="*/ 115 w 667"/>
                <a:gd name="T69" fmla="*/ 592 h 692"/>
                <a:gd name="T70" fmla="*/ 133 w 667"/>
                <a:gd name="T71" fmla="*/ 581 h 692"/>
                <a:gd name="T72" fmla="*/ 181 w 667"/>
                <a:gd name="T73" fmla="*/ 635 h 692"/>
                <a:gd name="T74" fmla="*/ 210 w 667"/>
                <a:gd name="T75" fmla="*/ 638 h 692"/>
                <a:gd name="T76" fmla="*/ 238 w 667"/>
                <a:gd name="T77" fmla="*/ 670 h 692"/>
                <a:gd name="T78" fmla="*/ 261 w 667"/>
                <a:gd name="T79" fmla="*/ 692 h 692"/>
                <a:gd name="T80" fmla="*/ 277 w 667"/>
                <a:gd name="T81" fmla="*/ 677 h 692"/>
                <a:gd name="T82" fmla="*/ 387 w 667"/>
                <a:gd name="T83" fmla="*/ 583 h 692"/>
                <a:gd name="T84" fmla="*/ 398 w 667"/>
                <a:gd name="T85" fmla="*/ 468 h 692"/>
                <a:gd name="T86" fmla="*/ 402 w 667"/>
                <a:gd name="T87" fmla="*/ 418 h 692"/>
                <a:gd name="T88" fmla="*/ 405 w 667"/>
                <a:gd name="T89" fmla="*/ 389 h 692"/>
                <a:gd name="T90" fmla="*/ 427 w 667"/>
                <a:gd name="T91" fmla="*/ 373 h 692"/>
                <a:gd name="T92" fmla="*/ 462 w 667"/>
                <a:gd name="T93" fmla="*/ 379 h 692"/>
                <a:gd name="T94" fmla="*/ 496 w 667"/>
                <a:gd name="T95" fmla="*/ 361 h 692"/>
                <a:gd name="T96" fmla="*/ 515 w 667"/>
                <a:gd name="T97" fmla="*/ 375 h 692"/>
                <a:gd name="T98" fmla="*/ 547 w 667"/>
                <a:gd name="T99" fmla="*/ 377 h 692"/>
                <a:gd name="T100" fmla="*/ 563 w 667"/>
                <a:gd name="T101" fmla="*/ 366 h 692"/>
                <a:gd name="T102" fmla="*/ 597 w 667"/>
                <a:gd name="T103" fmla="*/ 331 h 692"/>
                <a:gd name="T104" fmla="*/ 611 w 667"/>
                <a:gd name="T105" fmla="*/ 347 h 692"/>
                <a:gd name="T106" fmla="*/ 643 w 667"/>
                <a:gd name="T107" fmla="*/ 334 h 692"/>
                <a:gd name="T108" fmla="*/ 643 w 667"/>
                <a:gd name="T109" fmla="*/ 311 h 692"/>
                <a:gd name="T110" fmla="*/ 622 w 667"/>
                <a:gd name="T111" fmla="*/ 290 h 692"/>
                <a:gd name="T112" fmla="*/ 627 w 667"/>
                <a:gd name="T113" fmla="*/ 270 h 692"/>
                <a:gd name="T114" fmla="*/ 642 w 667"/>
                <a:gd name="T115" fmla="*/ 254 h 692"/>
                <a:gd name="T116" fmla="*/ 663 w 667"/>
                <a:gd name="T117" fmla="*/ 24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7" h="692">
                  <a:moveTo>
                    <a:pt x="663" y="240"/>
                  </a:moveTo>
                  <a:lnTo>
                    <a:pt x="652" y="238"/>
                  </a:lnTo>
                  <a:lnTo>
                    <a:pt x="643" y="214"/>
                  </a:lnTo>
                  <a:lnTo>
                    <a:pt x="643" y="206"/>
                  </a:lnTo>
                  <a:lnTo>
                    <a:pt x="640" y="199"/>
                  </a:lnTo>
                  <a:lnTo>
                    <a:pt x="638" y="198"/>
                  </a:lnTo>
                  <a:lnTo>
                    <a:pt x="636" y="196"/>
                  </a:lnTo>
                  <a:lnTo>
                    <a:pt x="629" y="194"/>
                  </a:lnTo>
                  <a:lnTo>
                    <a:pt x="627" y="196"/>
                  </a:lnTo>
                  <a:lnTo>
                    <a:pt x="624" y="198"/>
                  </a:lnTo>
                  <a:lnTo>
                    <a:pt x="620" y="198"/>
                  </a:lnTo>
                  <a:lnTo>
                    <a:pt x="613" y="199"/>
                  </a:lnTo>
                  <a:lnTo>
                    <a:pt x="608" y="203"/>
                  </a:lnTo>
                  <a:lnTo>
                    <a:pt x="603" y="205"/>
                  </a:lnTo>
                  <a:lnTo>
                    <a:pt x="601" y="203"/>
                  </a:lnTo>
                  <a:lnTo>
                    <a:pt x="599" y="203"/>
                  </a:lnTo>
                  <a:lnTo>
                    <a:pt x="597" y="194"/>
                  </a:lnTo>
                  <a:lnTo>
                    <a:pt x="595" y="190"/>
                  </a:lnTo>
                  <a:lnTo>
                    <a:pt x="590" y="187"/>
                  </a:lnTo>
                  <a:lnTo>
                    <a:pt x="595" y="176"/>
                  </a:lnTo>
                  <a:lnTo>
                    <a:pt x="583" y="171"/>
                  </a:lnTo>
                  <a:lnTo>
                    <a:pt x="572" y="167"/>
                  </a:lnTo>
                  <a:lnTo>
                    <a:pt x="567" y="166"/>
                  </a:lnTo>
                  <a:lnTo>
                    <a:pt x="551" y="164"/>
                  </a:lnTo>
                  <a:lnTo>
                    <a:pt x="544" y="164"/>
                  </a:lnTo>
                  <a:lnTo>
                    <a:pt x="542" y="166"/>
                  </a:lnTo>
                  <a:lnTo>
                    <a:pt x="539" y="167"/>
                  </a:lnTo>
                  <a:lnTo>
                    <a:pt x="537" y="169"/>
                  </a:lnTo>
                  <a:lnTo>
                    <a:pt x="535" y="173"/>
                  </a:lnTo>
                  <a:lnTo>
                    <a:pt x="530" y="183"/>
                  </a:lnTo>
                  <a:lnTo>
                    <a:pt x="526" y="194"/>
                  </a:lnTo>
                  <a:lnTo>
                    <a:pt x="523" y="198"/>
                  </a:lnTo>
                  <a:lnTo>
                    <a:pt x="519" y="203"/>
                  </a:lnTo>
                  <a:lnTo>
                    <a:pt x="514" y="210"/>
                  </a:lnTo>
                  <a:lnTo>
                    <a:pt x="507" y="217"/>
                  </a:lnTo>
                  <a:lnTo>
                    <a:pt x="503" y="226"/>
                  </a:lnTo>
                  <a:lnTo>
                    <a:pt x="503" y="230"/>
                  </a:lnTo>
                  <a:lnTo>
                    <a:pt x="503" y="231"/>
                  </a:lnTo>
                  <a:lnTo>
                    <a:pt x="503" y="235"/>
                  </a:lnTo>
                  <a:lnTo>
                    <a:pt x="503" y="238"/>
                  </a:lnTo>
                  <a:lnTo>
                    <a:pt x="503" y="244"/>
                  </a:lnTo>
                  <a:lnTo>
                    <a:pt x="501" y="246"/>
                  </a:lnTo>
                  <a:lnTo>
                    <a:pt x="499" y="247"/>
                  </a:lnTo>
                  <a:lnTo>
                    <a:pt x="494" y="247"/>
                  </a:lnTo>
                  <a:lnTo>
                    <a:pt x="489" y="251"/>
                  </a:lnTo>
                  <a:lnTo>
                    <a:pt x="485" y="254"/>
                  </a:lnTo>
                  <a:lnTo>
                    <a:pt x="482" y="246"/>
                  </a:lnTo>
                  <a:lnTo>
                    <a:pt x="480" y="238"/>
                  </a:lnTo>
                  <a:lnTo>
                    <a:pt x="478" y="238"/>
                  </a:lnTo>
                  <a:lnTo>
                    <a:pt x="475" y="237"/>
                  </a:lnTo>
                  <a:lnTo>
                    <a:pt x="469" y="238"/>
                  </a:lnTo>
                  <a:lnTo>
                    <a:pt x="466" y="240"/>
                  </a:lnTo>
                  <a:lnTo>
                    <a:pt x="455" y="247"/>
                  </a:lnTo>
                  <a:lnTo>
                    <a:pt x="443" y="251"/>
                  </a:lnTo>
                  <a:lnTo>
                    <a:pt x="435" y="253"/>
                  </a:lnTo>
                  <a:lnTo>
                    <a:pt x="434" y="253"/>
                  </a:lnTo>
                  <a:lnTo>
                    <a:pt x="428" y="253"/>
                  </a:lnTo>
                  <a:lnTo>
                    <a:pt x="427" y="254"/>
                  </a:lnTo>
                  <a:lnTo>
                    <a:pt x="425" y="256"/>
                  </a:lnTo>
                  <a:lnTo>
                    <a:pt x="425" y="258"/>
                  </a:lnTo>
                  <a:lnTo>
                    <a:pt x="425" y="263"/>
                  </a:lnTo>
                  <a:lnTo>
                    <a:pt x="423" y="265"/>
                  </a:lnTo>
                  <a:lnTo>
                    <a:pt x="421" y="265"/>
                  </a:lnTo>
                  <a:lnTo>
                    <a:pt x="418" y="267"/>
                  </a:lnTo>
                  <a:lnTo>
                    <a:pt x="409" y="265"/>
                  </a:lnTo>
                  <a:lnTo>
                    <a:pt x="402" y="263"/>
                  </a:lnTo>
                  <a:lnTo>
                    <a:pt x="395" y="258"/>
                  </a:lnTo>
                  <a:lnTo>
                    <a:pt x="389" y="253"/>
                  </a:lnTo>
                  <a:lnTo>
                    <a:pt x="389" y="251"/>
                  </a:lnTo>
                  <a:lnTo>
                    <a:pt x="389" y="246"/>
                  </a:lnTo>
                  <a:lnTo>
                    <a:pt x="393" y="235"/>
                  </a:lnTo>
                  <a:lnTo>
                    <a:pt x="395" y="226"/>
                  </a:lnTo>
                  <a:lnTo>
                    <a:pt x="396" y="214"/>
                  </a:lnTo>
                  <a:lnTo>
                    <a:pt x="396" y="203"/>
                  </a:lnTo>
                  <a:lnTo>
                    <a:pt x="398" y="194"/>
                  </a:lnTo>
                  <a:lnTo>
                    <a:pt x="405" y="178"/>
                  </a:lnTo>
                  <a:lnTo>
                    <a:pt x="409" y="166"/>
                  </a:lnTo>
                  <a:lnTo>
                    <a:pt x="409" y="158"/>
                  </a:lnTo>
                  <a:lnTo>
                    <a:pt x="409" y="155"/>
                  </a:lnTo>
                  <a:lnTo>
                    <a:pt x="407" y="155"/>
                  </a:lnTo>
                  <a:lnTo>
                    <a:pt x="395" y="148"/>
                  </a:lnTo>
                  <a:lnTo>
                    <a:pt x="387" y="144"/>
                  </a:lnTo>
                  <a:lnTo>
                    <a:pt x="386" y="141"/>
                  </a:lnTo>
                  <a:lnTo>
                    <a:pt x="384" y="137"/>
                  </a:lnTo>
                  <a:lnTo>
                    <a:pt x="382" y="134"/>
                  </a:lnTo>
                  <a:lnTo>
                    <a:pt x="380" y="126"/>
                  </a:lnTo>
                  <a:lnTo>
                    <a:pt x="379" y="123"/>
                  </a:lnTo>
                  <a:lnTo>
                    <a:pt x="379" y="118"/>
                  </a:lnTo>
                  <a:lnTo>
                    <a:pt x="380" y="118"/>
                  </a:lnTo>
                  <a:lnTo>
                    <a:pt x="384" y="112"/>
                  </a:lnTo>
                  <a:lnTo>
                    <a:pt x="386" y="105"/>
                  </a:lnTo>
                  <a:lnTo>
                    <a:pt x="386" y="102"/>
                  </a:lnTo>
                  <a:lnTo>
                    <a:pt x="386" y="100"/>
                  </a:lnTo>
                  <a:lnTo>
                    <a:pt x="386" y="94"/>
                  </a:lnTo>
                  <a:lnTo>
                    <a:pt x="382" y="94"/>
                  </a:lnTo>
                  <a:lnTo>
                    <a:pt x="380" y="93"/>
                  </a:lnTo>
                  <a:lnTo>
                    <a:pt x="377" y="93"/>
                  </a:lnTo>
                  <a:lnTo>
                    <a:pt x="371" y="93"/>
                  </a:lnTo>
                  <a:lnTo>
                    <a:pt x="368" y="93"/>
                  </a:lnTo>
                  <a:lnTo>
                    <a:pt x="366" y="91"/>
                  </a:lnTo>
                  <a:lnTo>
                    <a:pt x="366" y="89"/>
                  </a:lnTo>
                  <a:lnTo>
                    <a:pt x="366" y="86"/>
                  </a:lnTo>
                  <a:lnTo>
                    <a:pt x="371" y="77"/>
                  </a:lnTo>
                  <a:lnTo>
                    <a:pt x="373" y="73"/>
                  </a:lnTo>
                  <a:lnTo>
                    <a:pt x="373" y="70"/>
                  </a:lnTo>
                  <a:lnTo>
                    <a:pt x="373" y="70"/>
                  </a:lnTo>
                  <a:lnTo>
                    <a:pt x="371" y="68"/>
                  </a:lnTo>
                  <a:lnTo>
                    <a:pt x="368" y="64"/>
                  </a:lnTo>
                  <a:lnTo>
                    <a:pt x="366" y="62"/>
                  </a:lnTo>
                  <a:lnTo>
                    <a:pt x="364" y="52"/>
                  </a:lnTo>
                  <a:lnTo>
                    <a:pt x="363" y="48"/>
                  </a:lnTo>
                  <a:lnTo>
                    <a:pt x="361" y="43"/>
                  </a:lnTo>
                  <a:lnTo>
                    <a:pt x="357" y="41"/>
                  </a:lnTo>
                  <a:lnTo>
                    <a:pt x="354" y="39"/>
                  </a:lnTo>
                  <a:lnTo>
                    <a:pt x="343" y="34"/>
                  </a:lnTo>
                  <a:lnTo>
                    <a:pt x="336" y="34"/>
                  </a:lnTo>
                  <a:lnTo>
                    <a:pt x="331" y="34"/>
                  </a:lnTo>
                  <a:lnTo>
                    <a:pt x="331" y="34"/>
                  </a:lnTo>
                  <a:lnTo>
                    <a:pt x="331" y="30"/>
                  </a:lnTo>
                  <a:lnTo>
                    <a:pt x="334" y="30"/>
                  </a:lnTo>
                  <a:lnTo>
                    <a:pt x="336" y="29"/>
                  </a:lnTo>
                  <a:lnTo>
                    <a:pt x="341" y="27"/>
                  </a:lnTo>
                  <a:lnTo>
                    <a:pt x="343" y="27"/>
                  </a:lnTo>
                  <a:lnTo>
                    <a:pt x="345" y="25"/>
                  </a:lnTo>
                  <a:lnTo>
                    <a:pt x="345" y="23"/>
                  </a:lnTo>
                  <a:lnTo>
                    <a:pt x="343" y="20"/>
                  </a:lnTo>
                  <a:lnTo>
                    <a:pt x="334" y="0"/>
                  </a:lnTo>
                  <a:lnTo>
                    <a:pt x="334" y="4"/>
                  </a:lnTo>
                  <a:lnTo>
                    <a:pt x="334" y="7"/>
                  </a:lnTo>
                  <a:lnTo>
                    <a:pt x="332" y="9"/>
                  </a:lnTo>
                  <a:lnTo>
                    <a:pt x="331" y="11"/>
                  </a:lnTo>
                  <a:lnTo>
                    <a:pt x="325" y="11"/>
                  </a:lnTo>
                  <a:lnTo>
                    <a:pt x="320" y="14"/>
                  </a:lnTo>
                  <a:lnTo>
                    <a:pt x="315" y="20"/>
                  </a:lnTo>
                  <a:lnTo>
                    <a:pt x="306" y="27"/>
                  </a:lnTo>
                  <a:lnTo>
                    <a:pt x="295" y="23"/>
                  </a:lnTo>
                  <a:lnTo>
                    <a:pt x="293" y="43"/>
                  </a:lnTo>
                  <a:lnTo>
                    <a:pt x="293" y="62"/>
                  </a:lnTo>
                  <a:lnTo>
                    <a:pt x="286" y="70"/>
                  </a:lnTo>
                  <a:lnTo>
                    <a:pt x="295" y="82"/>
                  </a:lnTo>
                  <a:lnTo>
                    <a:pt x="299" y="87"/>
                  </a:lnTo>
                  <a:lnTo>
                    <a:pt x="302" y="91"/>
                  </a:lnTo>
                  <a:lnTo>
                    <a:pt x="295" y="107"/>
                  </a:lnTo>
                  <a:lnTo>
                    <a:pt x="295" y="123"/>
                  </a:lnTo>
                  <a:lnTo>
                    <a:pt x="284" y="134"/>
                  </a:lnTo>
                  <a:lnTo>
                    <a:pt x="284" y="141"/>
                  </a:lnTo>
                  <a:lnTo>
                    <a:pt x="261" y="158"/>
                  </a:lnTo>
                  <a:lnTo>
                    <a:pt x="251" y="183"/>
                  </a:lnTo>
                  <a:lnTo>
                    <a:pt x="254" y="196"/>
                  </a:lnTo>
                  <a:lnTo>
                    <a:pt x="258" y="206"/>
                  </a:lnTo>
                  <a:lnTo>
                    <a:pt x="261" y="212"/>
                  </a:lnTo>
                  <a:lnTo>
                    <a:pt x="265" y="214"/>
                  </a:lnTo>
                  <a:lnTo>
                    <a:pt x="272" y="215"/>
                  </a:lnTo>
                  <a:lnTo>
                    <a:pt x="281" y="215"/>
                  </a:lnTo>
                  <a:lnTo>
                    <a:pt x="281" y="235"/>
                  </a:lnTo>
                  <a:lnTo>
                    <a:pt x="267" y="240"/>
                  </a:lnTo>
                  <a:lnTo>
                    <a:pt x="270" y="256"/>
                  </a:lnTo>
                  <a:lnTo>
                    <a:pt x="281" y="267"/>
                  </a:lnTo>
                  <a:lnTo>
                    <a:pt x="275" y="279"/>
                  </a:lnTo>
                  <a:lnTo>
                    <a:pt x="267" y="295"/>
                  </a:lnTo>
                  <a:lnTo>
                    <a:pt x="261" y="301"/>
                  </a:lnTo>
                  <a:lnTo>
                    <a:pt x="256" y="304"/>
                  </a:lnTo>
                  <a:lnTo>
                    <a:pt x="254" y="304"/>
                  </a:lnTo>
                  <a:lnTo>
                    <a:pt x="252" y="301"/>
                  </a:lnTo>
                  <a:lnTo>
                    <a:pt x="249" y="297"/>
                  </a:lnTo>
                  <a:lnTo>
                    <a:pt x="240" y="294"/>
                  </a:lnTo>
                  <a:lnTo>
                    <a:pt x="231" y="288"/>
                  </a:lnTo>
                  <a:lnTo>
                    <a:pt x="213" y="269"/>
                  </a:lnTo>
                  <a:lnTo>
                    <a:pt x="204" y="274"/>
                  </a:lnTo>
                  <a:lnTo>
                    <a:pt x="201" y="278"/>
                  </a:lnTo>
                  <a:lnTo>
                    <a:pt x="199" y="281"/>
                  </a:lnTo>
                  <a:lnTo>
                    <a:pt x="199" y="286"/>
                  </a:lnTo>
                  <a:lnTo>
                    <a:pt x="201" y="290"/>
                  </a:lnTo>
                  <a:lnTo>
                    <a:pt x="201" y="295"/>
                  </a:lnTo>
                  <a:lnTo>
                    <a:pt x="199" y="297"/>
                  </a:lnTo>
                  <a:lnTo>
                    <a:pt x="197" y="299"/>
                  </a:lnTo>
                  <a:lnTo>
                    <a:pt x="192" y="304"/>
                  </a:lnTo>
                  <a:lnTo>
                    <a:pt x="190" y="308"/>
                  </a:lnTo>
                  <a:lnTo>
                    <a:pt x="185" y="311"/>
                  </a:lnTo>
                  <a:lnTo>
                    <a:pt x="181" y="311"/>
                  </a:lnTo>
                  <a:lnTo>
                    <a:pt x="179" y="315"/>
                  </a:lnTo>
                  <a:lnTo>
                    <a:pt x="178" y="318"/>
                  </a:lnTo>
                  <a:lnTo>
                    <a:pt x="174" y="322"/>
                  </a:lnTo>
                  <a:lnTo>
                    <a:pt x="171" y="327"/>
                  </a:lnTo>
                  <a:lnTo>
                    <a:pt x="167" y="331"/>
                  </a:lnTo>
                  <a:lnTo>
                    <a:pt x="163" y="334"/>
                  </a:lnTo>
                  <a:lnTo>
                    <a:pt x="162" y="334"/>
                  </a:lnTo>
                  <a:lnTo>
                    <a:pt x="160" y="338"/>
                  </a:lnTo>
                  <a:lnTo>
                    <a:pt x="156" y="342"/>
                  </a:lnTo>
                  <a:lnTo>
                    <a:pt x="155" y="345"/>
                  </a:lnTo>
                  <a:lnTo>
                    <a:pt x="155" y="350"/>
                  </a:lnTo>
                  <a:lnTo>
                    <a:pt x="156" y="361"/>
                  </a:lnTo>
                  <a:lnTo>
                    <a:pt x="156" y="366"/>
                  </a:lnTo>
                  <a:lnTo>
                    <a:pt x="156" y="366"/>
                  </a:lnTo>
                  <a:lnTo>
                    <a:pt x="155" y="366"/>
                  </a:lnTo>
                  <a:lnTo>
                    <a:pt x="149" y="361"/>
                  </a:lnTo>
                  <a:lnTo>
                    <a:pt x="142" y="358"/>
                  </a:lnTo>
                  <a:lnTo>
                    <a:pt x="133" y="349"/>
                  </a:lnTo>
                  <a:lnTo>
                    <a:pt x="133" y="347"/>
                  </a:lnTo>
                  <a:lnTo>
                    <a:pt x="133" y="342"/>
                  </a:lnTo>
                  <a:lnTo>
                    <a:pt x="133" y="338"/>
                  </a:lnTo>
                  <a:lnTo>
                    <a:pt x="133" y="334"/>
                  </a:lnTo>
                  <a:lnTo>
                    <a:pt x="131" y="334"/>
                  </a:lnTo>
                  <a:lnTo>
                    <a:pt x="130" y="334"/>
                  </a:lnTo>
                  <a:lnTo>
                    <a:pt x="124" y="334"/>
                  </a:lnTo>
                  <a:lnTo>
                    <a:pt x="121" y="334"/>
                  </a:lnTo>
                  <a:lnTo>
                    <a:pt x="114" y="342"/>
                  </a:lnTo>
                  <a:lnTo>
                    <a:pt x="108" y="350"/>
                  </a:lnTo>
                  <a:lnTo>
                    <a:pt x="103" y="352"/>
                  </a:lnTo>
                  <a:lnTo>
                    <a:pt x="101" y="354"/>
                  </a:lnTo>
                  <a:lnTo>
                    <a:pt x="94" y="352"/>
                  </a:lnTo>
                  <a:lnTo>
                    <a:pt x="83" y="350"/>
                  </a:lnTo>
                  <a:lnTo>
                    <a:pt x="73" y="347"/>
                  </a:lnTo>
                  <a:lnTo>
                    <a:pt x="50" y="386"/>
                  </a:lnTo>
                  <a:lnTo>
                    <a:pt x="53" y="388"/>
                  </a:lnTo>
                  <a:lnTo>
                    <a:pt x="59" y="391"/>
                  </a:lnTo>
                  <a:lnTo>
                    <a:pt x="60" y="393"/>
                  </a:lnTo>
                  <a:lnTo>
                    <a:pt x="62" y="397"/>
                  </a:lnTo>
                  <a:lnTo>
                    <a:pt x="66" y="400"/>
                  </a:lnTo>
                  <a:lnTo>
                    <a:pt x="62" y="405"/>
                  </a:lnTo>
                  <a:lnTo>
                    <a:pt x="59" y="414"/>
                  </a:lnTo>
                  <a:lnTo>
                    <a:pt x="53" y="421"/>
                  </a:lnTo>
                  <a:lnTo>
                    <a:pt x="50" y="430"/>
                  </a:lnTo>
                  <a:lnTo>
                    <a:pt x="46" y="439"/>
                  </a:lnTo>
                  <a:lnTo>
                    <a:pt x="43" y="443"/>
                  </a:lnTo>
                  <a:lnTo>
                    <a:pt x="41" y="446"/>
                  </a:lnTo>
                  <a:lnTo>
                    <a:pt x="39" y="450"/>
                  </a:lnTo>
                  <a:lnTo>
                    <a:pt x="35" y="452"/>
                  </a:lnTo>
                  <a:lnTo>
                    <a:pt x="35" y="453"/>
                  </a:lnTo>
                  <a:lnTo>
                    <a:pt x="34" y="459"/>
                  </a:lnTo>
                  <a:lnTo>
                    <a:pt x="34" y="469"/>
                  </a:lnTo>
                  <a:lnTo>
                    <a:pt x="30" y="477"/>
                  </a:lnTo>
                  <a:lnTo>
                    <a:pt x="28" y="480"/>
                  </a:lnTo>
                  <a:lnTo>
                    <a:pt x="27" y="487"/>
                  </a:lnTo>
                  <a:lnTo>
                    <a:pt x="27" y="494"/>
                  </a:lnTo>
                  <a:lnTo>
                    <a:pt x="25" y="501"/>
                  </a:lnTo>
                  <a:lnTo>
                    <a:pt x="19" y="505"/>
                  </a:lnTo>
                  <a:lnTo>
                    <a:pt x="16" y="512"/>
                  </a:lnTo>
                  <a:lnTo>
                    <a:pt x="12" y="514"/>
                  </a:lnTo>
                  <a:lnTo>
                    <a:pt x="7" y="517"/>
                  </a:lnTo>
                  <a:lnTo>
                    <a:pt x="2" y="519"/>
                  </a:lnTo>
                  <a:lnTo>
                    <a:pt x="0" y="521"/>
                  </a:lnTo>
                  <a:lnTo>
                    <a:pt x="0" y="523"/>
                  </a:lnTo>
                  <a:lnTo>
                    <a:pt x="0" y="530"/>
                  </a:lnTo>
                  <a:lnTo>
                    <a:pt x="2" y="539"/>
                  </a:lnTo>
                  <a:lnTo>
                    <a:pt x="5" y="542"/>
                  </a:lnTo>
                  <a:lnTo>
                    <a:pt x="7" y="549"/>
                  </a:lnTo>
                  <a:lnTo>
                    <a:pt x="11" y="551"/>
                  </a:lnTo>
                  <a:lnTo>
                    <a:pt x="14" y="555"/>
                  </a:lnTo>
                  <a:lnTo>
                    <a:pt x="18" y="557"/>
                  </a:lnTo>
                  <a:lnTo>
                    <a:pt x="21" y="560"/>
                  </a:lnTo>
                  <a:lnTo>
                    <a:pt x="21" y="562"/>
                  </a:lnTo>
                  <a:lnTo>
                    <a:pt x="25" y="558"/>
                  </a:lnTo>
                  <a:lnTo>
                    <a:pt x="27" y="558"/>
                  </a:lnTo>
                  <a:lnTo>
                    <a:pt x="28" y="558"/>
                  </a:lnTo>
                  <a:lnTo>
                    <a:pt x="32" y="560"/>
                  </a:lnTo>
                  <a:lnTo>
                    <a:pt x="35" y="564"/>
                  </a:lnTo>
                  <a:lnTo>
                    <a:pt x="39" y="565"/>
                  </a:lnTo>
                  <a:lnTo>
                    <a:pt x="41" y="571"/>
                  </a:lnTo>
                  <a:lnTo>
                    <a:pt x="41" y="574"/>
                  </a:lnTo>
                  <a:lnTo>
                    <a:pt x="43" y="576"/>
                  </a:lnTo>
                  <a:lnTo>
                    <a:pt x="51" y="578"/>
                  </a:lnTo>
                  <a:lnTo>
                    <a:pt x="57" y="580"/>
                  </a:lnTo>
                  <a:lnTo>
                    <a:pt x="66" y="585"/>
                  </a:lnTo>
                  <a:lnTo>
                    <a:pt x="67" y="590"/>
                  </a:lnTo>
                  <a:lnTo>
                    <a:pt x="69" y="590"/>
                  </a:lnTo>
                  <a:lnTo>
                    <a:pt x="69" y="592"/>
                  </a:lnTo>
                  <a:lnTo>
                    <a:pt x="73" y="594"/>
                  </a:lnTo>
                  <a:lnTo>
                    <a:pt x="78" y="594"/>
                  </a:lnTo>
                  <a:lnTo>
                    <a:pt x="82" y="590"/>
                  </a:lnTo>
                  <a:lnTo>
                    <a:pt x="87" y="590"/>
                  </a:lnTo>
                  <a:lnTo>
                    <a:pt x="89" y="592"/>
                  </a:lnTo>
                  <a:lnTo>
                    <a:pt x="94" y="597"/>
                  </a:lnTo>
                  <a:lnTo>
                    <a:pt x="98" y="603"/>
                  </a:lnTo>
                  <a:lnTo>
                    <a:pt x="99" y="603"/>
                  </a:lnTo>
                  <a:lnTo>
                    <a:pt x="101" y="601"/>
                  </a:lnTo>
                  <a:lnTo>
                    <a:pt x="107" y="597"/>
                  </a:lnTo>
                  <a:lnTo>
                    <a:pt x="108" y="596"/>
                  </a:lnTo>
                  <a:lnTo>
                    <a:pt x="112" y="594"/>
                  </a:lnTo>
                  <a:lnTo>
                    <a:pt x="115" y="592"/>
                  </a:lnTo>
                  <a:lnTo>
                    <a:pt x="119" y="590"/>
                  </a:lnTo>
                  <a:lnTo>
                    <a:pt x="121" y="590"/>
                  </a:lnTo>
                  <a:lnTo>
                    <a:pt x="121" y="587"/>
                  </a:lnTo>
                  <a:lnTo>
                    <a:pt x="121" y="585"/>
                  </a:lnTo>
                  <a:lnTo>
                    <a:pt x="124" y="583"/>
                  </a:lnTo>
                  <a:lnTo>
                    <a:pt x="130" y="581"/>
                  </a:lnTo>
                  <a:lnTo>
                    <a:pt x="133" y="581"/>
                  </a:lnTo>
                  <a:lnTo>
                    <a:pt x="133" y="581"/>
                  </a:lnTo>
                  <a:lnTo>
                    <a:pt x="135" y="581"/>
                  </a:lnTo>
                  <a:lnTo>
                    <a:pt x="133" y="590"/>
                  </a:lnTo>
                  <a:lnTo>
                    <a:pt x="135" y="592"/>
                  </a:lnTo>
                  <a:lnTo>
                    <a:pt x="137" y="594"/>
                  </a:lnTo>
                  <a:lnTo>
                    <a:pt x="155" y="606"/>
                  </a:lnTo>
                  <a:lnTo>
                    <a:pt x="174" y="621"/>
                  </a:lnTo>
                  <a:lnTo>
                    <a:pt x="178" y="626"/>
                  </a:lnTo>
                  <a:lnTo>
                    <a:pt x="181" y="635"/>
                  </a:lnTo>
                  <a:lnTo>
                    <a:pt x="185" y="638"/>
                  </a:lnTo>
                  <a:lnTo>
                    <a:pt x="190" y="640"/>
                  </a:lnTo>
                  <a:lnTo>
                    <a:pt x="190" y="640"/>
                  </a:lnTo>
                  <a:lnTo>
                    <a:pt x="195" y="638"/>
                  </a:lnTo>
                  <a:lnTo>
                    <a:pt x="197" y="637"/>
                  </a:lnTo>
                  <a:lnTo>
                    <a:pt x="201" y="637"/>
                  </a:lnTo>
                  <a:lnTo>
                    <a:pt x="204" y="638"/>
                  </a:lnTo>
                  <a:lnTo>
                    <a:pt x="210" y="638"/>
                  </a:lnTo>
                  <a:lnTo>
                    <a:pt x="210" y="642"/>
                  </a:lnTo>
                  <a:lnTo>
                    <a:pt x="213" y="644"/>
                  </a:lnTo>
                  <a:lnTo>
                    <a:pt x="215" y="645"/>
                  </a:lnTo>
                  <a:lnTo>
                    <a:pt x="222" y="654"/>
                  </a:lnTo>
                  <a:lnTo>
                    <a:pt x="229" y="656"/>
                  </a:lnTo>
                  <a:lnTo>
                    <a:pt x="231" y="658"/>
                  </a:lnTo>
                  <a:lnTo>
                    <a:pt x="233" y="660"/>
                  </a:lnTo>
                  <a:lnTo>
                    <a:pt x="238" y="670"/>
                  </a:lnTo>
                  <a:lnTo>
                    <a:pt x="240" y="674"/>
                  </a:lnTo>
                  <a:lnTo>
                    <a:pt x="242" y="677"/>
                  </a:lnTo>
                  <a:lnTo>
                    <a:pt x="243" y="677"/>
                  </a:lnTo>
                  <a:lnTo>
                    <a:pt x="251" y="677"/>
                  </a:lnTo>
                  <a:lnTo>
                    <a:pt x="254" y="679"/>
                  </a:lnTo>
                  <a:lnTo>
                    <a:pt x="258" y="683"/>
                  </a:lnTo>
                  <a:lnTo>
                    <a:pt x="261" y="688"/>
                  </a:lnTo>
                  <a:lnTo>
                    <a:pt x="261" y="692"/>
                  </a:lnTo>
                  <a:lnTo>
                    <a:pt x="263" y="692"/>
                  </a:lnTo>
                  <a:lnTo>
                    <a:pt x="265" y="692"/>
                  </a:lnTo>
                  <a:lnTo>
                    <a:pt x="274" y="685"/>
                  </a:lnTo>
                  <a:lnTo>
                    <a:pt x="283" y="683"/>
                  </a:lnTo>
                  <a:lnTo>
                    <a:pt x="290" y="679"/>
                  </a:lnTo>
                  <a:lnTo>
                    <a:pt x="286" y="679"/>
                  </a:lnTo>
                  <a:lnTo>
                    <a:pt x="286" y="679"/>
                  </a:lnTo>
                  <a:lnTo>
                    <a:pt x="277" y="677"/>
                  </a:lnTo>
                  <a:lnTo>
                    <a:pt x="286" y="679"/>
                  </a:lnTo>
                  <a:lnTo>
                    <a:pt x="290" y="670"/>
                  </a:lnTo>
                  <a:lnTo>
                    <a:pt x="290" y="665"/>
                  </a:lnTo>
                  <a:lnTo>
                    <a:pt x="306" y="654"/>
                  </a:lnTo>
                  <a:lnTo>
                    <a:pt x="331" y="635"/>
                  </a:lnTo>
                  <a:lnTo>
                    <a:pt x="345" y="617"/>
                  </a:lnTo>
                  <a:lnTo>
                    <a:pt x="366" y="599"/>
                  </a:lnTo>
                  <a:lnTo>
                    <a:pt x="387" y="583"/>
                  </a:lnTo>
                  <a:lnTo>
                    <a:pt x="395" y="565"/>
                  </a:lnTo>
                  <a:lnTo>
                    <a:pt x="403" y="541"/>
                  </a:lnTo>
                  <a:lnTo>
                    <a:pt x="405" y="523"/>
                  </a:lnTo>
                  <a:lnTo>
                    <a:pt x="403" y="500"/>
                  </a:lnTo>
                  <a:lnTo>
                    <a:pt x="405" y="496"/>
                  </a:lnTo>
                  <a:lnTo>
                    <a:pt x="402" y="487"/>
                  </a:lnTo>
                  <a:lnTo>
                    <a:pt x="398" y="475"/>
                  </a:lnTo>
                  <a:lnTo>
                    <a:pt x="398" y="468"/>
                  </a:lnTo>
                  <a:lnTo>
                    <a:pt x="398" y="459"/>
                  </a:lnTo>
                  <a:lnTo>
                    <a:pt x="396" y="455"/>
                  </a:lnTo>
                  <a:lnTo>
                    <a:pt x="398" y="450"/>
                  </a:lnTo>
                  <a:lnTo>
                    <a:pt x="402" y="437"/>
                  </a:lnTo>
                  <a:lnTo>
                    <a:pt x="403" y="434"/>
                  </a:lnTo>
                  <a:lnTo>
                    <a:pt x="405" y="430"/>
                  </a:lnTo>
                  <a:lnTo>
                    <a:pt x="412" y="430"/>
                  </a:lnTo>
                  <a:lnTo>
                    <a:pt x="402" y="418"/>
                  </a:lnTo>
                  <a:lnTo>
                    <a:pt x="398" y="416"/>
                  </a:lnTo>
                  <a:lnTo>
                    <a:pt x="395" y="414"/>
                  </a:lnTo>
                  <a:lnTo>
                    <a:pt x="389" y="413"/>
                  </a:lnTo>
                  <a:lnTo>
                    <a:pt x="389" y="407"/>
                  </a:lnTo>
                  <a:lnTo>
                    <a:pt x="393" y="400"/>
                  </a:lnTo>
                  <a:lnTo>
                    <a:pt x="396" y="395"/>
                  </a:lnTo>
                  <a:lnTo>
                    <a:pt x="402" y="391"/>
                  </a:lnTo>
                  <a:lnTo>
                    <a:pt x="405" y="389"/>
                  </a:lnTo>
                  <a:lnTo>
                    <a:pt x="416" y="388"/>
                  </a:lnTo>
                  <a:lnTo>
                    <a:pt x="419" y="388"/>
                  </a:lnTo>
                  <a:lnTo>
                    <a:pt x="421" y="386"/>
                  </a:lnTo>
                  <a:lnTo>
                    <a:pt x="423" y="381"/>
                  </a:lnTo>
                  <a:lnTo>
                    <a:pt x="425" y="379"/>
                  </a:lnTo>
                  <a:lnTo>
                    <a:pt x="425" y="375"/>
                  </a:lnTo>
                  <a:lnTo>
                    <a:pt x="425" y="373"/>
                  </a:lnTo>
                  <a:lnTo>
                    <a:pt x="427" y="373"/>
                  </a:lnTo>
                  <a:lnTo>
                    <a:pt x="430" y="373"/>
                  </a:lnTo>
                  <a:lnTo>
                    <a:pt x="437" y="373"/>
                  </a:lnTo>
                  <a:lnTo>
                    <a:pt x="439" y="375"/>
                  </a:lnTo>
                  <a:lnTo>
                    <a:pt x="443" y="375"/>
                  </a:lnTo>
                  <a:lnTo>
                    <a:pt x="446" y="375"/>
                  </a:lnTo>
                  <a:lnTo>
                    <a:pt x="453" y="377"/>
                  </a:lnTo>
                  <a:lnTo>
                    <a:pt x="459" y="379"/>
                  </a:lnTo>
                  <a:lnTo>
                    <a:pt x="462" y="379"/>
                  </a:lnTo>
                  <a:lnTo>
                    <a:pt x="464" y="377"/>
                  </a:lnTo>
                  <a:lnTo>
                    <a:pt x="466" y="375"/>
                  </a:lnTo>
                  <a:lnTo>
                    <a:pt x="469" y="366"/>
                  </a:lnTo>
                  <a:lnTo>
                    <a:pt x="473" y="361"/>
                  </a:lnTo>
                  <a:lnTo>
                    <a:pt x="475" y="361"/>
                  </a:lnTo>
                  <a:lnTo>
                    <a:pt x="482" y="361"/>
                  </a:lnTo>
                  <a:lnTo>
                    <a:pt x="491" y="365"/>
                  </a:lnTo>
                  <a:lnTo>
                    <a:pt x="496" y="361"/>
                  </a:lnTo>
                  <a:lnTo>
                    <a:pt x="499" y="359"/>
                  </a:lnTo>
                  <a:lnTo>
                    <a:pt x="501" y="359"/>
                  </a:lnTo>
                  <a:lnTo>
                    <a:pt x="503" y="361"/>
                  </a:lnTo>
                  <a:lnTo>
                    <a:pt x="503" y="361"/>
                  </a:lnTo>
                  <a:lnTo>
                    <a:pt x="503" y="366"/>
                  </a:lnTo>
                  <a:lnTo>
                    <a:pt x="505" y="370"/>
                  </a:lnTo>
                  <a:lnTo>
                    <a:pt x="508" y="373"/>
                  </a:lnTo>
                  <a:lnTo>
                    <a:pt x="515" y="375"/>
                  </a:lnTo>
                  <a:lnTo>
                    <a:pt x="519" y="377"/>
                  </a:lnTo>
                  <a:lnTo>
                    <a:pt x="523" y="377"/>
                  </a:lnTo>
                  <a:lnTo>
                    <a:pt x="524" y="375"/>
                  </a:lnTo>
                  <a:lnTo>
                    <a:pt x="526" y="375"/>
                  </a:lnTo>
                  <a:lnTo>
                    <a:pt x="537" y="379"/>
                  </a:lnTo>
                  <a:lnTo>
                    <a:pt x="544" y="379"/>
                  </a:lnTo>
                  <a:lnTo>
                    <a:pt x="547" y="379"/>
                  </a:lnTo>
                  <a:lnTo>
                    <a:pt x="547" y="377"/>
                  </a:lnTo>
                  <a:lnTo>
                    <a:pt x="549" y="373"/>
                  </a:lnTo>
                  <a:lnTo>
                    <a:pt x="549" y="370"/>
                  </a:lnTo>
                  <a:lnTo>
                    <a:pt x="549" y="366"/>
                  </a:lnTo>
                  <a:lnTo>
                    <a:pt x="549" y="366"/>
                  </a:lnTo>
                  <a:lnTo>
                    <a:pt x="551" y="366"/>
                  </a:lnTo>
                  <a:lnTo>
                    <a:pt x="556" y="366"/>
                  </a:lnTo>
                  <a:lnTo>
                    <a:pt x="562" y="366"/>
                  </a:lnTo>
                  <a:lnTo>
                    <a:pt x="563" y="366"/>
                  </a:lnTo>
                  <a:lnTo>
                    <a:pt x="565" y="366"/>
                  </a:lnTo>
                  <a:lnTo>
                    <a:pt x="567" y="361"/>
                  </a:lnTo>
                  <a:lnTo>
                    <a:pt x="567" y="359"/>
                  </a:lnTo>
                  <a:lnTo>
                    <a:pt x="572" y="340"/>
                  </a:lnTo>
                  <a:lnTo>
                    <a:pt x="579" y="340"/>
                  </a:lnTo>
                  <a:lnTo>
                    <a:pt x="583" y="338"/>
                  </a:lnTo>
                  <a:lnTo>
                    <a:pt x="588" y="336"/>
                  </a:lnTo>
                  <a:lnTo>
                    <a:pt x="597" y="331"/>
                  </a:lnTo>
                  <a:lnTo>
                    <a:pt x="603" y="327"/>
                  </a:lnTo>
                  <a:lnTo>
                    <a:pt x="608" y="322"/>
                  </a:lnTo>
                  <a:lnTo>
                    <a:pt x="592" y="340"/>
                  </a:lnTo>
                  <a:lnTo>
                    <a:pt x="595" y="342"/>
                  </a:lnTo>
                  <a:lnTo>
                    <a:pt x="597" y="342"/>
                  </a:lnTo>
                  <a:lnTo>
                    <a:pt x="601" y="345"/>
                  </a:lnTo>
                  <a:lnTo>
                    <a:pt x="606" y="349"/>
                  </a:lnTo>
                  <a:lnTo>
                    <a:pt x="611" y="347"/>
                  </a:lnTo>
                  <a:lnTo>
                    <a:pt x="622" y="347"/>
                  </a:lnTo>
                  <a:lnTo>
                    <a:pt x="627" y="345"/>
                  </a:lnTo>
                  <a:lnTo>
                    <a:pt x="629" y="342"/>
                  </a:lnTo>
                  <a:lnTo>
                    <a:pt x="633" y="338"/>
                  </a:lnTo>
                  <a:lnTo>
                    <a:pt x="638" y="334"/>
                  </a:lnTo>
                  <a:lnTo>
                    <a:pt x="642" y="334"/>
                  </a:lnTo>
                  <a:lnTo>
                    <a:pt x="643" y="336"/>
                  </a:lnTo>
                  <a:lnTo>
                    <a:pt x="643" y="334"/>
                  </a:lnTo>
                  <a:lnTo>
                    <a:pt x="645" y="331"/>
                  </a:lnTo>
                  <a:lnTo>
                    <a:pt x="645" y="329"/>
                  </a:lnTo>
                  <a:lnTo>
                    <a:pt x="643" y="327"/>
                  </a:lnTo>
                  <a:lnTo>
                    <a:pt x="643" y="322"/>
                  </a:lnTo>
                  <a:lnTo>
                    <a:pt x="643" y="318"/>
                  </a:lnTo>
                  <a:lnTo>
                    <a:pt x="643" y="318"/>
                  </a:lnTo>
                  <a:lnTo>
                    <a:pt x="643" y="315"/>
                  </a:lnTo>
                  <a:lnTo>
                    <a:pt x="643" y="311"/>
                  </a:lnTo>
                  <a:lnTo>
                    <a:pt x="643" y="311"/>
                  </a:lnTo>
                  <a:lnTo>
                    <a:pt x="642" y="311"/>
                  </a:lnTo>
                  <a:lnTo>
                    <a:pt x="640" y="311"/>
                  </a:lnTo>
                  <a:lnTo>
                    <a:pt x="636" y="315"/>
                  </a:lnTo>
                  <a:lnTo>
                    <a:pt x="626" y="301"/>
                  </a:lnTo>
                  <a:lnTo>
                    <a:pt x="622" y="297"/>
                  </a:lnTo>
                  <a:lnTo>
                    <a:pt x="622" y="294"/>
                  </a:lnTo>
                  <a:lnTo>
                    <a:pt x="622" y="290"/>
                  </a:lnTo>
                  <a:lnTo>
                    <a:pt x="626" y="288"/>
                  </a:lnTo>
                  <a:lnTo>
                    <a:pt x="626" y="286"/>
                  </a:lnTo>
                  <a:lnTo>
                    <a:pt x="627" y="285"/>
                  </a:lnTo>
                  <a:lnTo>
                    <a:pt x="626" y="278"/>
                  </a:lnTo>
                  <a:lnTo>
                    <a:pt x="624" y="274"/>
                  </a:lnTo>
                  <a:lnTo>
                    <a:pt x="624" y="270"/>
                  </a:lnTo>
                  <a:lnTo>
                    <a:pt x="626" y="270"/>
                  </a:lnTo>
                  <a:lnTo>
                    <a:pt x="627" y="270"/>
                  </a:lnTo>
                  <a:lnTo>
                    <a:pt x="626" y="267"/>
                  </a:lnTo>
                  <a:lnTo>
                    <a:pt x="624" y="265"/>
                  </a:lnTo>
                  <a:lnTo>
                    <a:pt x="624" y="263"/>
                  </a:lnTo>
                  <a:lnTo>
                    <a:pt x="626" y="263"/>
                  </a:lnTo>
                  <a:lnTo>
                    <a:pt x="629" y="256"/>
                  </a:lnTo>
                  <a:lnTo>
                    <a:pt x="633" y="254"/>
                  </a:lnTo>
                  <a:lnTo>
                    <a:pt x="636" y="254"/>
                  </a:lnTo>
                  <a:lnTo>
                    <a:pt x="642" y="254"/>
                  </a:lnTo>
                  <a:lnTo>
                    <a:pt x="647" y="258"/>
                  </a:lnTo>
                  <a:lnTo>
                    <a:pt x="652" y="258"/>
                  </a:lnTo>
                  <a:lnTo>
                    <a:pt x="654" y="260"/>
                  </a:lnTo>
                  <a:lnTo>
                    <a:pt x="661" y="258"/>
                  </a:lnTo>
                  <a:lnTo>
                    <a:pt x="667" y="256"/>
                  </a:lnTo>
                  <a:lnTo>
                    <a:pt x="667" y="254"/>
                  </a:lnTo>
                  <a:lnTo>
                    <a:pt x="663" y="240"/>
                  </a:lnTo>
                  <a:lnTo>
                    <a:pt x="663" y="240"/>
                  </a:lnTo>
                  <a:lnTo>
                    <a:pt x="663" y="24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769699" y="2670792"/>
              <a:ext cx="324594" cy="241306"/>
            </a:xfrm>
            <a:custGeom>
              <a:avLst/>
              <a:gdLst>
                <a:gd name="T0" fmla="*/ 545 w 569"/>
                <a:gd name="T1" fmla="*/ 99 h 423"/>
                <a:gd name="T2" fmla="*/ 510 w 569"/>
                <a:gd name="T3" fmla="*/ 44 h 423"/>
                <a:gd name="T4" fmla="*/ 508 w 569"/>
                <a:gd name="T5" fmla="*/ 30 h 423"/>
                <a:gd name="T6" fmla="*/ 526 w 569"/>
                <a:gd name="T7" fmla="*/ 0 h 423"/>
                <a:gd name="T8" fmla="*/ 490 w 569"/>
                <a:gd name="T9" fmla="*/ 18 h 423"/>
                <a:gd name="T10" fmla="*/ 474 w 569"/>
                <a:gd name="T11" fmla="*/ 44 h 423"/>
                <a:gd name="T12" fmla="*/ 465 w 569"/>
                <a:gd name="T13" fmla="*/ 55 h 423"/>
                <a:gd name="T14" fmla="*/ 441 w 569"/>
                <a:gd name="T15" fmla="*/ 55 h 423"/>
                <a:gd name="T16" fmla="*/ 421 w 569"/>
                <a:gd name="T17" fmla="*/ 39 h 423"/>
                <a:gd name="T18" fmla="*/ 400 w 569"/>
                <a:gd name="T19" fmla="*/ 39 h 423"/>
                <a:gd name="T20" fmla="*/ 380 w 569"/>
                <a:gd name="T21" fmla="*/ 57 h 423"/>
                <a:gd name="T22" fmla="*/ 355 w 569"/>
                <a:gd name="T23" fmla="*/ 51 h 423"/>
                <a:gd name="T24" fmla="*/ 341 w 569"/>
                <a:gd name="T25" fmla="*/ 59 h 423"/>
                <a:gd name="T26" fmla="*/ 314 w 569"/>
                <a:gd name="T27" fmla="*/ 73 h 423"/>
                <a:gd name="T28" fmla="*/ 320 w 569"/>
                <a:gd name="T29" fmla="*/ 96 h 423"/>
                <a:gd name="T30" fmla="*/ 314 w 569"/>
                <a:gd name="T31" fmla="*/ 133 h 423"/>
                <a:gd name="T32" fmla="*/ 323 w 569"/>
                <a:gd name="T33" fmla="*/ 174 h 423"/>
                <a:gd name="T34" fmla="*/ 284 w 569"/>
                <a:gd name="T35" fmla="*/ 277 h 423"/>
                <a:gd name="T36" fmla="*/ 204 w 569"/>
                <a:gd name="T37" fmla="*/ 357 h 423"/>
                <a:gd name="T38" fmla="*/ 179 w 569"/>
                <a:gd name="T39" fmla="*/ 370 h 423"/>
                <a:gd name="T40" fmla="*/ 160 w 569"/>
                <a:gd name="T41" fmla="*/ 355 h 423"/>
                <a:gd name="T42" fmla="*/ 140 w 569"/>
                <a:gd name="T43" fmla="*/ 332 h 423"/>
                <a:gd name="T44" fmla="*/ 119 w 569"/>
                <a:gd name="T45" fmla="*/ 315 h 423"/>
                <a:gd name="T46" fmla="*/ 99 w 569"/>
                <a:gd name="T47" fmla="*/ 313 h 423"/>
                <a:gd name="T48" fmla="*/ 51 w 569"/>
                <a:gd name="T49" fmla="*/ 268 h 423"/>
                <a:gd name="T50" fmla="*/ 39 w 569"/>
                <a:gd name="T51" fmla="*/ 263 h 423"/>
                <a:gd name="T52" fmla="*/ 26 w 569"/>
                <a:gd name="T53" fmla="*/ 274 h 423"/>
                <a:gd name="T54" fmla="*/ 10 w 569"/>
                <a:gd name="T55" fmla="*/ 281 h 423"/>
                <a:gd name="T56" fmla="*/ 10 w 569"/>
                <a:gd name="T57" fmla="*/ 322 h 423"/>
                <a:gd name="T58" fmla="*/ 32 w 569"/>
                <a:gd name="T59" fmla="*/ 336 h 423"/>
                <a:gd name="T60" fmla="*/ 92 w 569"/>
                <a:gd name="T61" fmla="*/ 355 h 423"/>
                <a:gd name="T62" fmla="*/ 119 w 569"/>
                <a:gd name="T63" fmla="*/ 382 h 423"/>
                <a:gd name="T64" fmla="*/ 149 w 569"/>
                <a:gd name="T65" fmla="*/ 416 h 423"/>
                <a:gd name="T66" fmla="*/ 174 w 569"/>
                <a:gd name="T67" fmla="*/ 423 h 423"/>
                <a:gd name="T68" fmla="*/ 213 w 569"/>
                <a:gd name="T69" fmla="*/ 411 h 423"/>
                <a:gd name="T70" fmla="*/ 243 w 569"/>
                <a:gd name="T71" fmla="*/ 403 h 423"/>
                <a:gd name="T72" fmla="*/ 273 w 569"/>
                <a:gd name="T73" fmla="*/ 405 h 423"/>
                <a:gd name="T74" fmla="*/ 297 w 569"/>
                <a:gd name="T75" fmla="*/ 419 h 423"/>
                <a:gd name="T76" fmla="*/ 320 w 569"/>
                <a:gd name="T77" fmla="*/ 416 h 423"/>
                <a:gd name="T78" fmla="*/ 332 w 569"/>
                <a:gd name="T79" fmla="*/ 396 h 423"/>
                <a:gd name="T80" fmla="*/ 337 w 569"/>
                <a:gd name="T81" fmla="*/ 386 h 423"/>
                <a:gd name="T82" fmla="*/ 337 w 569"/>
                <a:gd name="T83" fmla="*/ 363 h 423"/>
                <a:gd name="T84" fmla="*/ 336 w 569"/>
                <a:gd name="T85" fmla="*/ 355 h 423"/>
                <a:gd name="T86" fmla="*/ 353 w 569"/>
                <a:gd name="T87" fmla="*/ 339 h 423"/>
                <a:gd name="T88" fmla="*/ 373 w 569"/>
                <a:gd name="T89" fmla="*/ 338 h 423"/>
                <a:gd name="T90" fmla="*/ 407 w 569"/>
                <a:gd name="T91" fmla="*/ 332 h 423"/>
                <a:gd name="T92" fmla="*/ 414 w 569"/>
                <a:gd name="T93" fmla="*/ 318 h 423"/>
                <a:gd name="T94" fmla="*/ 442 w 569"/>
                <a:gd name="T95" fmla="*/ 290 h 423"/>
                <a:gd name="T96" fmla="*/ 460 w 569"/>
                <a:gd name="T97" fmla="*/ 281 h 423"/>
                <a:gd name="T98" fmla="*/ 480 w 569"/>
                <a:gd name="T99" fmla="*/ 268 h 423"/>
                <a:gd name="T100" fmla="*/ 499 w 569"/>
                <a:gd name="T101" fmla="*/ 258 h 423"/>
                <a:gd name="T102" fmla="*/ 510 w 569"/>
                <a:gd name="T103" fmla="*/ 231 h 423"/>
                <a:gd name="T104" fmla="*/ 490 w 569"/>
                <a:gd name="T105" fmla="*/ 211 h 423"/>
                <a:gd name="T106" fmla="*/ 521 w 569"/>
                <a:gd name="T107" fmla="*/ 174 h 423"/>
                <a:gd name="T108" fmla="*/ 554 w 569"/>
                <a:gd name="T109" fmla="*/ 146 h 423"/>
                <a:gd name="T110" fmla="*/ 569 w 569"/>
                <a:gd name="T111" fmla="*/ 12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69" h="423">
                  <a:moveTo>
                    <a:pt x="567" y="114"/>
                  </a:moveTo>
                  <a:lnTo>
                    <a:pt x="565" y="110"/>
                  </a:lnTo>
                  <a:lnTo>
                    <a:pt x="561" y="107"/>
                  </a:lnTo>
                  <a:lnTo>
                    <a:pt x="551" y="99"/>
                  </a:lnTo>
                  <a:lnTo>
                    <a:pt x="547" y="99"/>
                  </a:lnTo>
                  <a:lnTo>
                    <a:pt x="545" y="99"/>
                  </a:lnTo>
                  <a:lnTo>
                    <a:pt x="535" y="99"/>
                  </a:lnTo>
                  <a:lnTo>
                    <a:pt x="526" y="83"/>
                  </a:lnTo>
                  <a:lnTo>
                    <a:pt x="517" y="59"/>
                  </a:lnTo>
                  <a:lnTo>
                    <a:pt x="515" y="48"/>
                  </a:lnTo>
                  <a:lnTo>
                    <a:pt x="517" y="48"/>
                  </a:lnTo>
                  <a:lnTo>
                    <a:pt x="510" y="44"/>
                  </a:lnTo>
                  <a:lnTo>
                    <a:pt x="506" y="39"/>
                  </a:lnTo>
                  <a:lnTo>
                    <a:pt x="505" y="39"/>
                  </a:lnTo>
                  <a:lnTo>
                    <a:pt x="505" y="39"/>
                  </a:lnTo>
                  <a:lnTo>
                    <a:pt x="506" y="36"/>
                  </a:lnTo>
                  <a:lnTo>
                    <a:pt x="508" y="34"/>
                  </a:lnTo>
                  <a:lnTo>
                    <a:pt x="508" y="30"/>
                  </a:lnTo>
                  <a:lnTo>
                    <a:pt x="508" y="27"/>
                  </a:lnTo>
                  <a:lnTo>
                    <a:pt x="508" y="25"/>
                  </a:lnTo>
                  <a:lnTo>
                    <a:pt x="510" y="20"/>
                  </a:lnTo>
                  <a:lnTo>
                    <a:pt x="513" y="20"/>
                  </a:lnTo>
                  <a:lnTo>
                    <a:pt x="510" y="18"/>
                  </a:lnTo>
                  <a:lnTo>
                    <a:pt x="526" y="0"/>
                  </a:lnTo>
                  <a:lnTo>
                    <a:pt x="521" y="5"/>
                  </a:lnTo>
                  <a:lnTo>
                    <a:pt x="515" y="9"/>
                  </a:lnTo>
                  <a:lnTo>
                    <a:pt x="506" y="14"/>
                  </a:lnTo>
                  <a:lnTo>
                    <a:pt x="501" y="16"/>
                  </a:lnTo>
                  <a:lnTo>
                    <a:pt x="497" y="18"/>
                  </a:lnTo>
                  <a:lnTo>
                    <a:pt x="490" y="18"/>
                  </a:lnTo>
                  <a:lnTo>
                    <a:pt x="485" y="37"/>
                  </a:lnTo>
                  <a:lnTo>
                    <a:pt x="485" y="39"/>
                  </a:lnTo>
                  <a:lnTo>
                    <a:pt x="483" y="44"/>
                  </a:lnTo>
                  <a:lnTo>
                    <a:pt x="481" y="44"/>
                  </a:lnTo>
                  <a:lnTo>
                    <a:pt x="480" y="44"/>
                  </a:lnTo>
                  <a:lnTo>
                    <a:pt x="474" y="44"/>
                  </a:lnTo>
                  <a:lnTo>
                    <a:pt x="469" y="44"/>
                  </a:lnTo>
                  <a:lnTo>
                    <a:pt x="467" y="44"/>
                  </a:lnTo>
                  <a:lnTo>
                    <a:pt x="467" y="44"/>
                  </a:lnTo>
                  <a:lnTo>
                    <a:pt x="467" y="48"/>
                  </a:lnTo>
                  <a:lnTo>
                    <a:pt x="467" y="51"/>
                  </a:lnTo>
                  <a:lnTo>
                    <a:pt x="465" y="55"/>
                  </a:lnTo>
                  <a:lnTo>
                    <a:pt x="465" y="57"/>
                  </a:lnTo>
                  <a:lnTo>
                    <a:pt x="462" y="57"/>
                  </a:lnTo>
                  <a:lnTo>
                    <a:pt x="455" y="57"/>
                  </a:lnTo>
                  <a:lnTo>
                    <a:pt x="444" y="53"/>
                  </a:lnTo>
                  <a:lnTo>
                    <a:pt x="442" y="53"/>
                  </a:lnTo>
                  <a:lnTo>
                    <a:pt x="441" y="55"/>
                  </a:lnTo>
                  <a:lnTo>
                    <a:pt x="437" y="55"/>
                  </a:lnTo>
                  <a:lnTo>
                    <a:pt x="433" y="53"/>
                  </a:lnTo>
                  <a:lnTo>
                    <a:pt x="426" y="51"/>
                  </a:lnTo>
                  <a:lnTo>
                    <a:pt x="423" y="48"/>
                  </a:lnTo>
                  <a:lnTo>
                    <a:pt x="421" y="44"/>
                  </a:lnTo>
                  <a:lnTo>
                    <a:pt x="421" y="39"/>
                  </a:lnTo>
                  <a:lnTo>
                    <a:pt x="421" y="39"/>
                  </a:lnTo>
                  <a:lnTo>
                    <a:pt x="419" y="37"/>
                  </a:lnTo>
                  <a:lnTo>
                    <a:pt x="417" y="37"/>
                  </a:lnTo>
                  <a:lnTo>
                    <a:pt x="414" y="39"/>
                  </a:lnTo>
                  <a:lnTo>
                    <a:pt x="409" y="43"/>
                  </a:lnTo>
                  <a:lnTo>
                    <a:pt x="400" y="39"/>
                  </a:lnTo>
                  <a:lnTo>
                    <a:pt x="393" y="39"/>
                  </a:lnTo>
                  <a:lnTo>
                    <a:pt x="391" y="39"/>
                  </a:lnTo>
                  <a:lnTo>
                    <a:pt x="387" y="44"/>
                  </a:lnTo>
                  <a:lnTo>
                    <a:pt x="384" y="53"/>
                  </a:lnTo>
                  <a:lnTo>
                    <a:pt x="382" y="55"/>
                  </a:lnTo>
                  <a:lnTo>
                    <a:pt x="380" y="57"/>
                  </a:lnTo>
                  <a:lnTo>
                    <a:pt x="377" y="57"/>
                  </a:lnTo>
                  <a:lnTo>
                    <a:pt x="371" y="55"/>
                  </a:lnTo>
                  <a:lnTo>
                    <a:pt x="364" y="53"/>
                  </a:lnTo>
                  <a:lnTo>
                    <a:pt x="361" y="53"/>
                  </a:lnTo>
                  <a:lnTo>
                    <a:pt x="357" y="53"/>
                  </a:lnTo>
                  <a:lnTo>
                    <a:pt x="355" y="51"/>
                  </a:lnTo>
                  <a:lnTo>
                    <a:pt x="348" y="51"/>
                  </a:lnTo>
                  <a:lnTo>
                    <a:pt x="345" y="51"/>
                  </a:lnTo>
                  <a:lnTo>
                    <a:pt x="343" y="51"/>
                  </a:lnTo>
                  <a:lnTo>
                    <a:pt x="343" y="53"/>
                  </a:lnTo>
                  <a:lnTo>
                    <a:pt x="343" y="57"/>
                  </a:lnTo>
                  <a:lnTo>
                    <a:pt x="341" y="59"/>
                  </a:lnTo>
                  <a:lnTo>
                    <a:pt x="339" y="64"/>
                  </a:lnTo>
                  <a:lnTo>
                    <a:pt x="337" y="66"/>
                  </a:lnTo>
                  <a:lnTo>
                    <a:pt x="334" y="66"/>
                  </a:lnTo>
                  <a:lnTo>
                    <a:pt x="323" y="67"/>
                  </a:lnTo>
                  <a:lnTo>
                    <a:pt x="320" y="69"/>
                  </a:lnTo>
                  <a:lnTo>
                    <a:pt x="314" y="73"/>
                  </a:lnTo>
                  <a:lnTo>
                    <a:pt x="311" y="78"/>
                  </a:lnTo>
                  <a:lnTo>
                    <a:pt x="307" y="85"/>
                  </a:lnTo>
                  <a:lnTo>
                    <a:pt x="307" y="91"/>
                  </a:lnTo>
                  <a:lnTo>
                    <a:pt x="313" y="92"/>
                  </a:lnTo>
                  <a:lnTo>
                    <a:pt x="316" y="94"/>
                  </a:lnTo>
                  <a:lnTo>
                    <a:pt x="320" y="96"/>
                  </a:lnTo>
                  <a:lnTo>
                    <a:pt x="330" y="108"/>
                  </a:lnTo>
                  <a:lnTo>
                    <a:pt x="323" y="108"/>
                  </a:lnTo>
                  <a:lnTo>
                    <a:pt x="321" y="112"/>
                  </a:lnTo>
                  <a:lnTo>
                    <a:pt x="320" y="115"/>
                  </a:lnTo>
                  <a:lnTo>
                    <a:pt x="316" y="128"/>
                  </a:lnTo>
                  <a:lnTo>
                    <a:pt x="314" y="133"/>
                  </a:lnTo>
                  <a:lnTo>
                    <a:pt x="316" y="137"/>
                  </a:lnTo>
                  <a:lnTo>
                    <a:pt x="316" y="146"/>
                  </a:lnTo>
                  <a:lnTo>
                    <a:pt x="316" y="153"/>
                  </a:lnTo>
                  <a:lnTo>
                    <a:pt x="320" y="165"/>
                  </a:lnTo>
                  <a:lnTo>
                    <a:pt x="323" y="174"/>
                  </a:lnTo>
                  <a:lnTo>
                    <a:pt x="323" y="174"/>
                  </a:lnTo>
                  <a:lnTo>
                    <a:pt x="321" y="178"/>
                  </a:lnTo>
                  <a:lnTo>
                    <a:pt x="323" y="201"/>
                  </a:lnTo>
                  <a:lnTo>
                    <a:pt x="321" y="219"/>
                  </a:lnTo>
                  <a:lnTo>
                    <a:pt x="313" y="243"/>
                  </a:lnTo>
                  <a:lnTo>
                    <a:pt x="305" y="261"/>
                  </a:lnTo>
                  <a:lnTo>
                    <a:pt x="284" y="277"/>
                  </a:lnTo>
                  <a:lnTo>
                    <a:pt x="263" y="295"/>
                  </a:lnTo>
                  <a:lnTo>
                    <a:pt x="249" y="313"/>
                  </a:lnTo>
                  <a:lnTo>
                    <a:pt x="224" y="332"/>
                  </a:lnTo>
                  <a:lnTo>
                    <a:pt x="208" y="343"/>
                  </a:lnTo>
                  <a:lnTo>
                    <a:pt x="208" y="348"/>
                  </a:lnTo>
                  <a:lnTo>
                    <a:pt x="204" y="357"/>
                  </a:lnTo>
                  <a:lnTo>
                    <a:pt x="208" y="357"/>
                  </a:lnTo>
                  <a:lnTo>
                    <a:pt x="201" y="361"/>
                  </a:lnTo>
                  <a:lnTo>
                    <a:pt x="192" y="363"/>
                  </a:lnTo>
                  <a:lnTo>
                    <a:pt x="183" y="370"/>
                  </a:lnTo>
                  <a:lnTo>
                    <a:pt x="181" y="370"/>
                  </a:lnTo>
                  <a:lnTo>
                    <a:pt x="179" y="370"/>
                  </a:lnTo>
                  <a:lnTo>
                    <a:pt x="179" y="366"/>
                  </a:lnTo>
                  <a:lnTo>
                    <a:pt x="176" y="361"/>
                  </a:lnTo>
                  <a:lnTo>
                    <a:pt x="172" y="357"/>
                  </a:lnTo>
                  <a:lnTo>
                    <a:pt x="169" y="355"/>
                  </a:lnTo>
                  <a:lnTo>
                    <a:pt x="161" y="355"/>
                  </a:lnTo>
                  <a:lnTo>
                    <a:pt x="160" y="355"/>
                  </a:lnTo>
                  <a:lnTo>
                    <a:pt x="158" y="352"/>
                  </a:lnTo>
                  <a:lnTo>
                    <a:pt x="156" y="348"/>
                  </a:lnTo>
                  <a:lnTo>
                    <a:pt x="151" y="338"/>
                  </a:lnTo>
                  <a:lnTo>
                    <a:pt x="149" y="336"/>
                  </a:lnTo>
                  <a:lnTo>
                    <a:pt x="147" y="334"/>
                  </a:lnTo>
                  <a:lnTo>
                    <a:pt x="140" y="332"/>
                  </a:lnTo>
                  <a:lnTo>
                    <a:pt x="133" y="323"/>
                  </a:lnTo>
                  <a:lnTo>
                    <a:pt x="131" y="322"/>
                  </a:lnTo>
                  <a:lnTo>
                    <a:pt x="128" y="320"/>
                  </a:lnTo>
                  <a:lnTo>
                    <a:pt x="128" y="316"/>
                  </a:lnTo>
                  <a:lnTo>
                    <a:pt x="122" y="316"/>
                  </a:lnTo>
                  <a:lnTo>
                    <a:pt x="119" y="315"/>
                  </a:lnTo>
                  <a:lnTo>
                    <a:pt x="115" y="315"/>
                  </a:lnTo>
                  <a:lnTo>
                    <a:pt x="113" y="316"/>
                  </a:lnTo>
                  <a:lnTo>
                    <a:pt x="108" y="318"/>
                  </a:lnTo>
                  <a:lnTo>
                    <a:pt x="108" y="318"/>
                  </a:lnTo>
                  <a:lnTo>
                    <a:pt x="103" y="316"/>
                  </a:lnTo>
                  <a:lnTo>
                    <a:pt x="99" y="313"/>
                  </a:lnTo>
                  <a:lnTo>
                    <a:pt x="96" y="304"/>
                  </a:lnTo>
                  <a:lnTo>
                    <a:pt x="92" y="299"/>
                  </a:lnTo>
                  <a:lnTo>
                    <a:pt x="73" y="284"/>
                  </a:lnTo>
                  <a:lnTo>
                    <a:pt x="55" y="272"/>
                  </a:lnTo>
                  <a:lnTo>
                    <a:pt x="53" y="270"/>
                  </a:lnTo>
                  <a:lnTo>
                    <a:pt x="51" y="268"/>
                  </a:lnTo>
                  <a:lnTo>
                    <a:pt x="53" y="259"/>
                  </a:lnTo>
                  <a:lnTo>
                    <a:pt x="51" y="259"/>
                  </a:lnTo>
                  <a:lnTo>
                    <a:pt x="51" y="259"/>
                  </a:lnTo>
                  <a:lnTo>
                    <a:pt x="48" y="259"/>
                  </a:lnTo>
                  <a:lnTo>
                    <a:pt x="42" y="261"/>
                  </a:lnTo>
                  <a:lnTo>
                    <a:pt x="39" y="263"/>
                  </a:lnTo>
                  <a:lnTo>
                    <a:pt x="39" y="265"/>
                  </a:lnTo>
                  <a:lnTo>
                    <a:pt x="39" y="268"/>
                  </a:lnTo>
                  <a:lnTo>
                    <a:pt x="37" y="268"/>
                  </a:lnTo>
                  <a:lnTo>
                    <a:pt x="33" y="270"/>
                  </a:lnTo>
                  <a:lnTo>
                    <a:pt x="30" y="272"/>
                  </a:lnTo>
                  <a:lnTo>
                    <a:pt x="26" y="274"/>
                  </a:lnTo>
                  <a:lnTo>
                    <a:pt x="25" y="275"/>
                  </a:lnTo>
                  <a:lnTo>
                    <a:pt x="19" y="279"/>
                  </a:lnTo>
                  <a:lnTo>
                    <a:pt x="17" y="281"/>
                  </a:lnTo>
                  <a:lnTo>
                    <a:pt x="16" y="281"/>
                  </a:lnTo>
                  <a:lnTo>
                    <a:pt x="16" y="283"/>
                  </a:lnTo>
                  <a:lnTo>
                    <a:pt x="10" y="281"/>
                  </a:lnTo>
                  <a:lnTo>
                    <a:pt x="7" y="290"/>
                  </a:lnTo>
                  <a:lnTo>
                    <a:pt x="9" y="295"/>
                  </a:lnTo>
                  <a:lnTo>
                    <a:pt x="0" y="306"/>
                  </a:lnTo>
                  <a:lnTo>
                    <a:pt x="5" y="320"/>
                  </a:lnTo>
                  <a:lnTo>
                    <a:pt x="7" y="320"/>
                  </a:lnTo>
                  <a:lnTo>
                    <a:pt x="10" y="322"/>
                  </a:lnTo>
                  <a:lnTo>
                    <a:pt x="12" y="323"/>
                  </a:lnTo>
                  <a:lnTo>
                    <a:pt x="14" y="325"/>
                  </a:lnTo>
                  <a:lnTo>
                    <a:pt x="17" y="329"/>
                  </a:lnTo>
                  <a:lnTo>
                    <a:pt x="25" y="332"/>
                  </a:lnTo>
                  <a:lnTo>
                    <a:pt x="28" y="332"/>
                  </a:lnTo>
                  <a:lnTo>
                    <a:pt x="32" y="336"/>
                  </a:lnTo>
                  <a:lnTo>
                    <a:pt x="35" y="338"/>
                  </a:lnTo>
                  <a:lnTo>
                    <a:pt x="39" y="339"/>
                  </a:lnTo>
                  <a:lnTo>
                    <a:pt x="42" y="339"/>
                  </a:lnTo>
                  <a:lnTo>
                    <a:pt x="55" y="343"/>
                  </a:lnTo>
                  <a:lnTo>
                    <a:pt x="73" y="348"/>
                  </a:lnTo>
                  <a:lnTo>
                    <a:pt x="92" y="355"/>
                  </a:lnTo>
                  <a:lnTo>
                    <a:pt x="108" y="359"/>
                  </a:lnTo>
                  <a:lnTo>
                    <a:pt x="112" y="361"/>
                  </a:lnTo>
                  <a:lnTo>
                    <a:pt x="113" y="361"/>
                  </a:lnTo>
                  <a:lnTo>
                    <a:pt x="115" y="363"/>
                  </a:lnTo>
                  <a:lnTo>
                    <a:pt x="115" y="366"/>
                  </a:lnTo>
                  <a:lnTo>
                    <a:pt x="119" y="382"/>
                  </a:lnTo>
                  <a:lnTo>
                    <a:pt x="122" y="395"/>
                  </a:lnTo>
                  <a:lnTo>
                    <a:pt x="128" y="398"/>
                  </a:lnTo>
                  <a:lnTo>
                    <a:pt x="129" y="400"/>
                  </a:lnTo>
                  <a:lnTo>
                    <a:pt x="140" y="411"/>
                  </a:lnTo>
                  <a:lnTo>
                    <a:pt x="144" y="414"/>
                  </a:lnTo>
                  <a:lnTo>
                    <a:pt x="149" y="416"/>
                  </a:lnTo>
                  <a:lnTo>
                    <a:pt x="156" y="416"/>
                  </a:lnTo>
                  <a:lnTo>
                    <a:pt x="158" y="416"/>
                  </a:lnTo>
                  <a:lnTo>
                    <a:pt x="160" y="416"/>
                  </a:lnTo>
                  <a:lnTo>
                    <a:pt x="167" y="419"/>
                  </a:lnTo>
                  <a:lnTo>
                    <a:pt x="170" y="421"/>
                  </a:lnTo>
                  <a:lnTo>
                    <a:pt x="174" y="423"/>
                  </a:lnTo>
                  <a:lnTo>
                    <a:pt x="179" y="423"/>
                  </a:lnTo>
                  <a:lnTo>
                    <a:pt x="188" y="423"/>
                  </a:lnTo>
                  <a:lnTo>
                    <a:pt x="192" y="419"/>
                  </a:lnTo>
                  <a:lnTo>
                    <a:pt x="199" y="416"/>
                  </a:lnTo>
                  <a:lnTo>
                    <a:pt x="204" y="412"/>
                  </a:lnTo>
                  <a:lnTo>
                    <a:pt x="213" y="411"/>
                  </a:lnTo>
                  <a:lnTo>
                    <a:pt x="220" y="405"/>
                  </a:lnTo>
                  <a:lnTo>
                    <a:pt x="224" y="405"/>
                  </a:lnTo>
                  <a:lnTo>
                    <a:pt x="225" y="403"/>
                  </a:lnTo>
                  <a:lnTo>
                    <a:pt x="229" y="403"/>
                  </a:lnTo>
                  <a:lnTo>
                    <a:pt x="233" y="403"/>
                  </a:lnTo>
                  <a:lnTo>
                    <a:pt x="243" y="403"/>
                  </a:lnTo>
                  <a:lnTo>
                    <a:pt x="252" y="403"/>
                  </a:lnTo>
                  <a:lnTo>
                    <a:pt x="256" y="405"/>
                  </a:lnTo>
                  <a:lnTo>
                    <a:pt x="259" y="407"/>
                  </a:lnTo>
                  <a:lnTo>
                    <a:pt x="261" y="411"/>
                  </a:lnTo>
                  <a:lnTo>
                    <a:pt x="265" y="407"/>
                  </a:lnTo>
                  <a:lnTo>
                    <a:pt x="273" y="405"/>
                  </a:lnTo>
                  <a:lnTo>
                    <a:pt x="277" y="405"/>
                  </a:lnTo>
                  <a:lnTo>
                    <a:pt x="281" y="405"/>
                  </a:lnTo>
                  <a:lnTo>
                    <a:pt x="284" y="407"/>
                  </a:lnTo>
                  <a:lnTo>
                    <a:pt x="293" y="412"/>
                  </a:lnTo>
                  <a:lnTo>
                    <a:pt x="297" y="416"/>
                  </a:lnTo>
                  <a:lnTo>
                    <a:pt x="297" y="419"/>
                  </a:lnTo>
                  <a:lnTo>
                    <a:pt x="297" y="423"/>
                  </a:lnTo>
                  <a:lnTo>
                    <a:pt x="302" y="423"/>
                  </a:lnTo>
                  <a:lnTo>
                    <a:pt x="307" y="423"/>
                  </a:lnTo>
                  <a:lnTo>
                    <a:pt x="318" y="423"/>
                  </a:lnTo>
                  <a:lnTo>
                    <a:pt x="320" y="419"/>
                  </a:lnTo>
                  <a:lnTo>
                    <a:pt x="320" y="416"/>
                  </a:lnTo>
                  <a:lnTo>
                    <a:pt x="318" y="414"/>
                  </a:lnTo>
                  <a:lnTo>
                    <a:pt x="320" y="412"/>
                  </a:lnTo>
                  <a:lnTo>
                    <a:pt x="323" y="405"/>
                  </a:lnTo>
                  <a:lnTo>
                    <a:pt x="327" y="402"/>
                  </a:lnTo>
                  <a:lnTo>
                    <a:pt x="330" y="398"/>
                  </a:lnTo>
                  <a:lnTo>
                    <a:pt x="332" y="396"/>
                  </a:lnTo>
                  <a:lnTo>
                    <a:pt x="336" y="396"/>
                  </a:lnTo>
                  <a:lnTo>
                    <a:pt x="343" y="396"/>
                  </a:lnTo>
                  <a:lnTo>
                    <a:pt x="345" y="395"/>
                  </a:lnTo>
                  <a:lnTo>
                    <a:pt x="348" y="393"/>
                  </a:lnTo>
                  <a:lnTo>
                    <a:pt x="348" y="391"/>
                  </a:lnTo>
                  <a:lnTo>
                    <a:pt x="337" y="386"/>
                  </a:lnTo>
                  <a:lnTo>
                    <a:pt x="330" y="382"/>
                  </a:lnTo>
                  <a:lnTo>
                    <a:pt x="327" y="380"/>
                  </a:lnTo>
                  <a:lnTo>
                    <a:pt x="327" y="380"/>
                  </a:lnTo>
                  <a:lnTo>
                    <a:pt x="332" y="370"/>
                  </a:lnTo>
                  <a:lnTo>
                    <a:pt x="334" y="366"/>
                  </a:lnTo>
                  <a:lnTo>
                    <a:pt x="337" y="363"/>
                  </a:lnTo>
                  <a:lnTo>
                    <a:pt x="339" y="363"/>
                  </a:lnTo>
                  <a:lnTo>
                    <a:pt x="341" y="361"/>
                  </a:lnTo>
                  <a:lnTo>
                    <a:pt x="339" y="361"/>
                  </a:lnTo>
                  <a:lnTo>
                    <a:pt x="339" y="357"/>
                  </a:lnTo>
                  <a:lnTo>
                    <a:pt x="336" y="357"/>
                  </a:lnTo>
                  <a:lnTo>
                    <a:pt x="336" y="355"/>
                  </a:lnTo>
                  <a:lnTo>
                    <a:pt x="336" y="354"/>
                  </a:lnTo>
                  <a:lnTo>
                    <a:pt x="336" y="345"/>
                  </a:lnTo>
                  <a:lnTo>
                    <a:pt x="336" y="343"/>
                  </a:lnTo>
                  <a:lnTo>
                    <a:pt x="339" y="339"/>
                  </a:lnTo>
                  <a:lnTo>
                    <a:pt x="345" y="339"/>
                  </a:lnTo>
                  <a:lnTo>
                    <a:pt x="353" y="339"/>
                  </a:lnTo>
                  <a:lnTo>
                    <a:pt x="353" y="339"/>
                  </a:lnTo>
                  <a:lnTo>
                    <a:pt x="357" y="339"/>
                  </a:lnTo>
                  <a:lnTo>
                    <a:pt x="362" y="343"/>
                  </a:lnTo>
                  <a:lnTo>
                    <a:pt x="364" y="343"/>
                  </a:lnTo>
                  <a:lnTo>
                    <a:pt x="368" y="341"/>
                  </a:lnTo>
                  <a:lnTo>
                    <a:pt x="373" y="338"/>
                  </a:lnTo>
                  <a:lnTo>
                    <a:pt x="380" y="332"/>
                  </a:lnTo>
                  <a:lnTo>
                    <a:pt x="385" y="329"/>
                  </a:lnTo>
                  <a:lnTo>
                    <a:pt x="393" y="329"/>
                  </a:lnTo>
                  <a:lnTo>
                    <a:pt x="398" y="329"/>
                  </a:lnTo>
                  <a:lnTo>
                    <a:pt x="401" y="331"/>
                  </a:lnTo>
                  <a:lnTo>
                    <a:pt x="407" y="332"/>
                  </a:lnTo>
                  <a:lnTo>
                    <a:pt x="409" y="332"/>
                  </a:lnTo>
                  <a:lnTo>
                    <a:pt x="412" y="331"/>
                  </a:lnTo>
                  <a:lnTo>
                    <a:pt x="412" y="329"/>
                  </a:lnTo>
                  <a:lnTo>
                    <a:pt x="412" y="323"/>
                  </a:lnTo>
                  <a:lnTo>
                    <a:pt x="412" y="322"/>
                  </a:lnTo>
                  <a:lnTo>
                    <a:pt x="414" y="318"/>
                  </a:lnTo>
                  <a:lnTo>
                    <a:pt x="425" y="311"/>
                  </a:lnTo>
                  <a:lnTo>
                    <a:pt x="433" y="304"/>
                  </a:lnTo>
                  <a:lnTo>
                    <a:pt x="437" y="300"/>
                  </a:lnTo>
                  <a:lnTo>
                    <a:pt x="441" y="295"/>
                  </a:lnTo>
                  <a:lnTo>
                    <a:pt x="441" y="293"/>
                  </a:lnTo>
                  <a:lnTo>
                    <a:pt x="442" y="290"/>
                  </a:lnTo>
                  <a:lnTo>
                    <a:pt x="444" y="284"/>
                  </a:lnTo>
                  <a:lnTo>
                    <a:pt x="448" y="281"/>
                  </a:lnTo>
                  <a:lnTo>
                    <a:pt x="449" y="281"/>
                  </a:lnTo>
                  <a:lnTo>
                    <a:pt x="455" y="283"/>
                  </a:lnTo>
                  <a:lnTo>
                    <a:pt x="457" y="283"/>
                  </a:lnTo>
                  <a:lnTo>
                    <a:pt x="460" y="281"/>
                  </a:lnTo>
                  <a:lnTo>
                    <a:pt x="462" y="279"/>
                  </a:lnTo>
                  <a:lnTo>
                    <a:pt x="465" y="277"/>
                  </a:lnTo>
                  <a:lnTo>
                    <a:pt x="473" y="275"/>
                  </a:lnTo>
                  <a:lnTo>
                    <a:pt x="474" y="274"/>
                  </a:lnTo>
                  <a:lnTo>
                    <a:pt x="478" y="272"/>
                  </a:lnTo>
                  <a:lnTo>
                    <a:pt x="480" y="268"/>
                  </a:lnTo>
                  <a:lnTo>
                    <a:pt x="481" y="268"/>
                  </a:lnTo>
                  <a:lnTo>
                    <a:pt x="489" y="265"/>
                  </a:lnTo>
                  <a:lnTo>
                    <a:pt x="490" y="263"/>
                  </a:lnTo>
                  <a:lnTo>
                    <a:pt x="494" y="263"/>
                  </a:lnTo>
                  <a:lnTo>
                    <a:pt x="496" y="259"/>
                  </a:lnTo>
                  <a:lnTo>
                    <a:pt x="499" y="258"/>
                  </a:lnTo>
                  <a:lnTo>
                    <a:pt x="503" y="256"/>
                  </a:lnTo>
                  <a:lnTo>
                    <a:pt x="506" y="254"/>
                  </a:lnTo>
                  <a:lnTo>
                    <a:pt x="508" y="252"/>
                  </a:lnTo>
                  <a:lnTo>
                    <a:pt x="508" y="249"/>
                  </a:lnTo>
                  <a:lnTo>
                    <a:pt x="510" y="238"/>
                  </a:lnTo>
                  <a:lnTo>
                    <a:pt x="510" y="231"/>
                  </a:lnTo>
                  <a:lnTo>
                    <a:pt x="508" y="229"/>
                  </a:lnTo>
                  <a:lnTo>
                    <a:pt x="506" y="227"/>
                  </a:lnTo>
                  <a:lnTo>
                    <a:pt x="501" y="222"/>
                  </a:lnTo>
                  <a:lnTo>
                    <a:pt x="497" y="220"/>
                  </a:lnTo>
                  <a:lnTo>
                    <a:pt x="496" y="217"/>
                  </a:lnTo>
                  <a:lnTo>
                    <a:pt x="490" y="211"/>
                  </a:lnTo>
                  <a:lnTo>
                    <a:pt x="490" y="203"/>
                  </a:lnTo>
                  <a:lnTo>
                    <a:pt x="490" y="201"/>
                  </a:lnTo>
                  <a:lnTo>
                    <a:pt x="496" y="197"/>
                  </a:lnTo>
                  <a:lnTo>
                    <a:pt x="506" y="192"/>
                  </a:lnTo>
                  <a:lnTo>
                    <a:pt x="517" y="179"/>
                  </a:lnTo>
                  <a:lnTo>
                    <a:pt x="521" y="174"/>
                  </a:lnTo>
                  <a:lnTo>
                    <a:pt x="524" y="169"/>
                  </a:lnTo>
                  <a:lnTo>
                    <a:pt x="528" y="160"/>
                  </a:lnTo>
                  <a:lnTo>
                    <a:pt x="535" y="155"/>
                  </a:lnTo>
                  <a:lnTo>
                    <a:pt x="538" y="151"/>
                  </a:lnTo>
                  <a:lnTo>
                    <a:pt x="542" y="147"/>
                  </a:lnTo>
                  <a:lnTo>
                    <a:pt x="554" y="146"/>
                  </a:lnTo>
                  <a:lnTo>
                    <a:pt x="558" y="142"/>
                  </a:lnTo>
                  <a:lnTo>
                    <a:pt x="561" y="139"/>
                  </a:lnTo>
                  <a:lnTo>
                    <a:pt x="565" y="137"/>
                  </a:lnTo>
                  <a:lnTo>
                    <a:pt x="569" y="133"/>
                  </a:lnTo>
                  <a:lnTo>
                    <a:pt x="569" y="130"/>
                  </a:lnTo>
                  <a:lnTo>
                    <a:pt x="569" y="126"/>
                  </a:lnTo>
                  <a:lnTo>
                    <a:pt x="567" y="114"/>
                  </a:lnTo>
                  <a:lnTo>
                    <a:pt x="567" y="114"/>
                  </a:lnTo>
                  <a:lnTo>
                    <a:pt x="567" y="11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2167883" y="2782032"/>
              <a:ext cx="6275" cy="4564"/>
            </a:xfrm>
            <a:custGeom>
              <a:avLst/>
              <a:gdLst>
                <a:gd name="T0" fmla="*/ 7 w 11"/>
                <a:gd name="T1" fmla="*/ 8 h 8"/>
                <a:gd name="T2" fmla="*/ 7 w 11"/>
                <a:gd name="T3" fmla="*/ 8 h 8"/>
                <a:gd name="T4" fmla="*/ 11 w 11"/>
                <a:gd name="T5" fmla="*/ 8 h 8"/>
                <a:gd name="T6" fmla="*/ 2 w 11"/>
                <a:gd name="T7" fmla="*/ 0 h 8"/>
                <a:gd name="T8" fmla="*/ 2 w 11"/>
                <a:gd name="T9" fmla="*/ 0 h 8"/>
                <a:gd name="T10" fmla="*/ 0 w 11"/>
                <a:gd name="T11" fmla="*/ 6 h 8"/>
                <a:gd name="T12" fmla="*/ 0 w 11"/>
                <a:gd name="T13" fmla="*/ 6 h 8"/>
                <a:gd name="T14" fmla="*/ 0 w 11"/>
                <a:gd name="T15" fmla="*/ 8 h 8"/>
                <a:gd name="T16" fmla="*/ 4 w 11"/>
                <a:gd name="T17" fmla="*/ 8 h 8"/>
                <a:gd name="T18" fmla="*/ 6 w 11"/>
                <a:gd name="T19" fmla="*/ 8 h 8"/>
                <a:gd name="T20" fmla="*/ 7 w 11"/>
                <a:gd name="T21" fmla="*/ 8 h 8"/>
                <a:gd name="T22" fmla="*/ 7 w 11"/>
                <a:gd name="T23" fmla="*/ 8 h 8"/>
                <a:gd name="T24" fmla="*/ 7 w 11"/>
                <a:gd name="T25" fmla="*/ 8 h 8"/>
                <a:gd name="T26" fmla="*/ 7 w 11"/>
                <a:gd name="T27" fmla="*/ 8 h 8"/>
                <a:gd name="T28" fmla="*/ 7 w 11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8">
                  <a:moveTo>
                    <a:pt x="7" y="8"/>
                  </a:moveTo>
                  <a:lnTo>
                    <a:pt x="7" y="8"/>
                  </a:lnTo>
                  <a:lnTo>
                    <a:pt x="11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992727" y="2378714"/>
              <a:ext cx="61040" cy="54765"/>
            </a:xfrm>
            <a:custGeom>
              <a:avLst/>
              <a:gdLst>
                <a:gd name="T0" fmla="*/ 105 w 107"/>
                <a:gd name="T1" fmla="*/ 76 h 96"/>
                <a:gd name="T2" fmla="*/ 98 w 107"/>
                <a:gd name="T3" fmla="*/ 59 h 96"/>
                <a:gd name="T4" fmla="*/ 107 w 107"/>
                <a:gd name="T5" fmla="*/ 52 h 96"/>
                <a:gd name="T6" fmla="*/ 98 w 107"/>
                <a:gd name="T7" fmla="*/ 46 h 96"/>
                <a:gd name="T8" fmla="*/ 94 w 107"/>
                <a:gd name="T9" fmla="*/ 53 h 96"/>
                <a:gd name="T10" fmla="*/ 91 w 107"/>
                <a:gd name="T11" fmla="*/ 48 h 96"/>
                <a:gd name="T12" fmla="*/ 83 w 107"/>
                <a:gd name="T13" fmla="*/ 37 h 96"/>
                <a:gd name="T14" fmla="*/ 67 w 107"/>
                <a:gd name="T15" fmla="*/ 34 h 96"/>
                <a:gd name="T16" fmla="*/ 57 w 107"/>
                <a:gd name="T17" fmla="*/ 32 h 96"/>
                <a:gd name="T18" fmla="*/ 50 w 107"/>
                <a:gd name="T19" fmla="*/ 21 h 96"/>
                <a:gd name="T20" fmla="*/ 44 w 107"/>
                <a:gd name="T21" fmla="*/ 12 h 96"/>
                <a:gd name="T22" fmla="*/ 43 w 107"/>
                <a:gd name="T23" fmla="*/ 11 h 96"/>
                <a:gd name="T24" fmla="*/ 37 w 107"/>
                <a:gd name="T25" fmla="*/ 9 h 96"/>
                <a:gd name="T26" fmla="*/ 34 w 107"/>
                <a:gd name="T27" fmla="*/ 7 h 96"/>
                <a:gd name="T28" fmla="*/ 27 w 107"/>
                <a:gd name="T29" fmla="*/ 0 h 96"/>
                <a:gd name="T30" fmla="*/ 23 w 107"/>
                <a:gd name="T31" fmla="*/ 0 h 96"/>
                <a:gd name="T32" fmla="*/ 14 w 107"/>
                <a:gd name="T33" fmla="*/ 9 h 96"/>
                <a:gd name="T34" fmla="*/ 12 w 107"/>
                <a:gd name="T35" fmla="*/ 9 h 96"/>
                <a:gd name="T36" fmla="*/ 7 w 107"/>
                <a:gd name="T37" fmla="*/ 7 h 96"/>
                <a:gd name="T38" fmla="*/ 5 w 107"/>
                <a:gd name="T39" fmla="*/ 7 h 96"/>
                <a:gd name="T40" fmla="*/ 5 w 107"/>
                <a:gd name="T41" fmla="*/ 12 h 96"/>
                <a:gd name="T42" fmla="*/ 5 w 107"/>
                <a:gd name="T43" fmla="*/ 18 h 96"/>
                <a:gd name="T44" fmla="*/ 3 w 107"/>
                <a:gd name="T45" fmla="*/ 20 h 96"/>
                <a:gd name="T46" fmla="*/ 0 w 107"/>
                <a:gd name="T47" fmla="*/ 21 h 96"/>
                <a:gd name="T48" fmla="*/ 0 w 107"/>
                <a:gd name="T49" fmla="*/ 28 h 96"/>
                <a:gd name="T50" fmla="*/ 0 w 107"/>
                <a:gd name="T51" fmla="*/ 36 h 96"/>
                <a:gd name="T52" fmla="*/ 12 w 107"/>
                <a:gd name="T53" fmla="*/ 41 h 96"/>
                <a:gd name="T54" fmla="*/ 18 w 107"/>
                <a:gd name="T55" fmla="*/ 43 h 96"/>
                <a:gd name="T56" fmla="*/ 23 w 107"/>
                <a:gd name="T57" fmla="*/ 43 h 96"/>
                <a:gd name="T58" fmla="*/ 30 w 107"/>
                <a:gd name="T59" fmla="*/ 50 h 96"/>
                <a:gd name="T60" fmla="*/ 30 w 107"/>
                <a:gd name="T61" fmla="*/ 52 h 96"/>
                <a:gd name="T62" fmla="*/ 30 w 107"/>
                <a:gd name="T63" fmla="*/ 53 h 96"/>
                <a:gd name="T64" fmla="*/ 32 w 107"/>
                <a:gd name="T65" fmla="*/ 59 h 96"/>
                <a:gd name="T66" fmla="*/ 34 w 107"/>
                <a:gd name="T67" fmla="*/ 60 h 96"/>
                <a:gd name="T68" fmla="*/ 34 w 107"/>
                <a:gd name="T69" fmla="*/ 66 h 96"/>
                <a:gd name="T70" fmla="*/ 34 w 107"/>
                <a:gd name="T71" fmla="*/ 73 h 96"/>
                <a:gd name="T72" fmla="*/ 34 w 107"/>
                <a:gd name="T73" fmla="*/ 78 h 96"/>
                <a:gd name="T74" fmla="*/ 35 w 107"/>
                <a:gd name="T75" fmla="*/ 82 h 96"/>
                <a:gd name="T76" fmla="*/ 37 w 107"/>
                <a:gd name="T77" fmla="*/ 89 h 96"/>
                <a:gd name="T78" fmla="*/ 50 w 107"/>
                <a:gd name="T79" fmla="*/ 89 h 96"/>
                <a:gd name="T80" fmla="*/ 64 w 107"/>
                <a:gd name="T81" fmla="*/ 84 h 96"/>
                <a:gd name="T82" fmla="*/ 73 w 107"/>
                <a:gd name="T83" fmla="*/ 84 h 96"/>
                <a:gd name="T84" fmla="*/ 83 w 107"/>
                <a:gd name="T85" fmla="*/ 89 h 96"/>
                <a:gd name="T86" fmla="*/ 89 w 107"/>
                <a:gd name="T87" fmla="*/ 92 h 96"/>
                <a:gd name="T88" fmla="*/ 99 w 107"/>
                <a:gd name="T89" fmla="*/ 96 h 96"/>
                <a:gd name="T90" fmla="*/ 99 w 107"/>
                <a:gd name="T91" fmla="*/ 92 h 96"/>
                <a:gd name="T92" fmla="*/ 107 w 107"/>
                <a:gd name="T93" fmla="*/ 80 h 96"/>
                <a:gd name="T94" fmla="*/ 107 w 107"/>
                <a:gd name="T95" fmla="*/ 8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96">
                  <a:moveTo>
                    <a:pt x="107" y="80"/>
                  </a:moveTo>
                  <a:lnTo>
                    <a:pt x="105" y="76"/>
                  </a:lnTo>
                  <a:lnTo>
                    <a:pt x="107" y="68"/>
                  </a:lnTo>
                  <a:lnTo>
                    <a:pt x="98" y="59"/>
                  </a:lnTo>
                  <a:lnTo>
                    <a:pt x="103" y="53"/>
                  </a:lnTo>
                  <a:lnTo>
                    <a:pt x="107" y="52"/>
                  </a:lnTo>
                  <a:lnTo>
                    <a:pt x="107" y="46"/>
                  </a:lnTo>
                  <a:lnTo>
                    <a:pt x="98" y="46"/>
                  </a:lnTo>
                  <a:lnTo>
                    <a:pt x="98" y="50"/>
                  </a:lnTo>
                  <a:lnTo>
                    <a:pt x="94" y="53"/>
                  </a:lnTo>
                  <a:lnTo>
                    <a:pt x="91" y="52"/>
                  </a:lnTo>
                  <a:lnTo>
                    <a:pt x="91" y="48"/>
                  </a:lnTo>
                  <a:lnTo>
                    <a:pt x="91" y="43"/>
                  </a:lnTo>
                  <a:lnTo>
                    <a:pt x="83" y="37"/>
                  </a:lnTo>
                  <a:lnTo>
                    <a:pt x="71" y="37"/>
                  </a:lnTo>
                  <a:lnTo>
                    <a:pt x="67" y="34"/>
                  </a:lnTo>
                  <a:lnTo>
                    <a:pt x="67" y="30"/>
                  </a:lnTo>
                  <a:lnTo>
                    <a:pt x="57" y="32"/>
                  </a:lnTo>
                  <a:lnTo>
                    <a:pt x="46" y="27"/>
                  </a:lnTo>
                  <a:lnTo>
                    <a:pt x="50" y="2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3" y="11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4" y="7"/>
                  </a:lnTo>
                  <a:lnTo>
                    <a:pt x="30" y="5"/>
                  </a:lnTo>
                  <a:lnTo>
                    <a:pt x="27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8" y="5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9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7" y="39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8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8" y="46"/>
                  </a:lnTo>
                  <a:lnTo>
                    <a:pt x="30" y="50"/>
                  </a:lnTo>
                  <a:lnTo>
                    <a:pt x="32" y="50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3"/>
                  </a:lnTo>
                  <a:lnTo>
                    <a:pt x="30" y="57"/>
                  </a:lnTo>
                  <a:lnTo>
                    <a:pt x="32" y="59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4" y="78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57" y="87"/>
                  </a:lnTo>
                  <a:lnTo>
                    <a:pt x="64" y="84"/>
                  </a:lnTo>
                  <a:lnTo>
                    <a:pt x="67" y="84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83" y="89"/>
                  </a:lnTo>
                  <a:lnTo>
                    <a:pt x="87" y="89"/>
                  </a:lnTo>
                  <a:lnTo>
                    <a:pt x="89" y="92"/>
                  </a:lnTo>
                  <a:lnTo>
                    <a:pt x="91" y="94"/>
                  </a:lnTo>
                  <a:lnTo>
                    <a:pt x="99" y="96"/>
                  </a:lnTo>
                  <a:lnTo>
                    <a:pt x="103" y="94"/>
                  </a:lnTo>
                  <a:lnTo>
                    <a:pt x="99" y="92"/>
                  </a:lnTo>
                  <a:lnTo>
                    <a:pt x="107" y="80"/>
                  </a:lnTo>
                  <a:lnTo>
                    <a:pt x="107" y="80"/>
                  </a:lnTo>
                  <a:lnTo>
                    <a:pt x="107" y="80"/>
                  </a:lnTo>
                  <a:lnTo>
                    <a:pt x="107" y="8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auto">
            <a:xfrm>
              <a:off x="1055478" y="2412371"/>
              <a:ext cx="73019" cy="73590"/>
            </a:xfrm>
            <a:custGeom>
              <a:avLst/>
              <a:gdLst>
                <a:gd name="T0" fmla="*/ 117 w 128"/>
                <a:gd name="T1" fmla="*/ 14 h 129"/>
                <a:gd name="T2" fmla="*/ 109 w 128"/>
                <a:gd name="T3" fmla="*/ 16 h 129"/>
                <a:gd name="T4" fmla="*/ 103 w 128"/>
                <a:gd name="T5" fmla="*/ 10 h 129"/>
                <a:gd name="T6" fmla="*/ 98 w 128"/>
                <a:gd name="T7" fmla="*/ 1 h 129"/>
                <a:gd name="T8" fmla="*/ 94 w 128"/>
                <a:gd name="T9" fmla="*/ 0 h 129"/>
                <a:gd name="T10" fmla="*/ 84 w 128"/>
                <a:gd name="T11" fmla="*/ 0 h 129"/>
                <a:gd name="T12" fmla="*/ 80 w 128"/>
                <a:gd name="T13" fmla="*/ 1 h 129"/>
                <a:gd name="T14" fmla="*/ 77 w 128"/>
                <a:gd name="T15" fmla="*/ 10 h 129"/>
                <a:gd name="T16" fmla="*/ 73 w 128"/>
                <a:gd name="T17" fmla="*/ 16 h 129"/>
                <a:gd name="T18" fmla="*/ 64 w 128"/>
                <a:gd name="T19" fmla="*/ 25 h 129"/>
                <a:gd name="T20" fmla="*/ 57 w 128"/>
                <a:gd name="T21" fmla="*/ 28 h 129"/>
                <a:gd name="T22" fmla="*/ 45 w 128"/>
                <a:gd name="T23" fmla="*/ 23 h 129"/>
                <a:gd name="T24" fmla="*/ 27 w 128"/>
                <a:gd name="T25" fmla="*/ 49 h 129"/>
                <a:gd name="T26" fmla="*/ 16 w 128"/>
                <a:gd name="T27" fmla="*/ 53 h 129"/>
                <a:gd name="T28" fmla="*/ 7 w 128"/>
                <a:gd name="T29" fmla="*/ 57 h 129"/>
                <a:gd name="T30" fmla="*/ 5 w 128"/>
                <a:gd name="T31" fmla="*/ 58 h 129"/>
                <a:gd name="T32" fmla="*/ 5 w 128"/>
                <a:gd name="T33" fmla="*/ 71 h 129"/>
                <a:gd name="T34" fmla="*/ 4 w 128"/>
                <a:gd name="T35" fmla="*/ 80 h 129"/>
                <a:gd name="T36" fmla="*/ 9 w 128"/>
                <a:gd name="T37" fmla="*/ 99 h 129"/>
                <a:gd name="T38" fmla="*/ 25 w 128"/>
                <a:gd name="T39" fmla="*/ 105 h 129"/>
                <a:gd name="T40" fmla="*/ 29 w 128"/>
                <a:gd name="T41" fmla="*/ 94 h 129"/>
                <a:gd name="T42" fmla="*/ 48 w 128"/>
                <a:gd name="T43" fmla="*/ 96 h 129"/>
                <a:gd name="T44" fmla="*/ 39 w 128"/>
                <a:gd name="T45" fmla="*/ 112 h 129"/>
                <a:gd name="T46" fmla="*/ 50 w 128"/>
                <a:gd name="T47" fmla="*/ 115 h 129"/>
                <a:gd name="T48" fmla="*/ 48 w 128"/>
                <a:gd name="T49" fmla="*/ 117 h 129"/>
                <a:gd name="T50" fmla="*/ 41 w 128"/>
                <a:gd name="T51" fmla="*/ 119 h 129"/>
                <a:gd name="T52" fmla="*/ 39 w 128"/>
                <a:gd name="T53" fmla="*/ 122 h 129"/>
                <a:gd name="T54" fmla="*/ 41 w 128"/>
                <a:gd name="T55" fmla="*/ 129 h 129"/>
                <a:gd name="T56" fmla="*/ 64 w 128"/>
                <a:gd name="T57" fmla="*/ 129 h 129"/>
                <a:gd name="T58" fmla="*/ 78 w 128"/>
                <a:gd name="T59" fmla="*/ 121 h 129"/>
                <a:gd name="T60" fmla="*/ 77 w 128"/>
                <a:gd name="T61" fmla="*/ 115 h 129"/>
                <a:gd name="T62" fmla="*/ 77 w 128"/>
                <a:gd name="T63" fmla="*/ 110 h 129"/>
                <a:gd name="T64" fmla="*/ 69 w 128"/>
                <a:gd name="T65" fmla="*/ 106 h 129"/>
                <a:gd name="T66" fmla="*/ 73 w 128"/>
                <a:gd name="T67" fmla="*/ 103 h 129"/>
                <a:gd name="T68" fmla="*/ 75 w 128"/>
                <a:gd name="T69" fmla="*/ 101 h 129"/>
                <a:gd name="T70" fmla="*/ 77 w 128"/>
                <a:gd name="T71" fmla="*/ 97 h 129"/>
                <a:gd name="T72" fmla="*/ 78 w 128"/>
                <a:gd name="T73" fmla="*/ 97 h 129"/>
                <a:gd name="T74" fmla="*/ 82 w 128"/>
                <a:gd name="T75" fmla="*/ 99 h 129"/>
                <a:gd name="T76" fmla="*/ 87 w 128"/>
                <a:gd name="T77" fmla="*/ 97 h 129"/>
                <a:gd name="T78" fmla="*/ 98 w 128"/>
                <a:gd name="T79" fmla="*/ 94 h 129"/>
                <a:gd name="T80" fmla="*/ 100 w 128"/>
                <a:gd name="T81" fmla="*/ 90 h 129"/>
                <a:gd name="T82" fmla="*/ 101 w 128"/>
                <a:gd name="T83" fmla="*/ 81 h 129"/>
                <a:gd name="T84" fmla="*/ 101 w 128"/>
                <a:gd name="T85" fmla="*/ 78 h 129"/>
                <a:gd name="T86" fmla="*/ 105 w 128"/>
                <a:gd name="T87" fmla="*/ 73 h 129"/>
                <a:gd name="T88" fmla="*/ 105 w 128"/>
                <a:gd name="T89" fmla="*/ 69 h 129"/>
                <a:gd name="T90" fmla="*/ 107 w 128"/>
                <a:gd name="T91" fmla="*/ 69 h 129"/>
                <a:gd name="T92" fmla="*/ 117 w 128"/>
                <a:gd name="T93" fmla="*/ 62 h 129"/>
                <a:gd name="T94" fmla="*/ 117 w 128"/>
                <a:gd name="T95" fmla="*/ 58 h 129"/>
                <a:gd name="T96" fmla="*/ 119 w 128"/>
                <a:gd name="T97" fmla="*/ 44 h 129"/>
                <a:gd name="T98" fmla="*/ 121 w 128"/>
                <a:gd name="T99" fmla="*/ 41 h 129"/>
                <a:gd name="T100" fmla="*/ 119 w 128"/>
                <a:gd name="T101" fmla="*/ 21 h 129"/>
                <a:gd name="T102" fmla="*/ 117 w 128"/>
                <a:gd name="T103" fmla="*/ 14 h 129"/>
                <a:gd name="T104" fmla="*/ 117 w 128"/>
                <a:gd name="T105" fmla="*/ 1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8" h="129">
                  <a:moveTo>
                    <a:pt x="117" y="14"/>
                  </a:moveTo>
                  <a:lnTo>
                    <a:pt x="117" y="14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5" y="14"/>
                  </a:lnTo>
                  <a:lnTo>
                    <a:pt x="103" y="10"/>
                  </a:lnTo>
                  <a:lnTo>
                    <a:pt x="98" y="1"/>
                  </a:lnTo>
                  <a:lnTo>
                    <a:pt x="98" y="1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87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0" y="1"/>
                  </a:lnTo>
                  <a:lnTo>
                    <a:pt x="78" y="7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3" y="1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1" y="28"/>
                  </a:lnTo>
                  <a:lnTo>
                    <a:pt x="57" y="28"/>
                  </a:lnTo>
                  <a:lnTo>
                    <a:pt x="53" y="28"/>
                  </a:lnTo>
                  <a:lnTo>
                    <a:pt x="45" y="23"/>
                  </a:lnTo>
                  <a:lnTo>
                    <a:pt x="34" y="28"/>
                  </a:lnTo>
                  <a:lnTo>
                    <a:pt x="27" y="49"/>
                  </a:lnTo>
                  <a:lnTo>
                    <a:pt x="21" y="55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5" y="58"/>
                  </a:lnTo>
                  <a:lnTo>
                    <a:pt x="5" y="62"/>
                  </a:lnTo>
                  <a:lnTo>
                    <a:pt x="5" y="71"/>
                  </a:lnTo>
                  <a:lnTo>
                    <a:pt x="2" y="76"/>
                  </a:lnTo>
                  <a:lnTo>
                    <a:pt x="4" y="80"/>
                  </a:lnTo>
                  <a:lnTo>
                    <a:pt x="0" y="85"/>
                  </a:lnTo>
                  <a:lnTo>
                    <a:pt x="9" y="99"/>
                  </a:lnTo>
                  <a:lnTo>
                    <a:pt x="18" y="97"/>
                  </a:lnTo>
                  <a:lnTo>
                    <a:pt x="25" y="105"/>
                  </a:lnTo>
                  <a:lnTo>
                    <a:pt x="30" y="105"/>
                  </a:lnTo>
                  <a:lnTo>
                    <a:pt x="29" y="94"/>
                  </a:lnTo>
                  <a:lnTo>
                    <a:pt x="45" y="94"/>
                  </a:lnTo>
                  <a:lnTo>
                    <a:pt x="48" y="96"/>
                  </a:lnTo>
                  <a:lnTo>
                    <a:pt x="37" y="101"/>
                  </a:lnTo>
                  <a:lnTo>
                    <a:pt x="39" y="112"/>
                  </a:lnTo>
                  <a:lnTo>
                    <a:pt x="48" y="110"/>
                  </a:lnTo>
                  <a:lnTo>
                    <a:pt x="50" y="115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39" y="121"/>
                  </a:lnTo>
                  <a:lnTo>
                    <a:pt x="39" y="122"/>
                  </a:lnTo>
                  <a:lnTo>
                    <a:pt x="39" y="124"/>
                  </a:lnTo>
                  <a:lnTo>
                    <a:pt x="41" y="129"/>
                  </a:lnTo>
                  <a:lnTo>
                    <a:pt x="48" y="126"/>
                  </a:lnTo>
                  <a:lnTo>
                    <a:pt x="64" y="129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17"/>
                  </a:lnTo>
                  <a:lnTo>
                    <a:pt x="77" y="115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5" y="110"/>
                  </a:lnTo>
                  <a:lnTo>
                    <a:pt x="69" y="106"/>
                  </a:lnTo>
                  <a:lnTo>
                    <a:pt x="69" y="105"/>
                  </a:lnTo>
                  <a:lnTo>
                    <a:pt x="73" y="103"/>
                  </a:lnTo>
                  <a:lnTo>
                    <a:pt x="73" y="103"/>
                  </a:lnTo>
                  <a:lnTo>
                    <a:pt x="75" y="101"/>
                  </a:lnTo>
                  <a:lnTo>
                    <a:pt x="77" y="99"/>
                  </a:lnTo>
                  <a:lnTo>
                    <a:pt x="77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80" y="99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96" y="94"/>
                  </a:lnTo>
                  <a:lnTo>
                    <a:pt x="98" y="94"/>
                  </a:lnTo>
                  <a:lnTo>
                    <a:pt x="100" y="90"/>
                  </a:lnTo>
                  <a:lnTo>
                    <a:pt x="100" y="90"/>
                  </a:lnTo>
                  <a:lnTo>
                    <a:pt x="100" y="83"/>
                  </a:lnTo>
                  <a:lnTo>
                    <a:pt x="101" y="81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5" y="76"/>
                  </a:lnTo>
                  <a:lnTo>
                    <a:pt x="105" y="73"/>
                  </a:lnTo>
                  <a:lnTo>
                    <a:pt x="105" y="71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14" y="64"/>
                  </a:lnTo>
                  <a:lnTo>
                    <a:pt x="117" y="62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1"/>
                  </a:lnTo>
                  <a:lnTo>
                    <a:pt x="119" y="44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8" y="30"/>
                  </a:lnTo>
                  <a:lnTo>
                    <a:pt x="119" y="21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1094840" y="2213279"/>
              <a:ext cx="333722" cy="188824"/>
            </a:xfrm>
            <a:custGeom>
              <a:avLst/>
              <a:gdLst>
                <a:gd name="T0" fmla="*/ 479 w 585"/>
                <a:gd name="T1" fmla="*/ 180 h 331"/>
                <a:gd name="T2" fmla="*/ 521 w 585"/>
                <a:gd name="T3" fmla="*/ 169 h 331"/>
                <a:gd name="T4" fmla="*/ 557 w 585"/>
                <a:gd name="T5" fmla="*/ 157 h 331"/>
                <a:gd name="T6" fmla="*/ 580 w 585"/>
                <a:gd name="T7" fmla="*/ 135 h 331"/>
                <a:gd name="T8" fmla="*/ 573 w 585"/>
                <a:gd name="T9" fmla="*/ 128 h 331"/>
                <a:gd name="T10" fmla="*/ 571 w 585"/>
                <a:gd name="T11" fmla="*/ 116 h 331"/>
                <a:gd name="T12" fmla="*/ 585 w 585"/>
                <a:gd name="T13" fmla="*/ 103 h 331"/>
                <a:gd name="T14" fmla="*/ 569 w 585"/>
                <a:gd name="T15" fmla="*/ 98 h 331"/>
                <a:gd name="T16" fmla="*/ 548 w 585"/>
                <a:gd name="T17" fmla="*/ 107 h 331"/>
                <a:gd name="T18" fmla="*/ 525 w 585"/>
                <a:gd name="T19" fmla="*/ 114 h 331"/>
                <a:gd name="T20" fmla="*/ 514 w 585"/>
                <a:gd name="T21" fmla="*/ 123 h 331"/>
                <a:gd name="T22" fmla="*/ 480 w 585"/>
                <a:gd name="T23" fmla="*/ 125 h 331"/>
                <a:gd name="T24" fmla="*/ 351 w 585"/>
                <a:gd name="T25" fmla="*/ 32 h 331"/>
                <a:gd name="T26" fmla="*/ 313 w 585"/>
                <a:gd name="T27" fmla="*/ 6 h 331"/>
                <a:gd name="T28" fmla="*/ 240 w 585"/>
                <a:gd name="T29" fmla="*/ 0 h 331"/>
                <a:gd name="T30" fmla="*/ 196 w 585"/>
                <a:gd name="T31" fmla="*/ 71 h 331"/>
                <a:gd name="T32" fmla="*/ 160 w 585"/>
                <a:gd name="T33" fmla="*/ 57 h 331"/>
                <a:gd name="T34" fmla="*/ 144 w 585"/>
                <a:gd name="T35" fmla="*/ 38 h 331"/>
                <a:gd name="T36" fmla="*/ 112 w 585"/>
                <a:gd name="T37" fmla="*/ 23 h 331"/>
                <a:gd name="T38" fmla="*/ 120 w 585"/>
                <a:gd name="T39" fmla="*/ 52 h 331"/>
                <a:gd name="T40" fmla="*/ 107 w 585"/>
                <a:gd name="T41" fmla="*/ 78 h 331"/>
                <a:gd name="T42" fmla="*/ 91 w 585"/>
                <a:gd name="T43" fmla="*/ 94 h 331"/>
                <a:gd name="T44" fmla="*/ 75 w 585"/>
                <a:gd name="T45" fmla="*/ 116 h 331"/>
                <a:gd name="T46" fmla="*/ 73 w 585"/>
                <a:gd name="T47" fmla="*/ 123 h 331"/>
                <a:gd name="T48" fmla="*/ 91 w 585"/>
                <a:gd name="T49" fmla="*/ 135 h 331"/>
                <a:gd name="T50" fmla="*/ 132 w 585"/>
                <a:gd name="T51" fmla="*/ 139 h 331"/>
                <a:gd name="T52" fmla="*/ 48 w 585"/>
                <a:gd name="T53" fmla="*/ 185 h 331"/>
                <a:gd name="T54" fmla="*/ 29 w 585"/>
                <a:gd name="T55" fmla="*/ 203 h 331"/>
                <a:gd name="T56" fmla="*/ 25 w 585"/>
                <a:gd name="T57" fmla="*/ 215 h 331"/>
                <a:gd name="T58" fmla="*/ 8 w 585"/>
                <a:gd name="T59" fmla="*/ 247 h 331"/>
                <a:gd name="T60" fmla="*/ 8 w 585"/>
                <a:gd name="T61" fmla="*/ 263 h 331"/>
                <a:gd name="T62" fmla="*/ 4 w 585"/>
                <a:gd name="T63" fmla="*/ 279 h 331"/>
                <a:gd name="T64" fmla="*/ 22 w 585"/>
                <a:gd name="T65" fmla="*/ 263 h 331"/>
                <a:gd name="T66" fmla="*/ 32 w 585"/>
                <a:gd name="T67" fmla="*/ 258 h 331"/>
                <a:gd name="T68" fmla="*/ 57 w 585"/>
                <a:gd name="T69" fmla="*/ 267 h 331"/>
                <a:gd name="T70" fmla="*/ 68 w 585"/>
                <a:gd name="T71" fmla="*/ 274 h 331"/>
                <a:gd name="T72" fmla="*/ 93 w 585"/>
                <a:gd name="T73" fmla="*/ 279 h 331"/>
                <a:gd name="T74" fmla="*/ 112 w 585"/>
                <a:gd name="T75" fmla="*/ 258 h 331"/>
                <a:gd name="T76" fmla="*/ 134 w 585"/>
                <a:gd name="T77" fmla="*/ 256 h 331"/>
                <a:gd name="T78" fmla="*/ 168 w 585"/>
                <a:gd name="T79" fmla="*/ 301 h 331"/>
                <a:gd name="T80" fmla="*/ 203 w 585"/>
                <a:gd name="T81" fmla="*/ 304 h 331"/>
                <a:gd name="T82" fmla="*/ 230 w 585"/>
                <a:gd name="T83" fmla="*/ 304 h 331"/>
                <a:gd name="T84" fmla="*/ 264 w 585"/>
                <a:gd name="T85" fmla="*/ 331 h 331"/>
                <a:gd name="T86" fmla="*/ 292 w 585"/>
                <a:gd name="T87" fmla="*/ 320 h 331"/>
                <a:gd name="T88" fmla="*/ 303 w 585"/>
                <a:gd name="T89" fmla="*/ 304 h 331"/>
                <a:gd name="T90" fmla="*/ 308 w 585"/>
                <a:gd name="T91" fmla="*/ 297 h 331"/>
                <a:gd name="T92" fmla="*/ 317 w 585"/>
                <a:gd name="T93" fmla="*/ 278 h 331"/>
                <a:gd name="T94" fmla="*/ 335 w 585"/>
                <a:gd name="T95" fmla="*/ 251 h 331"/>
                <a:gd name="T96" fmla="*/ 360 w 585"/>
                <a:gd name="T97" fmla="*/ 235 h 331"/>
                <a:gd name="T98" fmla="*/ 365 w 585"/>
                <a:gd name="T99" fmla="*/ 214 h 331"/>
                <a:gd name="T100" fmla="*/ 397 w 585"/>
                <a:gd name="T101" fmla="*/ 196 h 331"/>
                <a:gd name="T102" fmla="*/ 402 w 585"/>
                <a:gd name="T103" fmla="*/ 206 h 331"/>
                <a:gd name="T104" fmla="*/ 448 w 585"/>
                <a:gd name="T105" fmla="*/ 187 h 331"/>
                <a:gd name="T106" fmla="*/ 464 w 585"/>
                <a:gd name="T107" fmla="*/ 18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85" h="331">
                  <a:moveTo>
                    <a:pt x="464" y="189"/>
                  </a:moveTo>
                  <a:lnTo>
                    <a:pt x="464" y="189"/>
                  </a:lnTo>
                  <a:lnTo>
                    <a:pt x="466" y="187"/>
                  </a:lnTo>
                  <a:lnTo>
                    <a:pt x="468" y="185"/>
                  </a:lnTo>
                  <a:lnTo>
                    <a:pt x="473" y="183"/>
                  </a:lnTo>
                  <a:lnTo>
                    <a:pt x="479" y="180"/>
                  </a:lnTo>
                  <a:lnTo>
                    <a:pt x="479" y="180"/>
                  </a:lnTo>
                  <a:lnTo>
                    <a:pt x="495" y="173"/>
                  </a:lnTo>
                  <a:lnTo>
                    <a:pt x="502" y="169"/>
                  </a:lnTo>
                  <a:lnTo>
                    <a:pt x="507" y="167"/>
                  </a:lnTo>
                  <a:lnTo>
                    <a:pt x="507" y="167"/>
                  </a:lnTo>
                  <a:lnTo>
                    <a:pt x="521" y="169"/>
                  </a:lnTo>
                  <a:lnTo>
                    <a:pt x="521" y="169"/>
                  </a:lnTo>
                  <a:lnTo>
                    <a:pt x="532" y="167"/>
                  </a:lnTo>
                  <a:lnTo>
                    <a:pt x="541" y="166"/>
                  </a:lnTo>
                  <a:lnTo>
                    <a:pt x="541" y="166"/>
                  </a:lnTo>
                  <a:lnTo>
                    <a:pt x="552" y="160"/>
                  </a:lnTo>
                  <a:lnTo>
                    <a:pt x="557" y="157"/>
                  </a:lnTo>
                  <a:lnTo>
                    <a:pt x="562" y="155"/>
                  </a:lnTo>
                  <a:lnTo>
                    <a:pt x="562" y="155"/>
                  </a:lnTo>
                  <a:lnTo>
                    <a:pt x="564" y="155"/>
                  </a:lnTo>
                  <a:lnTo>
                    <a:pt x="568" y="150"/>
                  </a:lnTo>
                  <a:lnTo>
                    <a:pt x="571" y="144"/>
                  </a:lnTo>
                  <a:lnTo>
                    <a:pt x="580" y="135"/>
                  </a:lnTo>
                  <a:lnTo>
                    <a:pt x="580" y="135"/>
                  </a:lnTo>
                  <a:lnTo>
                    <a:pt x="582" y="132"/>
                  </a:lnTo>
                  <a:lnTo>
                    <a:pt x="580" y="132"/>
                  </a:lnTo>
                  <a:lnTo>
                    <a:pt x="576" y="128"/>
                  </a:lnTo>
                  <a:lnTo>
                    <a:pt x="573" y="128"/>
                  </a:lnTo>
                  <a:lnTo>
                    <a:pt x="573" y="128"/>
                  </a:lnTo>
                  <a:lnTo>
                    <a:pt x="571" y="128"/>
                  </a:lnTo>
                  <a:lnTo>
                    <a:pt x="569" y="126"/>
                  </a:lnTo>
                  <a:lnTo>
                    <a:pt x="569" y="125"/>
                  </a:lnTo>
                  <a:lnTo>
                    <a:pt x="569" y="119"/>
                  </a:lnTo>
                  <a:lnTo>
                    <a:pt x="569" y="119"/>
                  </a:lnTo>
                  <a:lnTo>
                    <a:pt x="571" y="116"/>
                  </a:lnTo>
                  <a:lnTo>
                    <a:pt x="576" y="114"/>
                  </a:lnTo>
                  <a:lnTo>
                    <a:pt x="578" y="109"/>
                  </a:lnTo>
                  <a:lnTo>
                    <a:pt x="582" y="107"/>
                  </a:lnTo>
                  <a:lnTo>
                    <a:pt x="582" y="107"/>
                  </a:lnTo>
                  <a:lnTo>
                    <a:pt x="584" y="107"/>
                  </a:lnTo>
                  <a:lnTo>
                    <a:pt x="585" y="103"/>
                  </a:lnTo>
                  <a:lnTo>
                    <a:pt x="585" y="102"/>
                  </a:lnTo>
                  <a:lnTo>
                    <a:pt x="585" y="102"/>
                  </a:lnTo>
                  <a:lnTo>
                    <a:pt x="578" y="100"/>
                  </a:lnTo>
                  <a:lnTo>
                    <a:pt x="571" y="98"/>
                  </a:lnTo>
                  <a:lnTo>
                    <a:pt x="571" y="98"/>
                  </a:lnTo>
                  <a:lnTo>
                    <a:pt x="569" y="98"/>
                  </a:lnTo>
                  <a:lnTo>
                    <a:pt x="564" y="100"/>
                  </a:lnTo>
                  <a:lnTo>
                    <a:pt x="559" y="103"/>
                  </a:lnTo>
                  <a:lnTo>
                    <a:pt x="559" y="103"/>
                  </a:lnTo>
                  <a:lnTo>
                    <a:pt x="552" y="105"/>
                  </a:lnTo>
                  <a:lnTo>
                    <a:pt x="550" y="105"/>
                  </a:lnTo>
                  <a:lnTo>
                    <a:pt x="548" y="107"/>
                  </a:lnTo>
                  <a:lnTo>
                    <a:pt x="544" y="107"/>
                  </a:lnTo>
                  <a:lnTo>
                    <a:pt x="544" y="107"/>
                  </a:lnTo>
                  <a:lnTo>
                    <a:pt x="544" y="112"/>
                  </a:lnTo>
                  <a:lnTo>
                    <a:pt x="543" y="112"/>
                  </a:lnTo>
                  <a:lnTo>
                    <a:pt x="537" y="112"/>
                  </a:lnTo>
                  <a:lnTo>
                    <a:pt x="525" y="114"/>
                  </a:lnTo>
                  <a:lnTo>
                    <a:pt x="525" y="114"/>
                  </a:lnTo>
                  <a:lnTo>
                    <a:pt x="521" y="116"/>
                  </a:lnTo>
                  <a:lnTo>
                    <a:pt x="520" y="118"/>
                  </a:lnTo>
                  <a:lnTo>
                    <a:pt x="514" y="123"/>
                  </a:lnTo>
                  <a:lnTo>
                    <a:pt x="514" y="123"/>
                  </a:lnTo>
                  <a:lnTo>
                    <a:pt x="514" y="123"/>
                  </a:lnTo>
                  <a:lnTo>
                    <a:pt x="509" y="125"/>
                  </a:lnTo>
                  <a:lnTo>
                    <a:pt x="502" y="125"/>
                  </a:lnTo>
                  <a:lnTo>
                    <a:pt x="495" y="123"/>
                  </a:lnTo>
                  <a:lnTo>
                    <a:pt x="488" y="123"/>
                  </a:lnTo>
                  <a:lnTo>
                    <a:pt x="488" y="123"/>
                  </a:lnTo>
                  <a:lnTo>
                    <a:pt x="480" y="125"/>
                  </a:lnTo>
                  <a:lnTo>
                    <a:pt x="480" y="125"/>
                  </a:lnTo>
                  <a:lnTo>
                    <a:pt x="457" y="112"/>
                  </a:lnTo>
                  <a:lnTo>
                    <a:pt x="420" y="86"/>
                  </a:lnTo>
                  <a:lnTo>
                    <a:pt x="361" y="43"/>
                  </a:lnTo>
                  <a:lnTo>
                    <a:pt x="361" y="43"/>
                  </a:lnTo>
                  <a:lnTo>
                    <a:pt x="351" y="32"/>
                  </a:lnTo>
                  <a:lnTo>
                    <a:pt x="338" y="20"/>
                  </a:lnTo>
                  <a:lnTo>
                    <a:pt x="326" y="9"/>
                  </a:lnTo>
                  <a:lnTo>
                    <a:pt x="326" y="9"/>
                  </a:lnTo>
                  <a:lnTo>
                    <a:pt x="320" y="9"/>
                  </a:lnTo>
                  <a:lnTo>
                    <a:pt x="317" y="6"/>
                  </a:lnTo>
                  <a:lnTo>
                    <a:pt x="313" y="6"/>
                  </a:lnTo>
                  <a:lnTo>
                    <a:pt x="313" y="6"/>
                  </a:lnTo>
                  <a:lnTo>
                    <a:pt x="313" y="6"/>
                  </a:lnTo>
                  <a:lnTo>
                    <a:pt x="313" y="6"/>
                  </a:lnTo>
                  <a:lnTo>
                    <a:pt x="308" y="6"/>
                  </a:lnTo>
                  <a:lnTo>
                    <a:pt x="304" y="11"/>
                  </a:lnTo>
                  <a:lnTo>
                    <a:pt x="240" y="0"/>
                  </a:lnTo>
                  <a:lnTo>
                    <a:pt x="212" y="34"/>
                  </a:lnTo>
                  <a:lnTo>
                    <a:pt x="221" y="43"/>
                  </a:lnTo>
                  <a:lnTo>
                    <a:pt x="216" y="62"/>
                  </a:lnTo>
                  <a:lnTo>
                    <a:pt x="219" y="71"/>
                  </a:lnTo>
                  <a:lnTo>
                    <a:pt x="208" y="82"/>
                  </a:lnTo>
                  <a:lnTo>
                    <a:pt x="196" y="71"/>
                  </a:lnTo>
                  <a:lnTo>
                    <a:pt x="189" y="73"/>
                  </a:lnTo>
                  <a:lnTo>
                    <a:pt x="180" y="62"/>
                  </a:lnTo>
                  <a:lnTo>
                    <a:pt x="175" y="66"/>
                  </a:lnTo>
                  <a:lnTo>
                    <a:pt x="169" y="61"/>
                  </a:lnTo>
                  <a:lnTo>
                    <a:pt x="162" y="64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5"/>
                  </a:lnTo>
                  <a:lnTo>
                    <a:pt x="160" y="52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44" y="38"/>
                  </a:lnTo>
                  <a:lnTo>
                    <a:pt x="136" y="27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4" y="20"/>
                  </a:lnTo>
                  <a:lnTo>
                    <a:pt x="112" y="22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32"/>
                  </a:lnTo>
                  <a:lnTo>
                    <a:pt x="116" y="39"/>
                  </a:lnTo>
                  <a:lnTo>
                    <a:pt x="118" y="45"/>
                  </a:lnTo>
                  <a:lnTo>
                    <a:pt x="120" y="52"/>
                  </a:lnTo>
                  <a:lnTo>
                    <a:pt x="120" y="52"/>
                  </a:lnTo>
                  <a:lnTo>
                    <a:pt x="120" y="55"/>
                  </a:lnTo>
                  <a:lnTo>
                    <a:pt x="118" y="61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09" y="93"/>
                  </a:lnTo>
                  <a:lnTo>
                    <a:pt x="100" y="93"/>
                  </a:lnTo>
                  <a:lnTo>
                    <a:pt x="91" y="94"/>
                  </a:lnTo>
                  <a:lnTo>
                    <a:pt x="86" y="103"/>
                  </a:lnTo>
                  <a:lnTo>
                    <a:pt x="86" y="103"/>
                  </a:lnTo>
                  <a:lnTo>
                    <a:pt x="79" y="109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5" y="116"/>
                  </a:lnTo>
                  <a:lnTo>
                    <a:pt x="75" y="118"/>
                  </a:lnTo>
                  <a:lnTo>
                    <a:pt x="77" y="119"/>
                  </a:lnTo>
                  <a:lnTo>
                    <a:pt x="77" y="119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3" y="123"/>
                  </a:lnTo>
                  <a:lnTo>
                    <a:pt x="75" y="126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88" y="128"/>
                  </a:lnTo>
                  <a:lnTo>
                    <a:pt x="91" y="135"/>
                  </a:lnTo>
                  <a:lnTo>
                    <a:pt x="91" y="135"/>
                  </a:lnTo>
                  <a:lnTo>
                    <a:pt x="96" y="132"/>
                  </a:lnTo>
                  <a:lnTo>
                    <a:pt x="95" y="126"/>
                  </a:lnTo>
                  <a:lnTo>
                    <a:pt x="109" y="119"/>
                  </a:lnTo>
                  <a:lnTo>
                    <a:pt x="112" y="125"/>
                  </a:lnTo>
                  <a:lnTo>
                    <a:pt x="118" y="121"/>
                  </a:lnTo>
                  <a:lnTo>
                    <a:pt x="132" y="139"/>
                  </a:lnTo>
                  <a:lnTo>
                    <a:pt x="109" y="157"/>
                  </a:lnTo>
                  <a:lnTo>
                    <a:pt x="102" y="157"/>
                  </a:lnTo>
                  <a:lnTo>
                    <a:pt x="82" y="169"/>
                  </a:lnTo>
                  <a:lnTo>
                    <a:pt x="88" y="182"/>
                  </a:lnTo>
                  <a:lnTo>
                    <a:pt x="70" y="194"/>
                  </a:lnTo>
                  <a:lnTo>
                    <a:pt x="48" y="185"/>
                  </a:lnTo>
                  <a:lnTo>
                    <a:pt x="40" y="187"/>
                  </a:lnTo>
                  <a:lnTo>
                    <a:pt x="40" y="192"/>
                  </a:lnTo>
                  <a:lnTo>
                    <a:pt x="40" y="192"/>
                  </a:lnTo>
                  <a:lnTo>
                    <a:pt x="36" y="196"/>
                  </a:lnTo>
                  <a:lnTo>
                    <a:pt x="32" y="201"/>
                  </a:lnTo>
                  <a:lnTo>
                    <a:pt x="29" y="203"/>
                  </a:lnTo>
                  <a:lnTo>
                    <a:pt x="29" y="203"/>
                  </a:lnTo>
                  <a:lnTo>
                    <a:pt x="27" y="206"/>
                  </a:lnTo>
                  <a:lnTo>
                    <a:pt x="27" y="208"/>
                  </a:lnTo>
                  <a:lnTo>
                    <a:pt x="27" y="215"/>
                  </a:lnTo>
                  <a:lnTo>
                    <a:pt x="27" y="215"/>
                  </a:lnTo>
                  <a:lnTo>
                    <a:pt x="25" y="215"/>
                  </a:lnTo>
                  <a:lnTo>
                    <a:pt x="22" y="217"/>
                  </a:lnTo>
                  <a:lnTo>
                    <a:pt x="18" y="217"/>
                  </a:lnTo>
                  <a:lnTo>
                    <a:pt x="18" y="217"/>
                  </a:lnTo>
                  <a:lnTo>
                    <a:pt x="9" y="226"/>
                  </a:lnTo>
                  <a:lnTo>
                    <a:pt x="0" y="233"/>
                  </a:lnTo>
                  <a:lnTo>
                    <a:pt x="8" y="247"/>
                  </a:lnTo>
                  <a:lnTo>
                    <a:pt x="4" y="251"/>
                  </a:lnTo>
                  <a:lnTo>
                    <a:pt x="4" y="251"/>
                  </a:lnTo>
                  <a:lnTo>
                    <a:pt x="8" y="258"/>
                  </a:lnTo>
                  <a:lnTo>
                    <a:pt x="8" y="258"/>
                  </a:lnTo>
                  <a:lnTo>
                    <a:pt x="8" y="260"/>
                  </a:lnTo>
                  <a:lnTo>
                    <a:pt x="8" y="263"/>
                  </a:lnTo>
                  <a:lnTo>
                    <a:pt x="6" y="267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4"/>
                  </a:lnTo>
                  <a:lnTo>
                    <a:pt x="4" y="276"/>
                  </a:lnTo>
                  <a:lnTo>
                    <a:pt x="4" y="279"/>
                  </a:lnTo>
                  <a:lnTo>
                    <a:pt x="6" y="279"/>
                  </a:lnTo>
                  <a:lnTo>
                    <a:pt x="6" y="279"/>
                  </a:lnTo>
                  <a:lnTo>
                    <a:pt x="11" y="274"/>
                  </a:lnTo>
                  <a:lnTo>
                    <a:pt x="18" y="265"/>
                  </a:lnTo>
                  <a:lnTo>
                    <a:pt x="18" y="265"/>
                  </a:lnTo>
                  <a:lnTo>
                    <a:pt x="22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9" y="263"/>
                  </a:lnTo>
                  <a:lnTo>
                    <a:pt x="31" y="262"/>
                  </a:lnTo>
                  <a:lnTo>
                    <a:pt x="32" y="258"/>
                  </a:lnTo>
                  <a:lnTo>
                    <a:pt x="32" y="258"/>
                  </a:lnTo>
                  <a:lnTo>
                    <a:pt x="32" y="258"/>
                  </a:lnTo>
                  <a:lnTo>
                    <a:pt x="32" y="260"/>
                  </a:lnTo>
                  <a:lnTo>
                    <a:pt x="34" y="262"/>
                  </a:lnTo>
                  <a:lnTo>
                    <a:pt x="47" y="267"/>
                  </a:lnTo>
                  <a:lnTo>
                    <a:pt x="47" y="267"/>
                  </a:lnTo>
                  <a:lnTo>
                    <a:pt x="57" y="267"/>
                  </a:lnTo>
                  <a:lnTo>
                    <a:pt x="57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8" y="274"/>
                  </a:lnTo>
                  <a:lnTo>
                    <a:pt x="68" y="276"/>
                  </a:lnTo>
                  <a:lnTo>
                    <a:pt x="66" y="279"/>
                  </a:lnTo>
                  <a:lnTo>
                    <a:pt x="89" y="276"/>
                  </a:lnTo>
                  <a:lnTo>
                    <a:pt x="91" y="276"/>
                  </a:lnTo>
                  <a:lnTo>
                    <a:pt x="93" y="281"/>
                  </a:lnTo>
                  <a:lnTo>
                    <a:pt x="93" y="279"/>
                  </a:lnTo>
                  <a:lnTo>
                    <a:pt x="100" y="276"/>
                  </a:lnTo>
                  <a:lnTo>
                    <a:pt x="96" y="269"/>
                  </a:lnTo>
                  <a:lnTo>
                    <a:pt x="96" y="265"/>
                  </a:lnTo>
                  <a:lnTo>
                    <a:pt x="95" y="258"/>
                  </a:lnTo>
                  <a:lnTo>
                    <a:pt x="104" y="249"/>
                  </a:lnTo>
                  <a:lnTo>
                    <a:pt x="112" y="258"/>
                  </a:lnTo>
                  <a:lnTo>
                    <a:pt x="118" y="256"/>
                  </a:lnTo>
                  <a:lnTo>
                    <a:pt x="127" y="260"/>
                  </a:lnTo>
                  <a:lnTo>
                    <a:pt x="127" y="260"/>
                  </a:lnTo>
                  <a:lnTo>
                    <a:pt x="128" y="258"/>
                  </a:lnTo>
                  <a:lnTo>
                    <a:pt x="134" y="256"/>
                  </a:lnTo>
                  <a:lnTo>
                    <a:pt x="134" y="256"/>
                  </a:lnTo>
                  <a:lnTo>
                    <a:pt x="137" y="262"/>
                  </a:lnTo>
                  <a:lnTo>
                    <a:pt x="141" y="267"/>
                  </a:lnTo>
                  <a:lnTo>
                    <a:pt x="136" y="274"/>
                  </a:lnTo>
                  <a:lnTo>
                    <a:pt x="141" y="281"/>
                  </a:lnTo>
                  <a:lnTo>
                    <a:pt x="150" y="279"/>
                  </a:lnTo>
                  <a:lnTo>
                    <a:pt x="168" y="301"/>
                  </a:lnTo>
                  <a:lnTo>
                    <a:pt x="173" y="295"/>
                  </a:lnTo>
                  <a:lnTo>
                    <a:pt x="175" y="297"/>
                  </a:lnTo>
                  <a:lnTo>
                    <a:pt x="180" y="292"/>
                  </a:lnTo>
                  <a:lnTo>
                    <a:pt x="189" y="302"/>
                  </a:lnTo>
                  <a:lnTo>
                    <a:pt x="196" y="297"/>
                  </a:lnTo>
                  <a:lnTo>
                    <a:pt x="203" y="304"/>
                  </a:lnTo>
                  <a:lnTo>
                    <a:pt x="212" y="299"/>
                  </a:lnTo>
                  <a:lnTo>
                    <a:pt x="216" y="302"/>
                  </a:lnTo>
                  <a:lnTo>
                    <a:pt x="219" y="299"/>
                  </a:lnTo>
                  <a:lnTo>
                    <a:pt x="219" y="299"/>
                  </a:lnTo>
                  <a:lnTo>
                    <a:pt x="223" y="301"/>
                  </a:lnTo>
                  <a:lnTo>
                    <a:pt x="230" y="304"/>
                  </a:lnTo>
                  <a:lnTo>
                    <a:pt x="230" y="304"/>
                  </a:lnTo>
                  <a:lnTo>
                    <a:pt x="235" y="310"/>
                  </a:lnTo>
                  <a:lnTo>
                    <a:pt x="244" y="318"/>
                  </a:lnTo>
                  <a:lnTo>
                    <a:pt x="260" y="329"/>
                  </a:lnTo>
                  <a:lnTo>
                    <a:pt x="260" y="329"/>
                  </a:lnTo>
                  <a:lnTo>
                    <a:pt x="264" y="331"/>
                  </a:lnTo>
                  <a:lnTo>
                    <a:pt x="271" y="331"/>
                  </a:lnTo>
                  <a:lnTo>
                    <a:pt x="276" y="329"/>
                  </a:lnTo>
                  <a:lnTo>
                    <a:pt x="276" y="329"/>
                  </a:lnTo>
                  <a:lnTo>
                    <a:pt x="292" y="322"/>
                  </a:lnTo>
                  <a:lnTo>
                    <a:pt x="292" y="322"/>
                  </a:lnTo>
                  <a:lnTo>
                    <a:pt x="292" y="320"/>
                  </a:lnTo>
                  <a:lnTo>
                    <a:pt x="292" y="320"/>
                  </a:lnTo>
                  <a:lnTo>
                    <a:pt x="294" y="320"/>
                  </a:lnTo>
                  <a:lnTo>
                    <a:pt x="296" y="317"/>
                  </a:lnTo>
                  <a:lnTo>
                    <a:pt x="299" y="310"/>
                  </a:lnTo>
                  <a:lnTo>
                    <a:pt x="299" y="310"/>
                  </a:lnTo>
                  <a:lnTo>
                    <a:pt x="303" y="304"/>
                  </a:lnTo>
                  <a:lnTo>
                    <a:pt x="306" y="302"/>
                  </a:lnTo>
                  <a:lnTo>
                    <a:pt x="306" y="302"/>
                  </a:lnTo>
                  <a:lnTo>
                    <a:pt x="306" y="302"/>
                  </a:lnTo>
                  <a:lnTo>
                    <a:pt x="308" y="302"/>
                  </a:lnTo>
                  <a:lnTo>
                    <a:pt x="308" y="301"/>
                  </a:lnTo>
                  <a:lnTo>
                    <a:pt x="308" y="297"/>
                  </a:lnTo>
                  <a:lnTo>
                    <a:pt x="308" y="295"/>
                  </a:lnTo>
                  <a:lnTo>
                    <a:pt x="308" y="295"/>
                  </a:lnTo>
                  <a:lnTo>
                    <a:pt x="317" y="283"/>
                  </a:lnTo>
                  <a:lnTo>
                    <a:pt x="317" y="283"/>
                  </a:lnTo>
                  <a:lnTo>
                    <a:pt x="317" y="279"/>
                  </a:lnTo>
                  <a:lnTo>
                    <a:pt x="317" y="278"/>
                  </a:lnTo>
                  <a:lnTo>
                    <a:pt x="317" y="270"/>
                  </a:lnTo>
                  <a:lnTo>
                    <a:pt x="317" y="270"/>
                  </a:lnTo>
                  <a:lnTo>
                    <a:pt x="319" y="267"/>
                  </a:lnTo>
                  <a:lnTo>
                    <a:pt x="324" y="263"/>
                  </a:lnTo>
                  <a:lnTo>
                    <a:pt x="335" y="251"/>
                  </a:lnTo>
                  <a:lnTo>
                    <a:pt x="335" y="251"/>
                  </a:lnTo>
                  <a:lnTo>
                    <a:pt x="345" y="244"/>
                  </a:lnTo>
                  <a:lnTo>
                    <a:pt x="351" y="240"/>
                  </a:lnTo>
                  <a:lnTo>
                    <a:pt x="354" y="238"/>
                  </a:lnTo>
                  <a:lnTo>
                    <a:pt x="354" y="238"/>
                  </a:lnTo>
                  <a:lnTo>
                    <a:pt x="356" y="237"/>
                  </a:lnTo>
                  <a:lnTo>
                    <a:pt x="360" y="235"/>
                  </a:lnTo>
                  <a:lnTo>
                    <a:pt x="361" y="233"/>
                  </a:lnTo>
                  <a:lnTo>
                    <a:pt x="361" y="230"/>
                  </a:lnTo>
                  <a:lnTo>
                    <a:pt x="361" y="230"/>
                  </a:lnTo>
                  <a:lnTo>
                    <a:pt x="361" y="221"/>
                  </a:lnTo>
                  <a:lnTo>
                    <a:pt x="365" y="214"/>
                  </a:lnTo>
                  <a:lnTo>
                    <a:pt x="365" y="214"/>
                  </a:lnTo>
                  <a:lnTo>
                    <a:pt x="374" y="206"/>
                  </a:lnTo>
                  <a:lnTo>
                    <a:pt x="379" y="199"/>
                  </a:lnTo>
                  <a:lnTo>
                    <a:pt x="379" y="199"/>
                  </a:lnTo>
                  <a:lnTo>
                    <a:pt x="383" y="199"/>
                  </a:lnTo>
                  <a:lnTo>
                    <a:pt x="388" y="198"/>
                  </a:lnTo>
                  <a:lnTo>
                    <a:pt x="397" y="196"/>
                  </a:lnTo>
                  <a:lnTo>
                    <a:pt x="397" y="196"/>
                  </a:lnTo>
                  <a:lnTo>
                    <a:pt x="399" y="198"/>
                  </a:lnTo>
                  <a:lnTo>
                    <a:pt x="400" y="201"/>
                  </a:lnTo>
                  <a:lnTo>
                    <a:pt x="400" y="205"/>
                  </a:lnTo>
                  <a:lnTo>
                    <a:pt x="400" y="205"/>
                  </a:lnTo>
                  <a:lnTo>
                    <a:pt x="402" y="206"/>
                  </a:lnTo>
                  <a:lnTo>
                    <a:pt x="413" y="203"/>
                  </a:lnTo>
                  <a:lnTo>
                    <a:pt x="413" y="203"/>
                  </a:lnTo>
                  <a:lnTo>
                    <a:pt x="441" y="189"/>
                  </a:lnTo>
                  <a:lnTo>
                    <a:pt x="441" y="189"/>
                  </a:lnTo>
                  <a:lnTo>
                    <a:pt x="445" y="187"/>
                  </a:lnTo>
                  <a:lnTo>
                    <a:pt x="448" y="187"/>
                  </a:lnTo>
                  <a:lnTo>
                    <a:pt x="448" y="187"/>
                  </a:lnTo>
                  <a:lnTo>
                    <a:pt x="454" y="187"/>
                  </a:lnTo>
                  <a:lnTo>
                    <a:pt x="457" y="187"/>
                  </a:lnTo>
                  <a:lnTo>
                    <a:pt x="464" y="189"/>
                  </a:lnTo>
                  <a:lnTo>
                    <a:pt x="464" y="189"/>
                  </a:lnTo>
                  <a:lnTo>
                    <a:pt x="464" y="189"/>
                  </a:lnTo>
                  <a:lnTo>
                    <a:pt x="464" y="189"/>
                  </a:lnTo>
                  <a:lnTo>
                    <a:pt x="464" y="18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2" name="Freeform 11"/>
            <p:cNvSpPr>
              <a:spLocks/>
            </p:cNvSpPr>
            <p:nvPr/>
          </p:nvSpPr>
          <p:spPr bwMode="auto">
            <a:xfrm>
              <a:off x="1094840" y="2355325"/>
              <a:ext cx="166576" cy="160300"/>
            </a:xfrm>
            <a:custGeom>
              <a:avLst/>
              <a:gdLst>
                <a:gd name="T0" fmla="*/ 235 w 292"/>
                <a:gd name="T1" fmla="*/ 61 h 281"/>
                <a:gd name="T2" fmla="*/ 219 w 292"/>
                <a:gd name="T3" fmla="*/ 50 h 281"/>
                <a:gd name="T4" fmla="*/ 196 w 292"/>
                <a:gd name="T5" fmla="*/ 48 h 281"/>
                <a:gd name="T6" fmla="*/ 173 w 292"/>
                <a:gd name="T7" fmla="*/ 46 h 281"/>
                <a:gd name="T8" fmla="*/ 136 w 292"/>
                <a:gd name="T9" fmla="*/ 25 h 281"/>
                <a:gd name="T10" fmla="*/ 134 w 292"/>
                <a:gd name="T11" fmla="*/ 7 h 281"/>
                <a:gd name="T12" fmla="*/ 118 w 292"/>
                <a:gd name="T13" fmla="*/ 7 h 281"/>
                <a:gd name="T14" fmla="*/ 96 w 292"/>
                <a:gd name="T15" fmla="*/ 16 h 281"/>
                <a:gd name="T16" fmla="*/ 95 w 292"/>
                <a:gd name="T17" fmla="*/ 37 h 281"/>
                <a:gd name="T18" fmla="*/ 114 w 292"/>
                <a:gd name="T19" fmla="*/ 57 h 281"/>
                <a:gd name="T20" fmla="*/ 107 w 292"/>
                <a:gd name="T21" fmla="*/ 71 h 281"/>
                <a:gd name="T22" fmla="*/ 82 w 292"/>
                <a:gd name="T23" fmla="*/ 82 h 281"/>
                <a:gd name="T24" fmla="*/ 75 w 292"/>
                <a:gd name="T25" fmla="*/ 94 h 281"/>
                <a:gd name="T26" fmla="*/ 82 w 292"/>
                <a:gd name="T27" fmla="*/ 101 h 281"/>
                <a:gd name="T28" fmla="*/ 79 w 292"/>
                <a:gd name="T29" fmla="*/ 110 h 281"/>
                <a:gd name="T30" fmla="*/ 72 w 292"/>
                <a:gd name="T31" fmla="*/ 117 h 281"/>
                <a:gd name="T32" fmla="*/ 66 w 292"/>
                <a:gd name="T33" fmla="*/ 123 h 281"/>
                <a:gd name="T34" fmla="*/ 52 w 292"/>
                <a:gd name="T35" fmla="*/ 141 h 281"/>
                <a:gd name="T36" fmla="*/ 48 w 292"/>
                <a:gd name="T37" fmla="*/ 158 h 281"/>
                <a:gd name="T38" fmla="*/ 38 w 292"/>
                <a:gd name="T39" fmla="*/ 169 h 281"/>
                <a:gd name="T40" fmla="*/ 36 w 292"/>
                <a:gd name="T41" fmla="*/ 176 h 281"/>
                <a:gd name="T42" fmla="*/ 31 w 292"/>
                <a:gd name="T43" fmla="*/ 183 h 281"/>
                <a:gd name="T44" fmla="*/ 27 w 292"/>
                <a:gd name="T45" fmla="*/ 194 h 281"/>
                <a:gd name="T46" fmla="*/ 11 w 292"/>
                <a:gd name="T47" fmla="*/ 199 h 281"/>
                <a:gd name="T48" fmla="*/ 8 w 292"/>
                <a:gd name="T49" fmla="*/ 199 h 281"/>
                <a:gd name="T50" fmla="*/ 0 w 292"/>
                <a:gd name="T51" fmla="*/ 205 h 281"/>
                <a:gd name="T52" fmla="*/ 8 w 292"/>
                <a:gd name="T53" fmla="*/ 210 h 281"/>
                <a:gd name="T54" fmla="*/ 9 w 292"/>
                <a:gd name="T55" fmla="*/ 221 h 281"/>
                <a:gd name="T56" fmla="*/ 15 w 292"/>
                <a:gd name="T57" fmla="*/ 222 h 281"/>
                <a:gd name="T58" fmla="*/ 18 w 292"/>
                <a:gd name="T59" fmla="*/ 237 h 281"/>
                <a:gd name="T60" fmla="*/ 27 w 292"/>
                <a:gd name="T61" fmla="*/ 240 h 281"/>
                <a:gd name="T62" fmla="*/ 41 w 292"/>
                <a:gd name="T63" fmla="*/ 251 h 281"/>
                <a:gd name="T64" fmla="*/ 45 w 292"/>
                <a:gd name="T65" fmla="*/ 261 h 281"/>
                <a:gd name="T66" fmla="*/ 54 w 292"/>
                <a:gd name="T67" fmla="*/ 263 h 281"/>
                <a:gd name="T68" fmla="*/ 52 w 292"/>
                <a:gd name="T69" fmla="*/ 281 h 281"/>
                <a:gd name="T70" fmla="*/ 61 w 292"/>
                <a:gd name="T71" fmla="*/ 281 h 281"/>
                <a:gd name="T72" fmla="*/ 72 w 292"/>
                <a:gd name="T73" fmla="*/ 279 h 281"/>
                <a:gd name="T74" fmla="*/ 80 w 292"/>
                <a:gd name="T75" fmla="*/ 265 h 281"/>
                <a:gd name="T76" fmla="*/ 86 w 292"/>
                <a:gd name="T77" fmla="*/ 254 h 281"/>
                <a:gd name="T78" fmla="*/ 93 w 292"/>
                <a:gd name="T79" fmla="*/ 258 h 281"/>
                <a:gd name="T80" fmla="*/ 100 w 292"/>
                <a:gd name="T81" fmla="*/ 261 h 281"/>
                <a:gd name="T82" fmla="*/ 116 w 292"/>
                <a:gd name="T83" fmla="*/ 247 h 281"/>
                <a:gd name="T84" fmla="*/ 130 w 292"/>
                <a:gd name="T85" fmla="*/ 233 h 281"/>
                <a:gd name="T86" fmla="*/ 139 w 292"/>
                <a:gd name="T87" fmla="*/ 240 h 281"/>
                <a:gd name="T88" fmla="*/ 148 w 292"/>
                <a:gd name="T89" fmla="*/ 240 h 281"/>
                <a:gd name="T90" fmla="*/ 153 w 292"/>
                <a:gd name="T91" fmla="*/ 231 h 281"/>
                <a:gd name="T92" fmla="*/ 164 w 292"/>
                <a:gd name="T93" fmla="*/ 221 h 281"/>
                <a:gd name="T94" fmla="*/ 180 w 292"/>
                <a:gd name="T95" fmla="*/ 221 h 281"/>
                <a:gd name="T96" fmla="*/ 185 w 292"/>
                <a:gd name="T97" fmla="*/ 217 h 281"/>
                <a:gd name="T98" fmla="*/ 189 w 292"/>
                <a:gd name="T99" fmla="*/ 197 h 281"/>
                <a:gd name="T100" fmla="*/ 201 w 292"/>
                <a:gd name="T101" fmla="*/ 189 h 281"/>
                <a:gd name="T102" fmla="*/ 192 w 292"/>
                <a:gd name="T103" fmla="*/ 174 h 281"/>
                <a:gd name="T104" fmla="*/ 192 w 292"/>
                <a:gd name="T105" fmla="*/ 162 h 281"/>
                <a:gd name="T106" fmla="*/ 208 w 292"/>
                <a:gd name="T107" fmla="*/ 157 h 281"/>
                <a:gd name="T108" fmla="*/ 219 w 292"/>
                <a:gd name="T109" fmla="*/ 149 h 281"/>
                <a:gd name="T110" fmla="*/ 258 w 292"/>
                <a:gd name="T111" fmla="*/ 117 h 281"/>
                <a:gd name="T112" fmla="*/ 264 w 292"/>
                <a:gd name="T113" fmla="*/ 101 h 281"/>
                <a:gd name="T114" fmla="*/ 276 w 292"/>
                <a:gd name="T115" fmla="*/ 84 h 281"/>
                <a:gd name="T116" fmla="*/ 292 w 292"/>
                <a:gd name="T117" fmla="*/ 73 h 281"/>
                <a:gd name="T118" fmla="*/ 264 w 292"/>
                <a:gd name="T119" fmla="*/ 82 h 281"/>
                <a:gd name="T120" fmla="*/ 260 w 292"/>
                <a:gd name="T121" fmla="*/ 8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2" h="281">
                  <a:moveTo>
                    <a:pt x="260" y="80"/>
                  </a:moveTo>
                  <a:lnTo>
                    <a:pt x="260" y="80"/>
                  </a:lnTo>
                  <a:lnTo>
                    <a:pt x="244" y="69"/>
                  </a:lnTo>
                  <a:lnTo>
                    <a:pt x="235" y="61"/>
                  </a:lnTo>
                  <a:lnTo>
                    <a:pt x="230" y="55"/>
                  </a:lnTo>
                  <a:lnTo>
                    <a:pt x="230" y="55"/>
                  </a:lnTo>
                  <a:lnTo>
                    <a:pt x="223" y="52"/>
                  </a:lnTo>
                  <a:lnTo>
                    <a:pt x="219" y="50"/>
                  </a:lnTo>
                  <a:lnTo>
                    <a:pt x="216" y="53"/>
                  </a:lnTo>
                  <a:lnTo>
                    <a:pt x="212" y="50"/>
                  </a:lnTo>
                  <a:lnTo>
                    <a:pt x="203" y="55"/>
                  </a:lnTo>
                  <a:lnTo>
                    <a:pt x="196" y="48"/>
                  </a:lnTo>
                  <a:lnTo>
                    <a:pt x="189" y="53"/>
                  </a:lnTo>
                  <a:lnTo>
                    <a:pt x="180" y="43"/>
                  </a:lnTo>
                  <a:lnTo>
                    <a:pt x="175" y="48"/>
                  </a:lnTo>
                  <a:lnTo>
                    <a:pt x="173" y="46"/>
                  </a:lnTo>
                  <a:lnTo>
                    <a:pt x="168" y="52"/>
                  </a:lnTo>
                  <a:lnTo>
                    <a:pt x="150" y="30"/>
                  </a:lnTo>
                  <a:lnTo>
                    <a:pt x="141" y="32"/>
                  </a:lnTo>
                  <a:lnTo>
                    <a:pt x="136" y="25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37" y="13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28" y="9"/>
                  </a:lnTo>
                  <a:lnTo>
                    <a:pt x="127" y="11"/>
                  </a:lnTo>
                  <a:lnTo>
                    <a:pt x="118" y="7"/>
                  </a:lnTo>
                  <a:lnTo>
                    <a:pt x="112" y="9"/>
                  </a:lnTo>
                  <a:lnTo>
                    <a:pt x="104" y="0"/>
                  </a:lnTo>
                  <a:lnTo>
                    <a:pt x="95" y="9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0" y="27"/>
                  </a:lnTo>
                  <a:lnTo>
                    <a:pt x="93" y="30"/>
                  </a:lnTo>
                  <a:lnTo>
                    <a:pt x="95" y="37"/>
                  </a:lnTo>
                  <a:lnTo>
                    <a:pt x="95" y="37"/>
                  </a:lnTo>
                  <a:lnTo>
                    <a:pt x="112" y="53"/>
                  </a:lnTo>
                  <a:lnTo>
                    <a:pt x="112" y="53"/>
                  </a:lnTo>
                  <a:lnTo>
                    <a:pt x="114" y="57"/>
                  </a:lnTo>
                  <a:lnTo>
                    <a:pt x="114" y="61"/>
                  </a:lnTo>
                  <a:lnTo>
                    <a:pt x="112" y="66"/>
                  </a:lnTo>
                  <a:lnTo>
                    <a:pt x="107" y="71"/>
                  </a:lnTo>
                  <a:lnTo>
                    <a:pt x="107" y="71"/>
                  </a:lnTo>
                  <a:lnTo>
                    <a:pt x="98" y="75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82" y="82"/>
                  </a:lnTo>
                  <a:lnTo>
                    <a:pt x="79" y="87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5" y="94"/>
                  </a:lnTo>
                  <a:lnTo>
                    <a:pt x="75" y="96"/>
                  </a:lnTo>
                  <a:lnTo>
                    <a:pt x="79" y="100"/>
                  </a:lnTo>
                  <a:lnTo>
                    <a:pt x="80" y="101"/>
                  </a:lnTo>
                  <a:lnTo>
                    <a:pt x="82" y="101"/>
                  </a:lnTo>
                  <a:lnTo>
                    <a:pt x="82" y="103"/>
                  </a:lnTo>
                  <a:lnTo>
                    <a:pt x="82" y="103"/>
                  </a:lnTo>
                  <a:lnTo>
                    <a:pt x="82" y="109"/>
                  </a:lnTo>
                  <a:lnTo>
                    <a:pt x="79" y="110"/>
                  </a:lnTo>
                  <a:lnTo>
                    <a:pt x="75" y="114"/>
                  </a:lnTo>
                  <a:lnTo>
                    <a:pt x="73" y="116"/>
                  </a:lnTo>
                  <a:lnTo>
                    <a:pt x="73" y="116"/>
                  </a:lnTo>
                  <a:lnTo>
                    <a:pt x="72" y="117"/>
                  </a:lnTo>
                  <a:lnTo>
                    <a:pt x="72" y="119"/>
                  </a:lnTo>
                  <a:lnTo>
                    <a:pt x="70" y="121"/>
                  </a:lnTo>
                  <a:lnTo>
                    <a:pt x="66" y="123"/>
                  </a:lnTo>
                  <a:lnTo>
                    <a:pt x="66" y="123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2" y="141"/>
                  </a:lnTo>
                  <a:lnTo>
                    <a:pt x="52" y="141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48" y="162"/>
                  </a:lnTo>
                  <a:lnTo>
                    <a:pt x="45" y="164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36" y="169"/>
                  </a:lnTo>
                  <a:lnTo>
                    <a:pt x="36" y="171"/>
                  </a:lnTo>
                  <a:lnTo>
                    <a:pt x="36" y="173"/>
                  </a:lnTo>
                  <a:lnTo>
                    <a:pt x="36" y="176"/>
                  </a:lnTo>
                  <a:lnTo>
                    <a:pt x="32" y="178"/>
                  </a:lnTo>
                  <a:lnTo>
                    <a:pt x="32" y="178"/>
                  </a:lnTo>
                  <a:lnTo>
                    <a:pt x="32" y="181"/>
                  </a:lnTo>
                  <a:lnTo>
                    <a:pt x="31" y="183"/>
                  </a:lnTo>
                  <a:lnTo>
                    <a:pt x="31" y="190"/>
                  </a:lnTo>
                  <a:lnTo>
                    <a:pt x="31" y="190"/>
                  </a:lnTo>
                  <a:lnTo>
                    <a:pt x="29" y="194"/>
                  </a:lnTo>
                  <a:lnTo>
                    <a:pt x="27" y="194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13" y="199"/>
                  </a:lnTo>
                  <a:lnTo>
                    <a:pt x="11" y="199"/>
                  </a:lnTo>
                  <a:lnTo>
                    <a:pt x="9" y="197"/>
                  </a:lnTo>
                  <a:lnTo>
                    <a:pt x="9" y="197"/>
                  </a:lnTo>
                  <a:lnTo>
                    <a:pt x="8" y="197"/>
                  </a:lnTo>
                  <a:lnTo>
                    <a:pt x="8" y="199"/>
                  </a:lnTo>
                  <a:lnTo>
                    <a:pt x="6" y="201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0" y="205"/>
                  </a:lnTo>
                  <a:lnTo>
                    <a:pt x="0" y="206"/>
                  </a:lnTo>
                  <a:lnTo>
                    <a:pt x="6" y="210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15"/>
                  </a:lnTo>
                  <a:lnTo>
                    <a:pt x="8" y="217"/>
                  </a:lnTo>
                  <a:lnTo>
                    <a:pt x="9" y="221"/>
                  </a:lnTo>
                  <a:lnTo>
                    <a:pt x="9" y="221"/>
                  </a:lnTo>
                  <a:lnTo>
                    <a:pt x="11" y="222"/>
                  </a:lnTo>
                  <a:lnTo>
                    <a:pt x="11" y="222"/>
                  </a:lnTo>
                  <a:lnTo>
                    <a:pt x="11" y="222"/>
                  </a:lnTo>
                  <a:lnTo>
                    <a:pt x="15" y="222"/>
                  </a:lnTo>
                  <a:lnTo>
                    <a:pt x="15" y="224"/>
                  </a:lnTo>
                  <a:lnTo>
                    <a:pt x="18" y="229"/>
                  </a:lnTo>
                  <a:lnTo>
                    <a:pt x="18" y="233"/>
                  </a:lnTo>
                  <a:lnTo>
                    <a:pt x="18" y="237"/>
                  </a:lnTo>
                  <a:lnTo>
                    <a:pt x="18" y="237"/>
                  </a:lnTo>
                  <a:lnTo>
                    <a:pt x="18" y="238"/>
                  </a:lnTo>
                  <a:lnTo>
                    <a:pt x="20" y="238"/>
                  </a:lnTo>
                  <a:lnTo>
                    <a:pt x="27" y="240"/>
                  </a:lnTo>
                  <a:lnTo>
                    <a:pt x="36" y="245"/>
                  </a:lnTo>
                  <a:lnTo>
                    <a:pt x="36" y="245"/>
                  </a:lnTo>
                  <a:lnTo>
                    <a:pt x="40" y="245"/>
                  </a:lnTo>
                  <a:lnTo>
                    <a:pt x="41" y="251"/>
                  </a:lnTo>
                  <a:lnTo>
                    <a:pt x="40" y="256"/>
                  </a:lnTo>
                  <a:lnTo>
                    <a:pt x="40" y="256"/>
                  </a:lnTo>
                  <a:lnTo>
                    <a:pt x="41" y="260"/>
                  </a:lnTo>
                  <a:lnTo>
                    <a:pt x="45" y="261"/>
                  </a:lnTo>
                  <a:lnTo>
                    <a:pt x="52" y="261"/>
                  </a:lnTo>
                  <a:lnTo>
                    <a:pt x="52" y="261"/>
                  </a:lnTo>
                  <a:lnTo>
                    <a:pt x="54" y="261"/>
                  </a:lnTo>
                  <a:lnTo>
                    <a:pt x="54" y="263"/>
                  </a:lnTo>
                  <a:lnTo>
                    <a:pt x="54" y="270"/>
                  </a:lnTo>
                  <a:lnTo>
                    <a:pt x="52" y="276"/>
                  </a:lnTo>
                  <a:lnTo>
                    <a:pt x="52" y="277"/>
                  </a:lnTo>
                  <a:lnTo>
                    <a:pt x="52" y="281"/>
                  </a:lnTo>
                  <a:lnTo>
                    <a:pt x="52" y="281"/>
                  </a:lnTo>
                  <a:lnTo>
                    <a:pt x="54" y="281"/>
                  </a:lnTo>
                  <a:lnTo>
                    <a:pt x="56" y="281"/>
                  </a:lnTo>
                  <a:lnTo>
                    <a:pt x="61" y="281"/>
                  </a:lnTo>
                  <a:lnTo>
                    <a:pt x="72" y="279"/>
                  </a:lnTo>
                  <a:lnTo>
                    <a:pt x="72" y="279"/>
                  </a:lnTo>
                  <a:lnTo>
                    <a:pt x="72" y="279"/>
                  </a:lnTo>
                  <a:lnTo>
                    <a:pt x="72" y="279"/>
                  </a:lnTo>
                  <a:lnTo>
                    <a:pt x="79" y="272"/>
                  </a:lnTo>
                  <a:lnTo>
                    <a:pt x="79" y="272"/>
                  </a:lnTo>
                  <a:lnTo>
                    <a:pt x="80" y="270"/>
                  </a:lnTo>
                  <a:lnTo>
                    <a:pt x="80" y="265"/>
                  </a:lnTo>
                  <a:lnTo>
                    <a:pt x="82" y="261"/>
                  </a:lnTo>
                  <a:lnTo>
                    <a:pt x="82" y="258"/>
                  </a:lnTo>
                  <a:lnTo>
                    <a:pt x="82" y="256"/>
                  </a:lnTo>
                  <a:lnTo>
                    <a:pt x="86" y="254"/>
                  </a:lnTo>
                  <a:lnTo>
                    <a:pt x="86" y="254"/>
                  </a:lnTo>
                  <a:lnTo>
                    <a:pt x="88" y="254"/>
                  </a:lnTo>
                  <a:lnTo>
                    <a:pt x="91" y="256"/>
                  </a:lnTo>
                  <a:lnTo>
                    <a:pt x="93" y="258"/>
                  </a:lnTo>
                  <a:lnTo>
                    <a:pt x="96" y="261"/>
                  </a:lnTo>
                  <a:lnTo>
                    <a:pt x="98" y="261"/>
                  </a:lnTo>
                  <a:lnTo>
                    <a:pt x="100" y="261"/>
                  </a:lnTo>
                  <a:lnTo>
                    <a:pt x="100" y="261"/>
                  </a:lnTo>
                  <a:lnTo>
                    <a:pt x="107" y="258"/>
                  </a:lnTo>
                  <a:lnTo>
                    <a:pt x="111" y="254"/>
                  </a:lnTo>
                  <a:lnTo>
                    <a:pt x="116" y="247"/>
                  </a:lnTo>
                  <a:lnTo>
                    <a:pt x="116" y="247"/>
                  </a:lnTo>
                  <a:lnTo>
                    <a:pt x="118" y="242"/>
                  </a:lnTo>
                  <a:lnTo>
                    <a:pt x="123" y="237"/>
                  </a:lnTo>
                  <a:lnTo>
                    <a:pt x="123" y="237"/>
                  </a:lnTo>
                  <a:lnTo>
                    <a:pt x="130" y="233"/>
                  </a:lnTo>
                  <a:lnTo>
                    <a:pt x="132" y="233"/>
                  </a:lnTo>
                  <a:lnTo>
                    <a:pt x="134" y="235"/>
                  </a:lnTo>
                  <a:lnTo>
                    <a:pt x="134" y="235"/>
                  </a:lnTo>
                  <a:lnTo>
                    <a:pt x="139" y="240"/>
                  </a:lnTo>
                  <a:lnTo>
                    <a:pt x="141" y="242"/>
                  </a:lnTo>
                  <a:lnTo>
                    <a:pt x="143" y="242"/>
                  </a:lnTo>
                  <a:lnTo>
                    <a:pt x="143" y="242"/>
                  </a:lnTo>
                  <a:lnTo>
                    <a:pt x="148" y="240"/>
                  </a:lnTo>
                  <a:lnTo>
                    <a:pt x="152" y="238"/>
                  </a:lnTo>
                  <a:lnTo>
                    <a:pt x="153" y="235"/>
                  </a:lnTo>
                  <a:lnTo>
                    <a:pt x="153" y="231"/>
                  </a:lnTo>
                  <a:lnTo>
                    <a:pt x="153" y="231"/>
                  </a:lnTo>
                  <a:lnTo>
                    <a:pt x="153" y="231"/>
                  </a:lnTo>
                  <a:lnTo>
                    <a:pt x="155" y="229"/>
                  </a:lnTo>
                  <a:lnTo>
                    <a:pt x="159" y="224"/>
                  </a:lnTo>
                  <a:lnTo>
                    <a:pt x="164" y="221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76" y="221"/>
                  </a:lnTo>
                  <a:lnTo>
                    <a:pt x="180" y="221"/>
                  </a:lnTo>
                  <a:lnTo>
                    <a:pt x="184" y="221"/>
                  </a:lnTo>
                  <a:lnTo>
                    <a:pt x="184" y="219"/>
                  </a:lnTo>
                  <a:lnTo>
                    <a:pt x="184" y="219"/>
                  </a:lnTo>
                  <a:lnTo>
                    <a:pt x="185" y="217"/>
                  </a:lnTo>
                  <a:lnTo>
                    <a:pt x="189" y="215"/>
                  </a:lnTo>
                  <a:lnTo>
                    <a:pt x="189" y="206"/>
                  </a:lnTo>
                  <a:lnTo>
                    <a:pt x="189" y="201"/>
                  </a:lnTo>
                  <a:lnTo>
                    <a:pt x="189" y="197"/>
                  </a:lnTo>
                  <a:lnTo>
                    <a:pt x="191" y="196"/>
                  </a:lnTo>
                  <a:lnTo>
                    <a:pt x="191" y="196"/>
                  </a:lnTo>
                  <a:lnTo>
                    <a:pt x="200" y="190"/>
                  </a:lnTo>
                  <a:lnTo>
                    <a:pt x="201" y="189"/>
                  </a:lnTo>
                  <a:lnTo>
                    <a:pt x="200" y="183"/>
                  </a:lnTo>
                  <a:lnTo>
                    <a:pt x="200" y="183"/>
                  </a:lnTo>
                  <a:lnTo>
                    <a:pt x="196" y="178"/>
                  </a:lnTo>
                  <a:lnTo>
                    <a:pt x="192" y="174"/>
                  </a:lnTo>
                  <a:lnTo>
                    <a:pt x="192" y="171"/>
                  </a:lnTo>
                  <a:lnTo>
                    <a:pt x="191" y="171"/>
                  </a:lnTo>
                  <a:lnTo>
                    <a:pt x="192" y="165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6" y="160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14" y="153"/>
                  </a:lnTo>
                  <a:lnTo>
                    <a:pt x="217" y="151"/>
                  </a:lnTo>
                  <a:lnTo>
                    <a:pt x="219" y="149"/>
                  </a:lnTo>
                  <a:lnTo>
                    <a:pt x="219" y="149"/>
                  </a:lnTo>
                  <a:lnTo>
                    <a:pt x="230" y="141"/>
                  </a:lnTo>
                  <a:lnTo>
                    <a:pt x="240" y="132"/>
                  </a:lnTo>
                  <a:lnTo>
                    <a:pt x="255" y="121"/>
                  </a:lnTo>
                  <a:lnTo>
                    <a:pt x="258" y="117"/>
                  </a:lnTo>
                  <a:lnTo>
                    <a:pt x="260" y="114"/>
                  </a:lnTo>
                  <a:lnTo>
                    <a:pt x="260" y="114"/>
                  </a:lnTo>
                  <a:lnTo>
                    <a:pt x="262" y="109"/>
                  </a:lnTo>
                  <a:lnTo>
                    <a:pt x="264" y="101"/>
                  </a:lnTo>
                  <a:lnTo>
                    <a:pt x="265" y="94"/>
                  </a:lnTo>
                  <a:lnTo>
                    <a:pt x="271" y="89"/>
                  </a:lnTo>
                  <a:lnTo>
                    <a:pt x="271" y="89"/>
                  </a:lnTo>
                  <a:lnTo>
                    <a:pt x="276" y="84"/>
                  </a:lnTo>
                  <a:lnTo>
                    <a:pt x="281" y="80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3"/>
                  </a:lnTo>
                  <a:lnTo>
                    <a:pt x="276" y="80"/>
                  </a:lnTo>
                  <a:lnTo>
                    <a:pt x="276" y="80"/>
                  </a:lnTo>
                  <a:lnTo>
                    <a:pt x="271" y="82"/>
                  </a:lnTo>
                  <a:lnTo>
                    <a:pt x="264" y="82"/>
                  </a:lnTo>
                  <a:lnTo>
                    <a:pt x="260" y="80"/>
                  </a:lnTo>
                  <a:lnTo>
                    <a:pt x="260" y="80"/>
                  </a:lnTo>
                  <a:lnTo>
                    <a:pt x="260" y="80"/>
                  </a:lnTo>
                  <a:lnTo>
                    <a:pt x="260" y="80"/>
                  </a:lnTo>
                  <a:lnTo>
                    <a:pt x="260" y="8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>
              <a:off x="948231" y="2476263"/>
              <a:ext cx="87281" cy="73019"/>
            </a:xfrm>
            <a:custGeom>
              <a:avLst/>
              <a:gdLst>
                <a:gd name="T0" fmla="*/ 147 w 153"/>
                <a:gd name="T1" fmla="*/ 49 h 128"/>
                <a:gd name="T2" fmla="*/ 144 w 153"/>
                <a:gd name="T3" fmla="*/ 49 h 128"/>
                <a:gd name="T4" fmla="*/ 144 w 153"/>
                <a:gd name="T5" fmla="*/ 41 h 128"/>
                <a:gd name="T6" fmla="*/ 142 w 153"/>
                <a:gd name="T7" fmla="*/ 33 h 128"/>
                <a:gd name="T8" fmla="*/ 137 w 153"/>
                <a:gd name="T9" fmla="*/ 23 h 128"/>
                <a:gd name="T10" fmla="*/ 128 w 153"/>
                <a:gd name="T11" fmla="*/ 21 h 128"/>
                <a:gd name="T12" fmla="*/ 124 w 153"/>
                <a:gd name="T13" fmla="*/ 23 h 128"/>
                <a:gd name="T14" fmla="*/ 121 w 153"/>
                <a:gd name="T15" fmla="*/ 26 h 128"/>
                <a:gd name="T16" fmla="*/ 115 w 153"/>
                <a:gd name="T17" fmla="*/ 21 h 128"/>
                <a:gd name="T18" fmla="*/ 112 w 153"/>
                <a:gd name="T19" fmla="*/ 19 h 128"/>
                <a:gd name="T20" fmla="*/ 106 w 153"/>
                <a:gd name="T21" fmla="*/ 17 h 128"/>
                <a:gd name="T22" fmla="*/ 105 w 153"/>
                <a:gd name="T23" fmla="*/ 5 h 128"/>
                <a:gd name="T24" fmla="*/ 101 w 153"/>
                <a:gd name="T25" fmla="*/ 5 h 128"/>
                <a:gd name="T26" fmla="*/ 96 w 153"/>
                <a:gd name="T27" fmla="*/ 17 h 128"/>
                <a:gd name="T28" fmla="*/ 81 w 153"/>
                <a:gd name="T29" fmla="*/ 23 h 128"/>
                <a:gd name="T30" fmla="*/ 71 w 153"/>
                <a:gd name="T31" fmla="*/ 21 h 128"/>
                <a:gd name="T32" fmla="*/ 65 w 153"/>
                <a:gd name="T33" fmla="*/ 12 h 128"/>
                <a:gd name="T34" fmla="*/ 62 w 153"/>
                <a:gd name="T35" fmla="*/ 7 h 128"/>
                <a:gd name="T36" fmla="*/ 49 w 153"/>
                <a:gd name="T37" fmla="*/ 7 h 128"/>
                <a:gd name="T38" fmla="*/ 44 w 153"/>
                <a:gd name="T39" fmla="*/ 3 h 128"/>
                <a:gd name="T40" fmla="*/ 33 w 153"/>
                <a:gd name="T41" fmla="*/ 1 h 128"/>
                <a:gd name="T42" fmla="*/ 26 w 153"/>
                <a:gd name="T43" fmla="*/ 3 h 128"/>
                <a:gd name="T44" fmla="*/ 21 w 153"/>
                <a:gd name="T45" fmla="*/ 1 h 128"/>
                <a:gd name="T46" fmla="*/ 12 w 153"/>
                <a:gd name="T47" fmla="*/ 3 h 128"/>
                <a:gd name="T48" fmla="*/ 9 w 153"/>
                <a:gd name="T49" fmla="*/ 10 h 128"/>
                <a:gd name="T50" fmla="*/ 7 w 153"/>
                <a:gd name="T51" fmla="*/ 19 h 128"/>
                <a:gd name="T52" fmla="*/ 1 w 153"/>
                <a:gd name="T53" fmla="*/ 28 h 128"/>
                <a:gd name="T54" fmla="*/ 1 w 153"/>
                <a:gd name="T55" fmla="*/ 30 h 128"/>
                <a:gd name="T56" fmla="*/ 0 w 153"/>
                <a:gd name="T57" fmla="*/ 35 h 128"/>
                <a:gd name="T58" fmla="*/ 1 w 153"/>
                <a:gd name="T59" fmla="*/ 46 h 128"/>
                <a:gd name="T60" fmla="*/ 1 w 153"/>
                <a:gd name="T61" fmla="*/ 58 h 128"/>
                <a:gd name="T62" fmla="*/ 10 w 153"/>
                <a:gd name="T63" fmla="*/ 73 h 128"/>
                <a:gd name="T64" fmla="*/ 12 w 153"/>
                <a:gd name="T65" fmla="*/ 85 h 128"/>
                <a:gd name="T66" fmla="*/ 17 w 153"/>
                <a:gd name="T67" fmla="*/ 99 h 128"/>
                <a:gd name="T68" fmla="*/ 17 w 153"/>
                <a:gd name="T69" fmla="*/ 106 h 128"/>
                <a:gd name="T70" fmla="*/ 21 w 153"/>
                <a:gd name="T71" fmla="*/ 112 h 128"/>
                <a:gd name="T72" fmla="*/ 23 w 153"/>
                <a:gd name="T73" fmla="*/ 121 h 128"/>
                <a:gd name="T74" fmla="*/ 19 w 153"/>
                <a:gd name="T75" fmla="*/ 128 h 128"/>
                <a:gd name="T76" fmla="*/ 26 w 153"/>
                <a:gd name="T77" fmla="*/ 122 h 128"/>
                <a:gd name="T78" fmla="*/ 48 w 153"/>
                <a:gd name="T79" fmla="*/ 124 h 128"/>
                <a:gd name="T80" fmla="*/ 55 w 153"/>
                <a:gd name="T81" fmla="*/ 121 h 128"/>
                <a:gd name="T82" fmla="*/ 64 w 153"/>
                <a:gd name="T83" fmla="*/ 113 h 128"/>
                <a:gd name="T84" fmla="*/ 67 w 153"/>
                <a:gd name="T85" fmla="*/ 106 h 128"/>
                <a:gd name="T86" fmla="*/ 73 w 153"/>
                <a:gd name="T87" fmla="*/ 108 h 128"/>
                <a:gd name="T88" fmla="*/ 80 w 153"/>
                <a:gd name="T89" fmla="*/ 105 h 128"/>
                <a:gd name="T90" fmla="*/ 90 w 153"/>
                <a:gd name="T91" fmla="*/ 103 h 128"/>
                <a:gd name="T92" fmla="*/ 105 w 153"/>
                <a:gd name="T93" fmla="*/ 96 h 128"/>
                <a:gd name="T94" fmla="*/ 115 w 153"/>
                <a:gd name="T95" fmla="*/ 85 h 128"/>
                <a:gd name="T96" fmla="*/ 129 w 153"/>
                <a:gd name="T97" fmla="*/ 74 h 128"/>
                <a:gd name="T98" fmla="*/ 137 w 153"/>
                <a:gd name="T99" fmla="*/ 69 h 128"/>
                <a:gd name="T100" fmla="*/ 145 w 153"/>
                <a:gd name="T101" fmla="*/ 62 h 128"/>
                <a:gd name="T102" fmla="*/ 153 w 153"/>
                <a:gd name="T103" fmla="*/ 58 h 128"/>
                <a:gd name="T104" fmla="*/ 153 w 153"/>
                <a:gd name="T105" fmla="*/ 51 h 128"/>
                <a:gd name="T106" fmla="*/ 151 w 153"/>
                <a:gd name="T107" fmla="*/ 4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3" h="128">
                  <a:moveTo>
                    <a:pt x="151" y="49"/>
                  </a:moveTo>
                  <a:lnTo>
                    <a:pt x="151" y="49"/>
                  </a:lnTo>
                  <a:lnTo>
                    <a:pt x="147" y="49"/>
                  </a:lnTo>
                  <a:lnTo>
                    <a:pt x="145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4" y="49"/>
                  </a:lnTo>
                  <a:lnTo>
                    <a:pt x="144" y="42"/>
                  </a:lnTo>
                  <a:lnTo>
                    <a:pt x="144" y="41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2" y="33"/>
                  </a:lnTo>
                  <a:lnTo>
                    <a:pt x="140" y="30"/>
                  </a:lnTo>
                  <a:lnTo>
                    <a:pt x="137" y="26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1" y="21"/>
                  </a:lnTo>
                  <a:lnTo>
                    <a:pt x="128" y="21"/>
                  </a:lnTo>
                  <a:lnTo>
                    <a:pt x="128" y="21"/>
                  </a:lnTo>
                  <a:lnTo>
                    <a:pt x="126" y="21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9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1" y="5"/>
                  </a:lnTo>
                  <a:lnTo>
                    <a:pt x="101" y="9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89" y="21"/>
                  </a:lnTo>
                  <a:lnTo>
                    <a:pt x="85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73" y="23"/>
                  </a:lnTo>
                  <a:lnTo>
                    <a:pt x="71" y="21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5" y="12"/>
                  </a:lnTo>
                  <a:lnTo>
                    <a:pt x="64" y="9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58" y="7"/>
                  </a:lnTo>
                  <a:lnTo>
                    <a:pt x="53" y="7"/>
                  </a:lnTo>
                  <a:lnTo>
                    <a:pt x="49" y="7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4" y="3"/>
                  </a:lnTo>
                  <a:lnTo>
                    <a:pt x="41" y="1"/>
                  </a:lnTo>
                  <a:lnTo>
                    <a:pt x="37" y="0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7" y="1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9" y="10"/>
                  </a:lnTo>
                  <a:lnTo>
                    <a:pt x="9" y="17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53"/>
                  </a:lnTo>
                  <a:lnTo>
                    <a:pt x="1" y="58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10" y="73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5"/>
                  </a:lnTo>
                  <a:lnTo>
                    <a:pt x="14" y="90"/>
                  </a:lnTo>
                  <a:lnTo>
                    <a:pt x="17" y="94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103"/>
                  </a:lnTo>
                  <a:lnTo>
                    <a:pt x="17" y="106"/>
                  </a:lnTo>
                  <a:lnTo>
                    <a:pt x="19" y="110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5" y="113"/>
                  </a:lnTo>
                  <a:lnTo>
                    <a:pt x="25" y="119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23" y="124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37" y="124"/>
                  </a:lnTo>
                  <a:lnTo>
                    <a:pt x="44" y="126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51" y="122"/>
                  </a:lnTo>
                  <a:lnTo>
                    <a:pt x="55" y="121"/>
                  </a:lnTo>
                  <a:lnTo>
                    <a:pt x="60" y="115"/>
                  </a:lnTo>
                  <a:lnTo>
                    <a:pt x="60" y="115"/>
                  </a:lnTo>
                  <a:lnTo>
                    <a:pt x="64" y="113"/>
                  </a:lnTo>
                  <a:lnTo>
                    <a:pt x="64" y="110"/>
                  </a:lnTo>
                  <a:lnTo>
                    <a:pt x="67" y="108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71" y="108"/>
                  </a:lnTo>
                  <a:lnTo>
                    <a:pt x="73" y="108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80" y="105"/>
                  </a:lnTo>
                  <a:lnTo>
                    <a:pt x="83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6" y="101"/>
                  </a:lnTo>
                  <a:lnTo>
                    <a:pt x="105" y="96"/>
                  </a:lnTo>
                  <a:lnTo>
                    <a:pt x="105" y="96"/>
                  </a:lnTo>
                  <a:lnTo>
                    <a:pt x="110" y="90"/>
                  </a:lnTo>
                  <a:lnTo>
                    <a:pt x="112" y="87"/>
                  </a:lnTo>
                  <a:lnTo>
                    <a:pt x="115" y="85"/>
                  </a:lnTo>
                  <a:lnTo>
                    <a:pt x="115" y="85"/>
                  </a:lnTo>
                  <a:lnTo>
                    <a:pt x="121" y="81"/>
                  </a:lnTo>
                  <a:lnTo>
                    <a:pt x="129" y="74"/>
                  </a:lnTo>
                  <a:lnTo>
                    <a:pt x="129" y="74"/>
                  </a:lnTo>
                  <a:lnTo>
                    <a:pt x="133" y="73"/>
                  </a:lnTo>
                  <a:lnTo>
                    <a:pt x="137" y="69"/>
                  </a:lnTo>
                  <a:lnTo>
                    <a:pt x="142" y="64"/>
                  </a:lnTo>
                  <a:lnTo>
                    <a:pt x="142" y="64"/>
                  </a:lnTo>
                  <a:lnTo>
                    <a:pt x="145" y="62"/>
                  </a:lnTo>
                  <a:lnTo>
                    <a:pt x="151" y="60"/>
                  </a:lnTo>
                  <a:lnTo>
                    <a:pt x="151" y="60"/>
                  </a:lnTo>
                  <a:lnTo>
                    <a:pt x="153" y="58"/>
                  </a:lnTo>
                  <a:lnTo>
                    <a:pt x="153" y="58"/>
                  </a:lnTo>
                  <a:lnTo>
                    <a:pt x="153" y="53"/>
                  </a:lnTo>
                  <a:lnTo>
                    <a:pt x="153" y="51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auto">
            <a:xfrm>
              <a:off x="926553" y="2431197"/>
              <a:ext cx="81576" cy="61040"/>
            </a:xfrm>
            <a:custGeom>
              <a:avLst/>
              <a:gdLst>
                <a:gd name="T0" fmla="*/ 50 w 143"/>
                <a:gd name="T1" fmla="*/ 82 h 107"/>
                <a:gd name="T2" fmla="*/ 57 w 143"/>
                <a:gd name="T3" fmla="*/ 80 h 107"/>
                <a:gd name="T4" fmla="*/ 63 w 143"/>
                <a:gd name="T5" fmla="*/ 82 h 107"/>
                <a:gd name="T6" fmla="*/ 64 w 143"/>
                <a:gd name="T7" fmla="*/ 82 h 107"/>
                <a:gd name="T8" fmla="*/ 71 w 143"/>
                <a:gd name="T9" fmla="*/ 80 h 107"/>
                <a:gd name="T10" fmla="*/ 75 w 143"/>
                <a:gd name="T11" fmla="*/ 79 h 107"/>
                <a:gd name="T12" fmla="*/ 82 w 143"/>
                <a:gd name="T13" fmla="*/ 82 h 107"/>
                <a:gd name="T14" fmla="*/ 84 w 143"/>
                <a:gd name="T15" fmla="*/ 84 h 107"/>
                <a:gd name="T16" fmla="*/ 91 w 143"/>
                <a:gd name="T17" fmla="*/ 86 h 107"/>
                <a:gd name="T18" fmla="*/ 100 w 143"/>
                <a:gd name="T19" fmla="*/ 86 h 107"/>
                <a:gd name="T20" fmla="*/ 102 w 143"/>
                <a:gd name="T21" fmla="*/ 88 h 107"/>
                <a:gd name="T22" fmla="*/ 107 w 143"/>
                <a:gd name="T23" fmla="*/ 98 h 107"/>
                <a:gd name="T24" fmla="*/ 109 w 143"/>
                <a:gd name="T25" fmla="*/ 100 h 107"/>
                <a:gd name="T26" fmla="*/ 119 w 143"/>
                <a:gd name="T27" fmla="*/ 102 h 107"/>
                <a:gd name="T28" fmla="*/ 123 w 143"/>
                <a:gd name="T29" fmla="*/ 102 h 107"/>
                <a:gd name="T30" fmla="*/ 134 w 143"/>
                <a:gd name="T31" fmla="*/ 96 h 107"/>
                <a:gd name="T32" fmla="*/ 139 w 143"/>
                <a:gd name="T33" fmla="*/ 88 h 107"/>
                <a:gd name="T34" fmla="*/ 143 w 143"/>
                <a:gd name="T35" fmla="*/ 84 h 107"/>
                <a:gd name="T36" fmla="*/ 134 w 143"/>
                <a:gd name="T37" fmla="*/ 61 h 107"/>
                <a:gd name="T38" fmla="*/ 109 w 143"/>
                <a:gd name="T39" fmla="*/ 41 h 107"/>
                <a:gd name="T40" fmla="*/ 93 w 143"/>
                <a:gd name="T41" fmla="*/ 29 h 107"/>
                <a:gd name="T42" fmla="*/ 86 w 143"/>
                <a:gd name="T43" fmla="*/ 18 h 107"/>
                <a:gd name="T44" fmla="*/ 71 w 143"/>
                <a:gd name="T45" fmla="*/ 2 h 107"/>
                <a:gd name="T46" fmla="*/ 63 w 143"/>
                <a:gd name="T47" fmla="*/ 9 h 107"/>
                <a:gd name="T48" fmla="*/ 36 w 143"/>
                <a:gd name="T49" fmla="*/ 8 h 107"/>
                <a:gd name="T50" fmla="*/ 25 w 143"/>
                <a:gd name="T51" fmla="*/ 9 h 107"/>
                <a:gd name="T52" fmla="*/ 27 w 143"/>
                <a:gd name="T53" fmla="*/ 11 h 107"/>
                <a:gd name="T54" fmla="*/ 36 w 143"/>
                <a:gd name="T55" fmla="*/ 16 h 107"/>
                <a:gd name="T56" fmla="*/ 34 w 143"/>
                <a:gd name="T57" fmla="*/ 20 h 107"/>
                <a:gd name="T58" fmla="*/ 29 w 143"/>
                <a:gd name="T59" fmla="*/ 27 h 107"/>
                <a:gd name="T60" fmla="*/ 29 w 143"/>
                <a:gd name="T61" fmla="*/ 32 h 107"/>
                <a:gd name="T62" fmla="*/ 27 w 143"/>
                <a:gd name="T63" fmla="*/ 38 h 107"/>
                <a:gd name="T64" fmla="*/ 25 w 143"/>
                <a:gd name="T65" fmla="*/ 41 h 107"/>
                <a:gd name="T66" fmla="*/ 25 w 143"/>
                <a:gd name="T67" fmla="*/ 48 h 107"/>
                <a:gd name="T68" fmla="*/ 25 w 143"/>
                <a:gd name="T69" fmla="*/ 59 h 107"/>
                <a:gd name="T70" fmla="*/ 23 w 143"/>
                <a:gd name="T71" fmla="*/ 61 h 107"/>
                <a:gd name="T72" fmla="*/ 22 w 143"/>
                <a:gd name="T73" fmla="*/ 66 h 107"/>
                <a:gd name="T74" fmla="*/ 18 w 143"/>
                <a:gd name="T75" fmla="*/ 70 h 107"/>
                <a:gd name="T76" fmla="*/ 11 w 143"/>
                <a:gd name="T77" fmla="*/ 73 h 107"/>
                <a:gd name="T78" fmla="*/ 9 w 143"/>
                <a:gd name="T79" fmla="*/ 80 h 107"/>
                <a:gd name="T80" fmla="*/ 6 w 143"/>
                <a:gd name="T81" fmla="*/ 82 h 107"/>
                <a:gd name="T82" fmla="*/ 2 w 143"/>
                <a:gd name="T83" fmla="*/ 82 h 107"/>
                <a:gd name="T84" fmla="*/ 0 w 143"/>
                <a:gd name="T85" fmla="*/ 82 h 107"/>
                <a:gd name="T86" fmla="*/ 2 w 143"/>
                <a:gd name="T87" fmla="*/ 86 h 107"/>
                <a:gd name="T88" fmla="*/ 6 w 143"/>
                <a:gd name="T89" fmla="*/ 93 h 107"/>
                <a:gd name="T90" fmla="*/ 15 w 143"/>
                <a:gd name="T91" fmla="*/ 100 h 107"/>
                <a:gd name="T92" fmla="*/ 25 w 143"/>
                <a:gd name="T93" fmla="*/ 102 h 107"/>
                <a:gd name="T94" fmla="*/ 31 w 143"/>
                <a:gd name="T95" fmla="*/ 104 h 107"/>
                <a:gd name="T96" fmla="*/ 38 w 143"/>
                <a:gd name="T97" fmla="*/ 107 h 107"/>
                <a:gd name="T98" fmla="*/ 45 w 143"/>
                <a:gd name="T99" fmla="*/ 98 h 107"/>
                <a:gd name="T100" fmla="*/ 47 w 143"/>
                <a:gd name="T101" fmla="*/ 89 h 107"/>
                <a:gd name="T102" fmla="*/ 50 w 143"/>
                <a:gd name="T103" fmla="*/ 82 h 107"/>
                <a:gd name="T104" fmla="*/ 50 w 143"/>
                <a:gd name="T105" fmla="*/ 82 h 107"/>
                <a:gd name="T106" fmla="*/ 50 w 143"/>
                <a:gd name="T107" fmla="*/ 8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3" h="107">
                  <a:moveTo>
                    <a:pt x="50" y="82"/>
                  </a:moveTo>
                  <a:lnTo>
                    <a:pt x="50" y="82"/>
                  </a:lnTo>
                  <a:lnTo>
                    <a:pt x="55" y="80"/>
                  </a:lnTo>
                  <a:lnTo>
                    <a:pt x="57" y="80"/>
                  </a:lnTo>
                  <a:lnTo>
                    <a:pt x="59" y="80"/>
                  </a:lnTo>
                  <a:lnTo>
                    <a:pt x="63" y="82"/>
                  </a:lnTo>
                  <a:lnTo>
                    <a:pt x="63" y="82"/>
                  </a:lnTo>
                  <a:lnTo>
                    <a:pt x="64" y="82"/>
                  </a:lnTo>
                  <a:lnTo>
                    <a:pt x="66" y="82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5" y="79"/>
                  </a:lnTo>
                  <a:lnTo>
                    <a:pt x="79" y="80"/>
                  </a:lnTo>
                  <a:lnTo>
                    <a:pt x="82" y="82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7" y="86"/>
                  </a:lnTo>
                  <a:lnTo>
                    <a:pt x="91" y="86"/>
                  </a:lnTo>
                  <a:lnTo>
                    <a:pt x="96" y="86"/>
                  </a:lnTo>
                  <a:lnTo>
                    <a:pt x="100" y="86"/>
                  </a:lnTo>
                  <a:lnTo>
                    <a:pt x="100" y="86"/>
                  </a:lnTo>
                  <a:lnTo>
                    <a:pt x="102" y="88"/>
                  </a:lnTo>
                  <a:lnTo>
                    <a:pt x="103" y="91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9" y="100"/>
                  </a:lnTo>
                  <a:lnTo>
                    <a:pt x="111" y="102"/>
                  </a:lnTo>
                  <a:lnTo>
                    <a:pt x="119" y="102"/>
                  </a:lnTo>
                  <a:lnTo>
                    <a:pt x="119" y="102"/>
                  </a:lnTo>
                  <a:lnTo>
                    <a:pt x="123" y="102"/>
                  </a:lnTo>
                  <a:lnTo>
                    <a:pt x="127" y="100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9" y="88"/>
                  </a:lnTo>
                  <a:lnTo>
                    <a:pt x="139" y="84"/>
                  </a:lnTo>
                  <a:lnTo>
                    <a:pt x="143" y="84"/>
                  </a:lnTo>
                  <a:lnTo>
                    <a:pt x="134" y="77"/>
                  </a:lnTo>
                  <a:lnTo>
                    <a:pt x="134" y="61"/>
                  </a:lnTo>
                  <a:lnTo>
                    <a:pt x="127" y="50"/>
                  </a:lnTo>
                  <a:lnTo>
                    <a:pt x="109" y="41"/>
                  </a:lnTo>
                  <a:lnTo>
                    <a:pt x="102" y="29"/>
                  </a:lnTo>
                  <a:lnTo>
                    <a:pt x="93" y="29"/>
                  </a:lnTo>
                  <a:lnTo>
                    <a:pt x="84" y="22"/>
                  </a:lnTo>
                  <a:lnTo>
                    <a:pt x="86" y="18"/>
                  </a:lnTo>
                  <a:lnTo>
                    <a:pt x="84" y="20"/>
                  </a:lnTo>
                  <a:lnTo>
                    <a:pt x="71" y="2"/>
                  </a:lnTo>
                  <a:lnTo>
                    <a:pt x="68" y="0"/>
                  </a:lnTo>
                  <a:lnTo>
                    <a:pt x="63" y="9"/>
                  </a:lnTo>
                  <a:lnTo>
                    <a:pt x="55" y="15"/>
                  </a:lnTo>
                  <a:lnTo>
                    <a:pt x="36" y="8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34" y="15"/>
                  </a:lnTo>
                  <a:lnTo>
                    <a:pt x="36" y="1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1" y="24"/>
                  </a:lnTo>
                  <a:lnTo>
                    <a:pt x="29" y="27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8"/>
                  </a:lnTo>
                  <a:lnTo>
                    <a:pt x="25" y="52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3" y="61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5" y="72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9" y="80"/>
                  </a:lnTo>
                  <a:lnTo>
                    <a:pt x="7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4" y="89"/>
                  </a:lnTo>
                  <a:lnTo>
                    <a:pt x="6" y="93"/>
                  </a:lnTo>
                  <a:lnTo>
                    <a:pt x="9" y="98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31" y="104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45" y="98"/>
                  </a:lnTo>
                  <a:lnTo>
                    <a:pt x="45" y="98"/>
                  </a:lnTo>
                  <a:lnTo>
                    <a:pt x="47" y="96"/>
                  </a:lnTo>
                  <a:lnTo>
                    <a:pt x="47" y="89"/>
                  </a:lnTo>
                  <a:lnTo>
                    <a:pt x="50" y="84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0" y="8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1082860" y="2626295"/>
              <a:ext cx="5134" cy="10839"/>
            </a:xfrm>
            <a:custGeom>
              <a:avLst/>
              <a:gdLst>
                <a:gd name="T0" fmla="*/ 0 w 9"/>
                <a:gd name="T1" fmla="*/ 3 h 19"/>
                <a:gd name="T2" fmla="*/ 0 w 9"/>
                <a:gd name="T3" fmla="*/ 19 h 19"/>
                <a:gd name="T4" fmla="*/ 0 w 9"/>
                <a:gd name="T5" fmla="*/ 19 h 19"/>
                <a:gd name="T6" fmla="*/ 9 w 9"/>
                <a:gd name="T7" fmla="*/ 0 h 19"/>
                <a:gd name="T8" fmla="*/ 0 w 9"/>
                <a:gd name="T9" fmla="*/ 2 h 19"/>
                <a:gd name="T10" fmla="*/ 0 w 9"/>
                <a:gd name="T11" fmla="*/ 3 h 19"/>
                <a:gd name="T12" fmla="*/ 0 w 9"/>
                <a:gd name="T13" fmla="*/ 3 h 19"/>
                <a:gd name="T14" fmla="*/ 0 w 9"/>
                <a:gd name="T15" fmla="*/ 3 h 19"/>
                <a:gd name="T16" fmla="*/ 0 w 9"/>
                <a:gd name="T17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9">
                  <a:moveTo>
                    <a:pt x="0" y="3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auto">
            <a:xfrm>
              <a:off x="974472" y="2426633"/>
              <a:ext cx="109529" cy="103254"/>
            </a:xfrm>
            <a:custGeom>
              <a:avLst/>
              <a:gdLst>
                <a:gd name="T0" fmla="*/ 140 w 192"/>
                <a:gd name="T1" fmla="*/ 154 h 181"/>
                <a:gd name="T2" fmla="*/ 146 w 192"/>
                <a:gd name="T3" fmla="*/ 149 h 181"/>
                <a:gd name="T4" fmla="*/ 146 w 192"/>
                <a:gd name="T5" fmla="*/ 133 h 181"/>
                <a:gd name="T6" fmla="*/ 147 w 192"/>
                <a:gd name="T7" fmla="*/ 129 h 181"/>
                <a:gd name="T8" fmla="*/ 155 w 192"/>
                <a:gd name="T9" fmla="*/ 129 h 181"/>
                <a:gd name="T10" fmla="*/ 162 w 192"/>
                <a:gd name="T11" fmla="*/ 131 h 181"/>
                <a:gd name="T12" fmla="*/ 169 w 192"/>
                <a:gd name="T13" fmla="*/ 129 h 181"/>
                <a:gd name="T14" fmla="*/ 176 w 192"/>
                <a:gd name="T15" fmla="*/ 129 h 181"/>
                <a:gd name="T16" fmla="*/ 179 w 192"/>
                <a:gd name="T17" fmla="*/ 126 h 181"/>
                <a:gd name="T18" fmla="*/ 192 w 192"/>
                <a:gd name="T19" fmla="*/ 120 h 181"/>
                <a:gd name="T20" fmla="*/ 187 w 192"/>
                <a:gd name="T21" fmla="*/ 110 h 181"/>
                <a:gd name="T22" fmla="*/ 183 w 192"/>
                <a:gd name="T23" fmla="*/ 104 h 181"/>
                <a:gd name="T24" fmla="*/ 181 w 192"/>
                <a:gd name="T25" fmla="*/ 97 h 181"/>
                <a:gd name="T26" fmla="*/ 183 w 192"/>
                <a:gd name="T27" fmla="*/ 94 h 181"/>
                <a:gd name="T28" fmla="*/ 190 w 192"/>
                <a:gd name="T29" fmla="*/ 85 h 181"/>
                <a:gd name="T30" fmla="*/ 190 w 192"/>
                <a:gd name="T31" fmla="*/ 71 h 181"/>
                <a:gd name="T32" fmla="*/ 172 w 192"/>
                <a:gd name="T33" fmla="*/ 80 h 181"/>
                <a:gd name="T34" fmla="*/ 151 w 192"/>
                <a:gd name="T35" fmla="*/ 74 h 181"/>
                <a:gd name="T36" fmla="*/ 144 w 192"/>
                <a:gd name="T37" fmla="*/ 51 h 181"/>
                <a:gd name="T38" fmla="*/ 142 w 192"/>
                <a:gd name="T39" fmla="*/ 32 h 181"/>
                <a:gd name="T40" fmla="*/ 139 w 192"/>
                <a:gd name="T41" fmla="*/ 12 h 181"/>
                <a:gd name="T42" fmla="*/ 123 w 192"/>
                <a:gd name="T43" fmla="*/ 10 h 181"/>
                <a:gd name="T44" fmla="*/ 115 w 192"/>
                <a:gd name="T45" fmla="*/ 5 h 181"/>
                <a:gd name="T46" fmla="*/ 105 w 192"/>
                <a:gd name="T47" fmla="*/ 0 h 181"/>
                <a:gd name="T48" fmla="*/ 89 w 192"/>
                <a:gd name="T49" fmla="*/ 3 h 181"/>
                <a:gd name="T50" fmla="*/ 69 w 192"/>
                <a:gd name="T51" fmla="*/ 5 h 181"/>
                <a:gd name="T52" fmla="*/ 43 w 192"/>
                <a:gd name="T53" fmla="*/ 8 h 181"/>
                <a:gd name="T54" fmla="*/ 18 w 192"/>
                <a:gd name="T55" fmla="*/ 28 h 181"/>
                <a:gd name="T56" fmla="*/ 0 w 192"/>
                <a:gd name="T57" fmla="*/ 30 h 181"/>
                <a:gd name="T58" fmla="*/ 25 w 192"/>
                <a:gd name="T59" fmla="*/ 49 h 181"/>
                <a:gd name="T60" fmla="*/ 50 w 192"/>
                <a:gd name="T61" fmla="*/ 85 h 181"/>
                <a:gd name="T62" fmla="*/ 59 w 192"/>
                <a:gd name="T63" fmla="*/ 92 h 181"/>
                <a:gd name="T64" fmla="*/ 60 w 192"/>
                <a:gd name="T65" fmla="*/ 104 h 181"/>
                <a:gd name="T66" fmla="*/ 66 w 192"/>
                <a:gd name="T67" fmla="*/ 106 h 181"/>
                <a:gd name="T68" fmla="*/ 69 w 192"/>
                <a:gd name="T69" fmla="*/ 108 h 181"/>
                <a:gd name="T70" fmla="*/ 75 w 192"/>
                <a:gd name="T71" fmla="*/ 113 h 181"/>
                <a:gd name="T72" fmla="*/ 78 w 192"/>
                <a:gd name="T73" fmla="*/ 110 h 181"/>
                <a:gd name="T74" fmla="*/ 82 w 192"/>
                <a:gd name="T75" fmla="*/ 108 h 181"/>
                <a:gd name="T76" fmla="*/ 91 w 192"/>
                <a:gd name="T77" fmla="*/ 110 h 181"/>
                <a:gd name="T78" fmla="*/ 96 w 192"/>
                <a:gd name="T79" fmla="*/ 120 h 181"/>
                <a:gd name="T80" fmla="*/ 98 w 192"/>
                <a:gd name="T81" fmla="*/ 128 h 181"/>
                <a:gd name="T82" fmla="*/ 98 w 192"/>
                <a:gd name="T83" fmla="*/ 136 h 181"/>
                <a:gd name="T84" fmla="*/ 101 w 192"/>
                <a:gd name="T85" fmla="*/ 136 h 181"/>
                <a:gd name="T86" fmla="*/ 107 w 192"/>
                <a:gd name="T87" fmla="*/ 138 h 181"/>
                <a:gd name="T88" fmla="*/ 107 w 192"/>
                <a:gd name="T89" fmla="*/ 145 h 181"/>
                <a:gd name="T90" fmla="*/ 107 w 192"/>
                <a:gd name="T91" fmla="*/ 149 h 181"/>
                <a:gd name="T92" fmla="*/ 110 w 192"/>
                <a:gd name="T93" fmla="*/ 165 h 181"/>
                <a:gd name="T94" fmla="*/ 115 w 192"/>
                <a:gd name="T95" fmla="*/ 177 h 181"/>
                <a:gd name="T96" fmla="*/ 121 w 192"/>
                <a:gd name="T97" fmla="*/ 172 h 181"/>
                <a:gd name="T98" fmla="*/ 126 w 192"/>
                <a:gd name="T99" fmla="*/ 158 h 181"/>
                <a:gd name="T100" fmla="*/ 130 w 192"/>
                <a:gd name="T101" fmla="*/ 15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2" h="181">
                  <a:moveTo>
                    <a:pt x="130" y="156"/>
                  </a:moveTo>
                  <a:lnTo>
                    <a:pt x="130" y="156"/>
                  </a:lnTo>
                  <a:lnTo>
                    <a:pt x="140" y="154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6" y="138"/>
                  </a:lnTo>
                  <a:lnTo>
                    <a:pt x="146" y="133"/>
                  </a:lnTo>
                  <a:lnTo>
                    <a:pt x="146" y="131"/>
                  </a:lnTo>
                  <a:lnTo>
                    <a:pt x="147" y="129"/>
                  </a:lnTo>
                  <a:lnTo>
                    <a:pt x="147" y="129"/>
                  </a:lnTo>
                  <a:lnTo>
                    <a:pt x="149" y="129"/>
                  </a:lnTo>
                  <a:lnTo>
                    <a:pt x="151" y="129"/>
                  </a:lnTo>
                  <a:lnTo>
                    <a:pt x="155" y="129"/>
                  </a:lnTo>
                  <a:lnTo>
                    <a:pt x="158" y="133"/>
                  </a:lnTo>
                  <a:lnTo>
                    <a:pt x="158" y="133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65" y="131"/>
                  </a:lnTo>
                  <a:lnTo>
                    <a:pt x="169" y="129"/>
                  </a:lnTo>
                  <a:lnTo>
                    <a:pt x="172" y="131"/>
                  </a:lnTo>
                  <a:lnTo>
                    <a:pt x="172" y="131"/>
                  </a:lnTo>
                  <a:lnTo>
                    <a:pt x="176" y="129"/>
                  </a:lnTo>
                  <a:lnTo>
                    <a:pt x="176" y="128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83" y="126"/>
                  </a:lnTo>
                  <a:lnTo>
                    <a:pt x="188" y="126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90" y="115"/>
                  </a:lnTo>
                  <a:lnTo>
                    <a:pt x="187" y="11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4"/>
                  </a:lnTo>
                  <a:lnTo>
                    <a:pt x="183" y="104"/>
                  </a:lnTo>
                  <a:lnTo>
                    <a:pt x="181" y="99"/>
                  </a:lnTo>
                  <a:lnTo>
                    <a:pt x="181" y="97"/>
                  </a:lnTo>
                  <a:lnTo>
                    <a:pt x="181" y="96"/>
                  </a:lnTo>
                  <a:lnTo>
                    <a:pt x="183" y="94"/>
                  </a:lnTo>
                  <a:lnTo>
                    <a:pt x="183" y="94"/>
                  </a:lnTo>
                  <a:lnTo>
                    <a:pt x="190" y="92"/>
                  </a:lnTo>
                  <a:lnTo>
                    <a:pt x="192" y="90"/>
                  </a:lnTo>
                  <a:lnTo>
                    <a:pt x="190" y="85"/>
                  </a:lnTo>
                  <a:lnTo>
                    <a:pt x="181" y="87"/>
                  </a:lnTo>
                  <a:lnTo>
                    <a:pt x="179" y="76"/>
                  </a:lnTo>
                  <a:lnTo>
                    <a:pt x="190" y="71"/>
                  </a:lnTo>
                  <a:lnTo>
                    <a:pt x="187" y="69"/>
                  </a:lnTo>
                  <a:lnTo>
                    <a:pt x="171" y="69"/>
                  </a:lnTo>
                  <a:lnTo>
                    <a:pt x="172" y="80"/>
                  </a:lnTo>
                  <a:lnTo>
                    <a:pt x="167" y="80"/>
                  </a:lnTo>
                  <a:lnTo>
                    <a:pt x="160" y="72"/>
                  </a:lnTo>
                  <a:lnTo>
                    <a:pt x="151" y="74"/>
                  </a:lnTo>
                  <a:lnTo>
                    <a:pt x="142" y="60"/>
                  </a:lnTo>
                  <a:lnTo>
                    <a:pt x="146" y="55"/>
                  </a:lnTo>
                  <a:lnTo>
                    <a:pt x="144" y="51"/>
                  </a:lnTo>
                  <a:lnTo>
                    <a:pt x="139" y="46"/>
                  </a:lnTo>
                  <a:lnTo>
                    <a:pt x="137" y="37"/>
                  </a:lnTo>
                  <a:lnTo>
                    <a:pt x="142" y="32"/>
                  </a:lnTo>
                  <a:lnTo>
                    <a:pt x="140" y="30"/>
                  </a:lnTo>
                  <a:lnTo>
                    <a:pt x="137" y="28"/>
                  </a:lnTo>
                  <a:lnTo>
                    <a:pt x="139" y="12"/>
                  </a:lnTo>
                  <a:lnTo>
                    <a:pt x="135" y="10"/>
                  </a:lnTo>
                  <a:lnTo>
                    <a:pt x="131" y="12"/>
                  </a:lnTo>
                  <a:lnTo>
                    <a:pt x="123" y="10"/>
                  </a:lnTo>
                  <a:lnTo>
                    <a:pt x="121" y="8"/>
                  </a:lnTo>
                  <a:lnTo>
                    <a:pt x="119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99" y="0"/>
                  </a:lnTo>
                  <a:lnTo>
                    <a:pt x="96" y="0"/>
                  </a:lnTo>
                  <a:lnTo>
                    <a:pt x="89" y="3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2" y="3"/>
                  </a:lnTo>
                  <a:lnTo>
                    <a:pt x="43" y="8"/>
                  </a:lnTo>
                  <a:lnTo>
                    <a:pt x="28" y="10"/>
                  </a:lnTo>
                  <a:lnTo>
                    <a:pt x="35" y="24"/>
                  </a:lnTo>
                  <a:lnTo>
                    <a:pt x="18" y="28"/>
                  </a:lnTo>
                  <a:lnTo>
                    <a:pt x="12" y="23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9" y="37"/>
                  </a:lnTo>
                  <a:lnTo>
                    <a:pt x="18" y="37"/>
                  </a:lnTo>
                  <a:lnTo>
                    <a:pt x="25" y="49"/>
                  </a:lnTo>
                  <a:lnTo>
                    <a:pt x="43" y="58"/>
                  </a:lnTo>
                  <a:lnTo>
                    <a:pt x="50" y="69"/>
                  </a:lnTo>
                  <a:lnTo>
                    <a:pt x="50" y="85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60" y="96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6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9" y="106"/>
                  </a:lnTo>
                  <a:lnTo>
                    <a:pt x="69" y="108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5" y="113"/>
                  </a:lnTo>
                  <a:lnTo>
                    <a:pt x="75" y="113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5" y="108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1" y="113"/>
                  </a:lnTo>
                  <a:lnTo>
                    <a:pt x="94" y="117"/>
                  </a:lnTo>
                  <a:lnTo>
                    <a:pt x="96" y="120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8" y="128"/>
                  </a:lnTo>
                  <a:lnTo>
                    <a:pt x="98" y="129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99" y="136"/>
                  </a:lnTo>
                  <a:lnTo>
                    <a:pt x="101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7" y="138"/>
                  </a:lnTo>
                  <a:lnTo>
                    <a:pt x="107" y="140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7" y="149"/>
                  </a:lnTo>
                  <a:lnTo>
                    <a:pt x="108" y="149"/>
                  </a:lnTo>
                  <a:lnTo>
                    <a:pt x="108" y="149"/>
                  </a:lnTo>
                  <a:lnTo>
                    <a:pt x="110" y="165"/>
                  </a:lnTo>
                  <a:lnTo>
                    <a:pt x="110" y="172"/>
                  </a:lnTo>
                  <a:lnTo>
                    <a:pt x="115" y="177"/>
                  </a:lnTo>
                  <a:lnTo>
                    <a:pt x="115" y="177"/>
                  </a:lnTo>
                  <a:lnTo>
                    <a:pt x="115" y="181"/>
                  </a:lnTo>
                  <a:lnTo>
                    <a:pt x="115" y="181"/>
                  </a:lnTo>
                  <a:lnTo>
                    <a:pt x="121" y="172"/>
                  </a:lnTo>
                  <a:lnTo>
                    <a:pt x="121" y="172"/>
                  </a:lnTo>
                  <a:lnTo>
                    <a:pt x="124" y="161"/>
                  </a:lnTo>
                  <a:lnTo>
                    <a:pt x="126" y="158"/>
                  </a:lnTo>
                  <a:lnTo>
                    <a:pt x="130" y="156"/>
                  </a:lnTo>
                  <a:lnTo>
                    <a:pt x="130" y="156"/>
                  </a:lnTo>
                  <a:lnTo>
                    <a:pt x="130" y="156"/>
                  </a:lnTo>
                  <a:lnTo>
                    <a:pt x="130" y="156"/>
                  </a:lnTo>
                  <a:lnTo>
                    <a:pt x="130" y="15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777662" y="2304553"/>
              <a:ext cx="53624" cy="58758"/>
            </a:xfrm>
            <a:custGeom>
              <a:avLst/>
              <a:gdLst>
                <a:gd name="T0" fmla="*/ 48 w 94"/>
                <a:gd name="T1" fmla="*/ 102 h 103"/>
                <a:gd name="T2" fmla="*/ 59 w 94"/>
                <a:gd name="T3" fmla="*/ 102 h 103"/>
                <a:gd name="T4" fmla="*/ 62 w 94"/>
                <a:gd name="T5" fmla="*/ 102 h 103"/>
                <a:gd name="T6" fmla="*/ 66 w 94"/>
                <a:gd name="T7" fmla="*/ 96 h 103"/>
                <a:gd name="T8" fmla="*/ 71 w 94"/>
                <a:gd name="T9" fmla="*/ 91 h 103"/>
                <a:gd name="T10" fmla="*/ 71 w 94"/>
                <a:gd name="T11" fmla="*/ 84 h 103"/>
                <a:gd name="T12" fmla="*/ 71 w 94"/>
                <a:gd name="T13" fmla="*/ 82 h 103"/>
                <a:gd name="T14" fmla="*/ 80 w 94"/>
                <a:gd name="T15" fmla="*/ 82 h 103"/>
                <a:gd name="T16" fmla="*/ 84 w 94"/>
                <a:gd name="T17" fmla="*/ 80 h 103"/>
                <a:gd name="T18" fmla="*/ 87 w 94"/>
                <a:gd name="T19" fmla="*/ 78 h 103"/>
                <a:gd name="T20" fmla="*/ 92 w 94"/>
                <a:gd name="T21" fmla="*/ 75 h 103"/>
                <a:gd name="T22" fmla="*/ 87 w 94"/>
                <a:gd name="T23" fmla="*/ 66 h 103"/>
                <a:gd name="T24" fmla="*/ 87 w 94"/>
                <a:gd name="T25" fmla="*/ 66 h 103"/>
                <a:gd name="T26" fmla="*/ 94 w 94"/>
                <a:gd name="T27" fmla="*/ 61 h 103"/>
                <a:gd name="T28" fmla="*/ 85 w 94"/>
                <a:gd name="T29" fmla="*/ 50 h 103"/>
                <a:gd name="T30" fmla="*/ 80 w 94"/>
                <a:gd name="T31" fmla="*/ 39 h 103"/>
                <a:gd name="T32" fmla="*/ 82 w 94"/>
                <a:gd name="T33" fmla="*/ 32 h 103"/>
                <a:gd name="T34" fmla="*/ 80 w 94"/>
                <a:gd name="T35" fmla="*/ 32 h 103"/>
                <a:gd name="T36" fmla="*/ 78 w 94"/>
                <a:gd name="T37" fmla="*/ 25 h 103"/>
                <a:gd name="T38" fmla="*/ 80 w 94"/>
                <a:gd name="T39" fmla="*/ 22 h 103"/>
                <a:gd name="T40" fmla="*/ 82 w 94"/>
                <a:gd name="T41" fmla="*/ 16 h 103"/>
                <a:gd name="T42" fmla="*/ 80 w 94"/>
                <a:gd name="T43" fmla="*/ 13 h 103"/>
                <a:gd name="T44" fmla="*/ 80 w 94"/>
                <a:gd name="T45" fmla="*/ 7 h 103"/>
                <a:gd name="T46" fmla="*/ 78 w 94"/>
                <a:gd name="T47" fmla="*/ 7 h 103"/>
                <a:gd name="T48" fmla="*/ 71 w 94"/>
                <a:gd name="T49" fmla="*/ 6 h 103"/>
                <a:gd name="T50" fmla="*/ 64 w 94"/>
                <a:gd name="T51" fmla="*/ 2 h 103"/>
                <a:gd name="T52" fmla="*/ 57 w 94"/>
                <a:gd name="T53" fmla="*/ 2 h 103"/>
                <a:gd name="T54" fmla="*/ 48 w 94"/>
                <a:gd name="T55" fmla="*/ 0 h 103"/>
                <a:gd name="T56" fmla="*/ 46 w 94"/>
                <a:gd name="T57" fmla="*/ 0 h 103"/>
                <a:gd name="T58" fmla="*/ 44 w 94"/>
                <a:gd name="T59" fmla="*/ 4 h 103"/>
                <a:gd name="T60" fmla="*/ 43 w 94"/>
                <a:gd name="T61" fmla="*/ 7 h 103"/>
                <a:gd name="T62" fmla="*/ 39 w 94"/>
                <a:gd name="T63" fmla="*/ 6 h 103"/>
                <a:gd name="T64" fmla="*/ 30 w 94"/>
                <a:gd name="T65" fmla="*/ 2 h 103"/>
                <a:gd name="T66" fmla="*/ 25 w 94"/>
                <a:gd name="T67" fmla="*/ 2 h 103"/>
                <a:gd name="T68" fmla="*/ 25 w 94"/>
                <a:gd name="T69" fmla="*/ 6 h 103"/>
                <a:gd name="T70" fmla="*/ 25 w 94"/>
                <a:gd name="T71" fmla="*/ 13 h 103"/>
                <a:gd name="T72" fmla="*/ 21 w 94"/>
                <a:gd name="T73" fmla="*/ 16 h 103"/>
                <a:gd name="T74" fmla="*/ 14 w 94"/>
                <a:gd name="T75" fmla="*/ 16 h 103"/>
                <a:gd name="T76" fmla="*/ 7 w 94"/>
                <a:gd name="T77" fmla="*/ 20 h 103"/>
                <a:gd name="T78" fmla="*/ 0 w 94"/>
                <a:gd name="T79" fmla="*/ 23 h 103"/>
                <a:gd name="T80" fmla="*/ 0 w 94"/>
                <a:gd name="T81" fmla="*/ 23 h 103"/>
                <a:gd name="T82" fmla="*/ 2 w 94"/>
                <a:gd name="T83" fmla="*/ 23 h 103"/>
                <a:gd name="T84" fmla="*/ 7 w 94"/>
                <a:gd name="T85" fmla="*/ 23 h 103"/>
                <a:gd name="T86" fmla="*/ 11 w 94"/>
                <a:gd name="T87" fmla="*/ 23 h 103"/>
                <a:gd name="T88" fmla="*/ 20 w 94"/>
                <a:gd name="T89" fmla="*/ 32 h 103"/>
                <a:gd name="T90" fmla="*/ 21 w 94"/>
                <a:gd name="T91" fmla="*/ 36 h 103"/>
                <a:gd name="T92" fmla="*/ 20 w 94"/>
                <a:gd name="T93" fmla="*/ 39 h 103"/>
                <a:gd name="T94" fmla="*/ 20 w 94"/>
                <a:gd name="T95" fmla="*/ 45 h 103"/>
                <a:gd name="T96" fmla="*/ 21 w 94"/>
                <a:gd name="T97" fmla="*/ 48 h 103"/>
                <a:gd name="T98" fmla="*/ 30 w 94"/>
                <a:gd name="T99" fmla="*/ 54 h 103"/>
                <a:gd name="T100" fmla="*/ 32 w 94"/>
                <a:gd name="T101" fmla="*/ 55 h 103"/>
                <a:gd name="T102" fmla="*/ 32 w 94"/>
                <a:gd name="T103" fmla="*/ 62 h 103"/>
                <a:gd name="T104" fmla="*/ 32 w 94"/>
                <a:gd name="T105" fmla="*/ 70 h 103"/>
                <a:gd name="T106" fmla="*/ 37 w 94"/>
                <a:gd name="T107" fmla="*/ 84 h 103"/>
                <a:gd name="T108" fmla="*/ 37 w 94"/>
                <a:gd name="T109" fmla="*/ 89 h 103"/>
                <a:gd name="T110" fmla="*/ 39 w 94"/>
                <a:gd name="T111" fmla="*/ 98 h 103"/>
                <a:gd name="T112" fmla="*/ 43 w 94"/>
                <a:gd name="T113" fmla="*/ 103 h 103"/>
                <a:gd name="T114" fmla="*/ 43 w 94"/>
                <a:gd name="T115" fmla="*/ 103 h 103"/>
                <a:gd name="T116" fmla="*/ 46 w 94"/>
                <a:gd name="T117" fmla="*/ 103 h 103"/>
                <a:gd name="T118" fmla="*/ 48 w 94"/>
                <a:gd name="T119" fmla="*/ 102 h 103"/>
                <a:gd name="T120" fmla="*/ 48 w 94"/>
                <a:gd name="T121" fmla="*/ 102 h 103"/>
                <a:gd name="T122" fmla="*/ 48 w 94"/>
                <a:gd name="T123" fmla="*/ 10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4" h="103">
                  <a:moveTo>
                    <a:pt x="48" y="102"/>
                  </a:moveTo>
                  <a:lnTo>
                    <a:pt x="48" y="102"/>
                  </a:lnTo>
                  <a:lnTo>
                    <a:pt x="52" y="100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62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71" y="91"/>
                  </a:lnTo>
                  <a:lnTo>
                    <a:pt x="71" y="87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4" y="80"/>
                  </a:lnTo>
                  <a:lnTo>
                    <a:pt x="85" y="78"/>
                  </a:lnTo>
                  <a:lnTo>
                    <a:pt x="87" y="78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89" y="70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92" y="62"/>
                  </a:lnTo>
                  <a:lnTo>
                    <a:pt x="94" y="61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2" y="4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0" y="32"/>
                  </a:lnTo>
                  <a:lnTo>
                    <a:pt x="78" y="27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80" y="22"/>
                  </a:lnTo>
                  <a:lnTo>
                    <a:pt x="82" y="20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0" y="13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6" y="7"/>
                  </a:lnTo>
                  <a:lnTo>
                    <a:pt x="71" y="6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57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39" y="6"/>
                  </a:lnTo>
                  <a:lnTo>
                    <a:pt x="36" y="6"/>
                  </a:lnTo>
                  <a:lnTo>
                    <a:pt x="30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6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1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1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7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6" y="27"/>
                  </a:lnTo>
                  <a:lnTo>
                    <a:pt x="20" y="32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8"/>
                  </a:lnTo>
                  <a:lnTo>
                    <a:pt x="20" y="39"/>
                  </a:lnTo>
                  <a:lnTo>
                    <a:pt x="18" y="43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1" y="48"/>
                  </a:lnTo>
                  <a:lnTo>
                    <a:pt x="25" y="50"/>
                  </a:lnTo>
                  <a:lnTo>
                    <a:pt x="30" y="54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2" y="59"/>
                  </a:lnTo>
                  <a:lnTo>
                    <a:pt x="32" y="62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6" y="78"/>
                  </a:lnTo>
                  <a:lnTo>
                    <a:pt x="37" y="84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96"/>
                  </a:lnTo>
                  <a:lnTo>
                    <a:pt x="39" y="98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6" y="103"/>
                  </a:lnTo>
                  <a:lnTo>
                    <a:pt x="46" y="103"/>
                  </a:lnTo>
                  <a:lnTo>
                    <a:pt x="46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17"/>
            <p:cNvSpPr>
              <a:spLocks/>
            </p:cNvSpPr>
            <p:nvPr/>
          </p:nvSpPr>
          <p:spPr bwMode="auto">
            <a:xfrm>
              <a:off x="803903" y="2261198"/>
              <a:ext cx="67885" cy="50771"/>
            </a:xfrm>
            <a:custGeom>
              <a:avLst/>
              <a:gdLst>
                <a:gd name="T0" fmla="*/ 34 w 119"/>
                <a:gd name="T1" fmla="*/ 83 h 89"/>
                <a:gd name="T2" fmla="*/ 39 w 119"/>
                <a:gd name="T3" fmla="*/ 82 h 89"/>
                <a:gd name="T4" fmla="*/ 48 w 119"/>
                <a:gd name="T5" fmla="*/ 78 h 89"/>
                <a:gd name="T6" fmla="*/ 66 w 119"/>
                <a:gd name="T7" fmla="*/ 78 h 89"/>
                <a:gd name="T8" fmla="*/ 71 w 119"/>
                <a:gd name="T9" fmla="*/ 80 h 89"/>
                <a:gd name="T10" fmla="*/ 84 w 119"/>
                <a:gd name="T11" fmla="*/ 89 h 89"/>
                <a:gd name="T12" fmla="*/ 87 w 119"/>
                <a:gd name="T13" fmla="*/ 83 h 89"/>
                <a:gd name="T14" fmla="*/ 91 w 119"/>
                <a:gd name="T15" fmla="*/ 82 h 89"/>
                <a:gd name="T16" fmla="*/ 98 w 119"/>
                <a:gd name="T17" fmla="*/ 83 h 89"/>
                <a:gd name="T18" fmla="*/ 107 w 119"/>
                <a:gd name="T19" fmla="*/ 82 h 89"/>
                <a:gd name="T20" fmla="*/ 110 w 119"/>
                <a:gd name="T21" fmla="*/ 80 h 89"/>
                <a:gd name="T22" fmla="*/ 110 w 119"/>
                <a:gd name="T23" fmla="*/ 76 h 89"/>
                <a:gd name="T24" fmla="*/ 119 w 119"/>
                <a:gd name="T25" fmla="*/ 66 h 89"/>
                <a:gd name="T26" fmla="*/ 119 w 119"/>
                <a:gd name="T27" fmla="*/ 58 h 89"/>
                <a:gd name="T28" fmla="*/ 119 w 119"/>
                <a:gd name="T29" fmla="*/ 58 h 89"/>
                <a:gd name="T30" fmla="*/ 118 w 119"/>
                <a:gd name="T31" fmla="*/ 51 h 89"/>
                <a:gd name="T32" fmla="*/ 116 w 119"/>
                <a:gd name="T33" fmla="*/ 48 h 89"/>
                <a:gd name="T34" fmla="*/ 103 w 119"/>
                <a:gd name="T35" fmla="*/ 39 h 89"/>
                <a:gd name="T36" fmla="*/ 100 w 119"/>
                <a:gd name="T37" fmla="*/ 32 h 89"/>
                <a:gd name="T38" fmla="*/ 94 w 119"/>
                <a:gd name="T39" fmla="*/ 23 h 89"/>
                <a:gd name="T40" fmla="*/ 93 w 119"/>
                <a:gd name="T41" fmla="*/ 21 h 89"/>
                <a:gd name="T42" fmla="*/ 89 w 119"/>
                <a:gd name="T43" fmla="*/ 23 h 89"/>
                <a:gd name="T44" fmla="*/ 71 w 119"/>
                <a:gd name="T45" fmla="*/ 21 h 89"/>
                <a:gd name="T46" fmla="*/ 62 w 119"/>
                <a:gd name="T47" fmla="*/ 23 h 89"/>
                <a:gd name="T48" fmla="*/ 59 w 119"/>
                <a:gd name="T49" fmla="*/ 23 h 89"/>
                <a:gd name="T50" fmla="*/ 55 w 119"/>
                <a:gd name="T51" fmla="*/ 16 h 89"/>
                <a:gd name="T52" fmla="*/ 48 w 119"/>
                <a:gd name="T53" fmla="*/ 19 h 89"/>
                <a:gd name="T54" fmla="*/ 41 w 119"/>
                <a:gd name="T55" fmla="*/ 16 h 89"/>
                <a:gd name="T56" fmla="*/ 36 w 119"/>
                <a:gd name="T57" fmla="*/ 3 h 89"/>
                <a:gd name="T58" fmla="*/ 29 w 119"/>
                <a:gd name="T59" fmla="*/ 2 h 89"/>
                <a:gd name="T60" fmla="*/ 25 w 119"/>
                <a:gd name="T61" fmla="*/ 9 h 89"/>
                <a:gd name="T62" fmla="*/ 25 w 119"/>
                <a:gd name="T63" fmla="*/ 10 h 89"/>
                <a:gd name="T64" fmla="*/ 13 w 119"/>
                <a:gd name="T65" fmla="*/ 10 h 89"/>
                <a:gd name="T66" fmla="*/ 7 w 119"/>
                <a:gd name="T67" fmla="*/ 10 h 89"/>
                <a:gd name="T68" fmla="*/ 11 w 119"/>
                <a:gd name="T69" fmla="*/ 14 h 89"/>
                <a:gd name="T70" fmla="*/ 9 w 119"/>
                <a:gd name="T71" fmla="*/ 23 h 89"/>
                <a:gd name="T72" fmla="*/ 9 w 119"/>
                <a:gd name="T73" fmla="*/ 28 h 89"/>
                <a:gd name="T74" fmla="*/ 13 w 119"/>
                <a:gd name="T75" fmla="*/ 39 h 89"/>
                <a:gd name="T76" fmla="*/ 9 w 119"/>
                <a:gd name="T77" fmla="*/ 50 h 89"/>
                <a:gd name="T78" fmla="*/ 0 w 119"/>
                <a:gd name="T79" fmla="*/ 57 h 89"/>
                <a:gd name="T80" fmla="*/ 0 w 119"/>
                <a:gd name="T81" fmla="*/ 66 h 89"/>
                <a:gd name="T82" fmla="*/ 6 w 119"/>
                <a:gd name="T83" fmla="*/ 73 h 89"/>
                <a:gd name="T84" fmla="*/ 2 w 119"/>
                <a:gd name="T85" fmla="*/ 76 h 89"/>
                <a:gd name="T86" fmla="*/ 18 w 119"/>
                <a:gd name="T87" fmla="*/ 78 h 89"/>
                <a:gd name="T88" fmla="*/ 25 w 119"/>
                <a:gd name="T89" fmla="*/ 82 h 89"/>
                <a:gd name="T90" fmla="*/ 32 w 119"/>
                <a:gd name="T91" fmla="*/ 83 h 89"/>
                <a:gd name="T92" fmla="*/ 32 w 119"/>
                <a:gd name="T93" fmla="*/ 8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9" h="89">
                  <a:moveTo>
                    <a:pt x="32" y="83"/>
                  </a:moveTo>
                  <a:lnTo>
                    <a:pt x="32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8" y="83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41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9" y="78"/>
                  </a:lnTo>
                  <a:lnTo>
                    <a:pt x="66" y="78"/>
                  </a:lnTo>
                  <a:lnTo>
                    <a:pt x="70" y="78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8" y="85"/>
                  </a:lnTo>
                  <a:lnTo>
                    <a:pt x="80" y="89"/>
                  </a:lnTo>
                  <a:lnTo>
                    <a:pt x="84" y="89"/>
                  </a:lnTo>
                  <a:lnTo>
                    <a:pt x="84" y="89"/>
                  </a:lnTo>
                  <a:lnTo>
                    <a:pt x="84" y="85"/>
                  </a:lnTo>
                  <a:lnTo>
                    <a:pt x="87" y="83"/>
                  </a:lnTo>
                  <a:lnTo>
                    <a:pt x="89" y="82"/>
                  </a:lnTo>
                  <a:lnTo>
                    <a:pt x="91" y="82"/>
                  </a:lnTo>
                  <a:lnTo>
                    <a:pt x="91" y="82"/>
                  </a:lnTo>
                  <a:lnTo>
                    <a:pt x="93" y="82"/>
                  </a:lnTo>
                  <a:lnTo>
                    <a:pt x="94" y="83"/>
                  </a:lnTo>
                  <a:lnTo>
                    <a:pt x="98" y="83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7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0" y="80"/>
                  </a:lnTo>
                  <a:lnTo>
                    <a:pt x="110" y="80"/>
                  </a:lnTo>
                  <a:lnTo>
                    <a:pt x="110" y="78"/>
                  </a:lnTo>
                  <a:lnTo>
                    <a:pt x="110" y="76"/>
                  </a:lnTo>
                  <a:lnTo>
                    <a:pt x="118" y="71"/>
                  </a:lnTo>
                  <a:lnTo>
                    <a:pt x="118" y="71"/>
                  </a:lnTo>
                  <a:lnTo>
                    <a:pt x="119" y="66"/>
                  </a:lnTo>
                  <a:lnTo>
                    <a:pt x="119" y="64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8" y="51"/>
                  </a:lnTo>
                  <a:lnTo>
                    <a:pt x="118" y="50"/>
                  </a:lnTo>
                  <a:lnTo>
                    <a:pt x="118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09" y="42"/>
                  </a:lnTo>
                  <a:lnTo>
                    <a:pt x="103" y="39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0" y="32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4" y="23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3" y="23"/>
                  </a:lnTo>
                  <a:lnTo>
                    <a:pt x="89" y="23"/>
                  </a:lnTo>
                  <a:lnTo>
                    <a:pt x="80" y="23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0" y="21"/>
                  </a:lnTo>
                  <a:lnTo>
                    <a:pt x="68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39" y="7"/>
                  </a:lnTo>
                  <a:lnTo>
                    <a:pt x="36" y="3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0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9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8"/>
                  </a:lnTo>
                  <a:lnTo>
                    <a:pt x="9" y="32"/>
                  </a:lnTo>
                  <a:lnTo>
                    <a:pt x="13" y="35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44"/>
                  </a:lnTo>
                  <a:lnTo>
                    <a:pt x="9" y="50"/>
                  </a:lnTo>
                  <a:lnTo>
                    <a:pt x="6" y="53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6" y="73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1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0" y="78"/>
                  </a:lnTo>
                  <a:lnTo>
                    <a:pt x="25" y="82"/>
                  </a:lnTo>
                  <a:lnTo>
                    <a:pt x="30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>
              <a:off x="833567" y="2374721"/>
              <a:ext cx="61610" cy="65033"/>
            </a:xfrm>
            <a:custGeom>
              <a:avLst/>
              <a:gdLst>
                <a:gd name="T0" fmla="*/ 85 w 108"/>
                <a:gd name="T1" fmla="*/ 99 h 114"/>
                <a:gd name="T2" fmla="*/ 85 w 108"/>
                <a:gd name="T3" fmla="*/ 96 h 114"/>
                <a:gd name="T4" fmla="*/ 89 w 108"/>
                <a:gd name="T5" fmla="*/ 64 h 114"/>
                <a:gd name="T6" fmla="*/ 92 w 108"/>
                <a:gd name="T7" fmla="*/ 53 h 114"/>
                <a:gd name="T8" fmla="*/ 98 w 108"/>
                <a:gd name="T9" fmla="*/ 48 h 114"/>
                <a:gd name="T10" fmla="*/ 96 w 108"/>
                <a:gd name="T11" fmla="*/ 43 h 114"/>
                <a:gd name="T12" fmla="*/ 101 w 108"/>
                <a:gd name="T13" fmla="*/ 37 h 114"/>
                <a:gd name="T14" fmla="*/ 105 w 108"/>
                <a:gd name="T15" fmla="*/ 32 h 114"/>
                <a:gd name="T16" fmla="*/ 108 w 108"/>
                <a:gd name="T17" fmla="*/ 34 h 114"/>
                <a:gd name="T18" fmla="*/ 103 w 108"/>
                <a:gd name="T19" fmla="*/ 27 h 114"/>
                <a:gd name="T20" fmla="*/ 92 w 108"/>
                <a:gd name="T21" fmla="*/ 18 h 114"/>
                <a:gd name="T22" fmla="*/ 89 w 108"/>
                <a:gd name="T23" fmla="*/ 18 h 114"/>
                <a:gd name="T24" fmla="*/ 82 w 108"/>
                <a:gd name="T25" fmla="*/ 21 h 114"/>
                <a:gd name="T26" fmla="*/ 80 w 108"/>
                <a:gd name="T27" fmla="*/ 21 h 114"/>
                <a:gd name="T28" fmla="*/ 76 w 108"/>
                <a:gd name="T29" fmla="*/ 19 h 114"/>
                <a:gd name="T30" fmla="*/ 76 w 108"/>
                <a:gd name="T31" fmla="*/ 14 h 114"/>
                <a:gd name="T32" fmla="*/ 76 w 108"/>
                <a:gd name="T33" fmla="*/ 12 h 114"/>
                <a:gd name="T34" fmla="*/ 71 w 108"/>
                <a:gd name="T35" fmla="*/ 7 h 114"/>
                <a:gd name="T36" fmla="*/ 66 w 108"/>
                <a:gd name="T37" fmla="*/ 3 h 114"/>
                <a:gd name="T38" fmla="*/ 57 w 108"/>
                <a:gd name="T39" fmla="*/ 2 h 114"/>
                <a:gd name="T40" fmla="*/ 48 w 108"/>
                <a:gd name="T41" fmla="*/ 0 h 114"/>
                <a:gd name="T42" fmla="*/ 28 w 108"/>
                <a:gd name="T43" fmla="*/ 14 h 114"/>
                <a:gd name="T44" fmla="*/ 19 w 108"/>
                <a:gd name="T45" fmla="*/ 19 h 114"/>
                <a:gd name="T46" fmla="*/ 18 w 108"/>
                <a:gd name="T47" fmla="*/ 27 h 114"/>
                <a:gd name="T48" fmla="*/ 16 w 108"/>
                <a:gd name="T49" fmla="*/ 41 h 114"/>
                <a:gd name="T50" fmla="*/ 16 w 108"/>
                <a:gd name="T51" fmla="*/ 44 h 114"/>
                <a:gd name="T52" fmla="*/ 16 w 108"/>
                <a:gd name="T53" fmla="*/ 50 h 114"/>
                <a:gd name="T54" fmla="*/ 14 w 108"/>
                <a:gd name="T55" fmla="*/ 50 h 114"/>
                <a:gd name="T56" fmla="*/ 2 w 108"/>
                <a:gd name="T57" fmla="*/ 57 h 114"/>
                <a:gd name="T58" fmla="*/ 5 w 108"/>
                <a:gd name="T59" fmla="*/ 64 h 114"/>
                <a:gd name="T60" fmla="*/ 7 w 108"/>
                <a:gd name="T61" fmla="*/ 76 h 114"/>
                <a:gd name="T62" fmla="*/ 10 w 108"/>
                <a:gd name="T63" fmla="*/ 83 h 114"/>
                <a:gd name="T64" fmla="*/ 16 w 108"/>
                <a:gd name="T65" fmla="*/ 89 h 114"/>
                <a:gd name="T66" fmla="*/ 18 w 108"/>
                <a:gd name="T67" fmla="*/ 96 h 114"/>
                <a:gd name="T68" fmla="*/ 19 w 108"/>
                <a:gd name="T69" fmla="*/ 101 h 114"/>
                <a:gd name="T70" fmla="*/ 23 w 108"/>
                <a:gd name="T71" fmla="*/ 105 h 114"/>
                <a:gd name="T72" fmla="*/ 25 w 108"/>
                <a:gd name="T73" fmla="*/ 108 h 114"/>
                <a:gd name="T74" fmla="*/ 28 w 108"/>
                <a:gd name="T75" fmla="*/ 110 h 114"/>
                <a:gd name="T76" fmla="*/ 35 w 108"/>
                <a:gd name="T77" fmla="*/ 114 h 114"/>
                <a:gd name="T78" fmla="*/ 42 w 108"/>
                <a:gd name="T79" fmla="*/ 110 h 114"/>
                <a:gd name="T80" fmla="*/ 58 w 108"/>
                <a:gd name="T81" fmla="*/ 103 h 114"/>
                <a:gd name="T82" fmla="*/ 66 w 108"/>
                <a:gd name="T83" fmla="*/ 101 h 114"/>
                <a:gd name="T84" fmla="*/ 71 w 108"/>
                <a:gd name="T85" fmla="*/ 101 h 114"/>
                <a:gd name="T86" fmla="*/ 80 w 108"/>
                <a:gd name="T87" fmla="*/ 98 h 114"/>
                <a:gd name="T88" fmla="*/ 82 w 108"/>
                <a:gd name="T89" fmla="*/ 98 h 114"/>
                <a:gd name="T90" fmla="*/ 85 w 108"/>
                <a:gd name="T91" fmla="*/ 99 h 114"/>
                <a:gd name="T92" fmla="*/ 85 w 108"/>
                <a:gd name="T93" fmla="*/ 99 h 114"/>
                <a:gd name="T94" fmla="*/ 85 w 108"/>
                <a:gd name="T95" fmla="*/ 9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8" h="114">
                  <a:moveTo>
                    <a:pt x="85" y="99"/>
                  </a:moveTo>
                  <a:lnTo>
                    <a:pt x="85" y="99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92" y="57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8" y="48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8" y="41"/>
                  </a:lnTo>
                  <a:lnTo>
                    <a:pt x="101" y="37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3" y="27"/>
                  </a:lnTo>
                  <a:lnTo>
                    <a:pt x="98" y="19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9" y="18"/>
                  </a:lnTo>
                  <a:lnTo>
                    <a:pt x="87" y="19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78" y="21"/>
                  </a:lnTo>
                  <a:lnTo>
                    <a:pt x="76" y="19"/>
                  </a:lnTo>
                  <a:lnTo>
                    <a:pt x="73" y="16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1" y="7"/>
                  </a:lnTo>
                  <a:lnTo>
                    <a:pt x="67" y="5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57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32" y="9"/>
                  </a:lnTo>
                  <a:lnTo>
                    <a:pt x="28" y="14"/>
                  </a:lnTo>
                  <a:lnTo>
                    <a:pt x="25" y="16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27"/>
                  </a:lnTo>
                  <a:lnTo>
                    <a:pt x="16" y="34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7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5" y="64"/>
                  </a:lnTo>
                  <a:lnTo>
                    <a:pt x="0" y="73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6" y="89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9"/>
                  </a:lnTo>
                  <a:lnTo>
                    <a:pt x="19" y="101"/>
                  </a:lnTo>
                  <a:lnTo>
                    <a:pt x="21" y="101"/>
                  </a:lnTo>
                  <a:lnTo>
                    <a:pt x="23" y="105"/>
                  </a:lnTo>
                  <a:lnTo>
                    <a:pt x="23" y="105"/>
                  </a:lnTo>
                  <a:lnTo>
                    <a:pt x="25" y="108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30" y="114"/>
                  </a:lnTo>
                  <a:lnTo>
                    <a:pt x="35" y="114"/>
                  </a:lnTo>
                  <a:lnTo>
                    <a:pt x="35" y="114"/>
                  </a:lnTo>
                  <a:lnTo>
                    <a:pt x="42" y="110"/>
                  </a:lnTo>
                  <a:lnTo>
                    <a:pt x="50" y="107"/>
                  </a:lnTo>
                  <a:lnTo>
                    <a:pt x="58" y="103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6" y="99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2" y="98"/>
                  </a:lnTo>
                  <a:lnTo>
                    <a:pt x="85" y="98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auto">
            <a:xfrm>
              <a:off x="859809" y="2146535"/>
              <a:ext cx="90133" cy="82147"/>
            </a:xfrm>
            <a:custGeom>
              <a:avLst/>
              <a:gdLst>
                <a:gd name="T0" fmla="*/ 30 w 158"/>
                <a:gd name="T1" fmla="*/ 92 h 144"/>
                <a:gd name="T2" fmla="*/ 43 w 158"/>
                <a:gd name="T3" fmla="*/ 96 h 144"/>
                <a:gd name="T4" fmla="*/ 59 w 158"/>
                <a:gd name="T5" fmla="*/ 103 h 144"/>
                <a:gd name="T6" fmla="*/ 62 w 158"/>
                <a:gd name="T7" fmla="*/ 108 h 144"/>
                <a:gd name="T8" fmla="*/ 68 w 158"/>
                <a:gd name="T9" fmla="*/ 107 h 144"/>
                <a:gd name="T10" fmla="*/ 85 w 158"/>
                <a:gd name="T11" fmla="*/ 103 h 144"/>
                <a:gd name="T12" fmla="*/ 92 w 158"/>
                <a:gd name="T13" fmla="*/ 103 h 144"/>
                <a:gd name="T14" fmla="*/ 98 w 158"/>
                <a:gd name="T15" fmla="*/ 101 h 144"/>
                <a:gd name="T16" fmla="*/ 105 w 158"/>
                <a:gd name="T17" fmla="*/ 110 h 144"/>
                <a:gd name="T18" fmla="*/ 110 w 158"/>
                <a:gd name="T19" fmla="*/ 119 h 144"/>
                <a:gd name="T20" fmla="*/ 116 w 158"/>
                <a:gd name="T21" fmla="*/ 123 h 144"/>
                <a:gd name="T22" fmla="*/ 119 w 158"/>
                <a:gd name="T23" fmla="*/ 128 h 144"/>
                <a:gd name="T24" fmla="*/ 135 w 158"/>
                <a:gd name="T25" fmla="*/ 133 h 144"/>
                <a:gd name="T26" fmla="*/ 142 w 158"/>
                <a:gd name="T27" fmla="*/ 139 h 144"/>
                <a:gd name="T28" fmla="*/ 155 w 158"/>
                <a:gd name="T29" fmla="*/ 144 h 144"/>
                <a:gd name="T30" fmla="*/ 158 w 158"/>
                <a:gd name="T31" fmla="*/ 142 h 144"/>
                <a:gd name="T32" fmla="*/ 156 w 158"/>
                <a:gd name="T33" fmla="*/ 130 h 144"/>
                <a:gd name="T34" fmla="*/ 153 w 158"/>
                <a:gd name="T35" fmla="*/ 117 h 144"/>
                <a:gd name="T36" fmla="*/ 148 w 158"/>
                <a:gd name="T37" fmla="*/ 112 h 144"/>
                <a:gd name="T38" fmla="*/ 151 w 158"/>
                <a:gd name="T39" fmla="*/ 101 h 144"/>
                <a:gd name="T40" fmla="*/ 153 w 158"/>
                <a:gd name="T41" fmla="*/ 89 h 144"/>
                <a:gd name="T42" fmla="*/ 146 w 158"/>
                <a:gd name="T43" fmla="*/ 76 h 144"/>
                <a:gd name="T44" fmla="*/ 148 w 158"/>
                <a:gd name="T45" fmla="*/ 67 h 144"/>
                <a:gd name="T46" fmla="*/ 148 w 158"/>
                <a:gd name="T47" fmla="*/ 60 h 144"/>
                <a:gd name="T48" fmla="*/ 142 w 158"/>
                <a:gd name="T49" fmla="*/ 57 h 144"/>
                <a:gd name="T50" fmla="*/ 139 w 158"/>
                <a:gd name="T51" fmla="*/ 48 h 144"/>
                <a:gd name="T52" fmla="*/ 132 w 158"/>
                <a:gd name="T53" fmla="*/ 48 h 144"/>
                <a:gd name="T54" fmla="*/ 123 w 158"/>
                <a:gd name="T55" fmla="*/ 50 h 144"/>
                <a:gd name="T56" fmla="*/ 123 w 158"/>
                <a:gd name="T57" fmla="*/ 35 h 144"/>
                <a:gd name="T58" fmla="*/ 123 w 158"/>
                <a:gd name="T59" fmla="*/ 27 h 144"/>
                <a:gd name="T60" fmla="*/ 117 w 158"/>
                <a:gd name="T61" fmla="*/ 16 h 144"/>
                <a:gd name="T62" fmla="*/ 110 w 158"/>
                <a:gd name="T63" fmla="*/ 19 h 144"/>
                <a:gd name="T64" fmla="*/ 100 w 158"/>
                <a:gd name="T65" fmla="*/ 16 h 144"/>
                <a:gd name="T66" fmla="*/ 94 w 158"/>
                <a:gd name="T67" fmla="*/ 12 h 144"/>
                <a:gd name="T68" fmla="*/ 84 w 158"/>
                <a:gd name="T69" fmla="*/ 12 h 144"/>
                <a:gd name="T70" fmla="*/ 75 w 158"/>
                <a:gd name="T71" fmla="*/ 5 h 144"/>
                <a:gd name="T72" fmla="*/ 73 w 158"/>
                <a:gd name="T73" fmla="*/ 0 h 144"/>
                <a:gd name="T74" fmla="*/ 64 w 158"/>
                <a:gd name="T75" fmla="*/ 3 h 144"/>
                <a:gd name="T76" fmla="*/ 60 w 158"/>
                <a:gd name="T77" fmla="*/ 7 h 144"/>
                <a:gd name="T78" fmla="*/ 55 w 158"/>
                <a:gd name="T79" fmla="*/ 5 h 144"/>
                <a:gd name="T80" fmla="*/ 52 w 158"/>
                <a:gd name="T81" fmla="*/ 3 h 144"/>
                <a:gd name="T82" fmla="*/ 41 w 158"/>
                <a:gd name="T83" fmla="*/ 3 h 144"/>
                <a:gd name="T84" fmla="*/ 36 w 158"/>
                <a:gd name="T85" fmla="*/ 5 h 144"/>
                <a:gd name="T86" fmla="*/ 36 w 158"/>
                <a:gd name="T87" fmla="*/ 12 h 144"/>
                <a:gd name="T88" fmla="*/ 36 w 158"/>
                <a:gd name="T89" fmla="*/ 21 h 144"/>
                <a:gd name="T90" fmla="*/ 37 w 158"/>
                <a:gd name="T91" fmla="*/ 28 h 144"/>
                <a:gd name="T92" fmla="*/ 34 w 158"/>
                <a:gd name="T93" fmla="*/ 35 h 144"/>
                <a:gd name="T94" fmla="*/ 25 w 158"/>
                <a:gd name="T95" fmla="*/ 44 h 144"/>
                <a:gd name="T96" fmla="*/ 20 w 158"/>
                <a:gd name="T97" fmla="*/ 41 h 144"/>
                <a:gd name="T98" fmla="*/ 16 w 158"/>
                <a:gd name="T99" fmla="*/ 44 h 144"/>
                <a:gd name="T100" fmla="*/ 12 w 158"/>
                <a:gd name="T101" fmla="*/ 51 h 144"/>
                <a:gd name="T102" fmla="*/ 11 w 158"/>
                <a:gd name="T103" fmla="*/ 53 h 144"/>
                <a:gd name="T104" fmla="*/ 2 w 158"/>
                <a:gd name="T105" fmla="*/ 55 h 144"/>
                <a:gd name="T106" fmla="*/ 0 w 158"/>
                <a:gd name="T107" fmla="*/ 62 h 144"/>
                <a:gd name="T108" fmla="*/ 2 w 158"/>
                <a:gd name="T109" fmla="*/ 67 h 144"/>
                <a:gd name="T110" fmla="*/ 5 w 158"/>
                <a:gd name="T111" fmla="*/ 73 h 144"/>
                <a:gd name="T112" fmla="*/ 23 w 158"/>
                <a:gd name="T113" fmla="*/ 89 h 144"/>
                <a:gd name="T114" fmla="*/ 23 w 158"/>
                <a:gd name="T115" fmla="*/ 8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144">
                  <a:moveTo>
                    <a:pt x="23" y="89"/>
                  </a:moveTo>
                  <a:lnTo>
                    <a:pt x="23" y="89"/>
                  </a:lnTo>
                  <a:lnTo>
                    <a:pt x="30" y="92"/>
                  </a:lnTo>
                  <a:lnTo>
                    <a:pt x="34" y="94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50" y="99"/>
                  </a:lnTo>
                  <a:lnTo>
                    <a:pt x="53" y="99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0" y="108"/>
                  </a:lnTo>
                  <a:lnTo>
                    <a:pt x="62" y="108"/>
                  </a:lnTo>
                  <a:lnTo>
                    <a:pt x="66" y="108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75" y="103"/>
                  </a:lnTo>
                  <a:lnTo>
                    <a:pt x="78" y="103"/>
                  </a:lnTo>
                  <a:lnTo>
                    <a:pt x="85" y="103"/>
                  </a:lnTo>
                  <a:lnTo>
                    <a:pt x="85" y="103"/>
                  </a:lnTo>
                  <a:lnTo>
                    <a:pt x="91" y="103"/>
                  </a:lnTo>
                  <a:lnTo>
                    <a:pt x="92" y="103"/>
                  </a:lnTo>
                  <a:lnTo>
                    <a:pt x="94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101" y="103"/>
                  </a:lnTo>
                  <a:lnTo>
                    <a:pt x="103" y="103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7" y="117"/>
                  </a:lnTo>
                  <a:lnTo>
                    <a:pt x="110" y="119"/>
                  </a:lnTo>
                  <a:lnTo>
                    <a:pt x="112" y="123"/>
                  </a:lnTo>
                  <a:lnTo>
                    <a:pt x="112" y="123"/>
                  </a:lnTo>
                  <a:lnTo>
                    <a:pt x="116" y="123"/>
                  </a:lnTo>
                  <a:lnTo>
                    <a:pt x="117" y="126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23" y="130"/>
                  </a:lnTo>
                  <a:lnTo>
                    <a:pt x="126" y="131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9" y="135"/>
                  </a:lnTo>
                  <a:lnTo>
                    <a:pt x="142" y="139"/>
                  </a:lnTo>
                  <a:lnTo>
                    <a:pt x="151" y="142"/>
                  </a:lnTo>
                  <a:lnTo>
                    <a:pt x="151" y="142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6" y="142"/>
                  </a:lnTo>
                  <a:lnTo>
                    <a:pt x="158" y="142"/>
                  </a:lnTo>
                  <a:lnTo>
                    <a:pt x="158" y="139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56" y="123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1" y="115"/>
                  </a:lnTo>
                  <a:lnTo>
                    <a:pt x="151" y="115"/>
                  </a:lnTo>
                  <a:lnTo>
                    <a:pt x="148" y="112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51" y="101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3" y="89"/>
                  </a:lnTo>
                  <a:lnTo>
                    <a:pt x="151" y="80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4" y="75"/>
                  </a:lnTo>
                  <a:lnTo>
                    <a:pt x="146" y="73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8" y="62"/>
                  </a:lnTo>
                  <a:lnTo>
                    <a:pt x="148" y="60"/>
                  </a:lnTo>
                  <a:lnTo>
                    <a:pt x="146" y="5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2" y="55"/>
                  </a:lnTo>
                  <a:lnTo>
                    <a:pt x="140" y="51"/>
                  </a:lnTo>
                  <a:lnTo>
                    <a:pt x="139" y="48"/>
                  </a:lnTo>
                  <a:lnTo>
                    <a:pt x="137" y="46"/>
                  </a:lnTo>
                  <a:lnTo>
                    <a:pt x="137" y="46"/>
                  </a:lnTo>
                  <a:lnTo>
                    <a:pt x="132" y="48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3" y="50"/>
                  </a:lnTo>
                  <a:lnTo>
                    <a:pt x="123" y="48"/>
                  </a:lnTo>
                  <a:lnTo>
                    <a:pt x="123" y="46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2"/>
                  </a:lnTo>
                  <a:lnTo>
                    <a:pt x="123" y="27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7" y="16"/>
                  </a:lnTo>
                  <a:lnTo>
                    <a:pt x="116" y="16"/>
                  </a:lnTo>
                  <a:lnTo>
                    <a:pt x="110" y="19"/>
                  </a:lnTo>
                  <a:lnTo>
                    <a:pt x="110" y="19"/>
                  </a:lnTo>
                  <a:lnTo>
                    <a:pt x="107" y="21"/>
                  </a:lnTo>
                  <a:lnTo>
                    <a:pt x="103" y="19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4" y="12"/>
                  </a:lnTo>
                  <a:lnTo>
                    <a:pt x="87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0" y="12"/>
                  </a:lnTo>
                  <a:lnTo>
                    <a:pt x="76" y="9"/>
                  </a:lnTo>
                  <a:lnTo>
                    <a:pt x="75" y="5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6" y="0"/>
                  </a:lnTo>
                  <a:lnTo>
                    <a:pt x="64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7"/>
                  </a:lnTo>
                  <a:lnTo>
                    <a:pt x="59" y="7"/>
                  </a:lnTo>
                  <a:lnTo>
                    <a:pt x="57" y="5"/>
                  </a:lnTo>
                  <a:lnTo>
                    <a:pt x="55" y="5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37" y="3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2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21"/>
                  </a:lnTo>
                  <a:lnTo>
                    <a:pt x="36" y="25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32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0" y="39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0" y="41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5" y="53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0" y="59"/>
                  </a:lnTo>
                  <a:lnTo>
                    <a:pt x="0" y="62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9" y="76"/>
                  </a:lnTo>
                  <a:lnTo>
                    <a:pt x="12" y="78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auto">
            <a:xfrm>
              <a:off x="965345" y="2399251"/>
              <a:ext cx="48489" cy="43355"/>
            </a:xfrm>
            <a:custGeom>
              <a:avLst/>
              <a:gdLst>
                <a:gd name="T0" fmla="*/ 82 w 85"/>
                <a:gd name="T1" fmla="*/ 37 h 76"/>
                <a:gd name="T2" fmla="*/ 82 w 85"/>
                <a:gd name="T3" fmla="*/ 30 h 76"/>
                <a:gd name="T4" fmla="*/ 82 w 85"/>
                <a:gd name="T5" fmla="*/ 24 h 76"/>
                <a:gd name="T6" fmla="*/ 78 w 85"/>
                <a:gd name="T7" fmla="*/ 21 h 76"/>
                <a:gd name="T8" fmla="*/ 78 w 85"/>
                <a:gd name="T9" fmla="*/ 16 h 76"/>
                <a:gd name="T10" fmla="*/ 80 w 85"/>
                <a:gd name="T11" fmla="*/ 14 h 76"/>
                <a:gd name="T12" fmla="*/ 76 w 85"/>
                <a:gd name="T13" fmla="*/ 10 h 76"/>
                <a:gd name="T14" fmla="*/ 71 w 85"/>
                <a:gd name="T15" fmla="*/ 7 h 76"/>
                <a:gd name="T16" fmla="*/ 60 w 85"/>
                <a:gd name="T17" fmla="*/ 5 h 76"/>
                <a:gd name="T18" fmla="*/ 55 w 85"/>
                <a:gd name="T19" fmla="*/ 3 h 76"/>
                <a:gd name="T20" fmla="*/ 48 w 85"/>
                <a:gd name="T21" fmla="*/ 0 h 76"/>
                <a:gd name="T22" fmla="*/ 43 w 85"/>
                <a:gd name="T23" fmla="*/ 3 h 76"/>
                <a:gd name="T24" fmla="*/ 37 w 85"/>
                <a:gd name="T25" fmla="*/ 5 h 76"/>
                <a:gd name="T26" fmla="*/ 30 w 85"/>
                <a:gd name="T27" fmla="*/ 7 h 76"/>
                <a:gd name="T28" fmla="*/ 28 w 85"/>
                <a:gd name="T29" fmla="*/ 10 h 76"/>
                <a:gd name="T30" fmla="*/ 25 w 85"/>
                <a:gd name="T31" fmla="*/ 17 h 76"/>
                <a:gd name="T32" fmla="*/ 28 w 85"/>
                <a:gd name="T33" fmla="*/ 23 h 76"/>
                <a:gd name="T34" fmla="*/ 28 w 85"/>
                <a:gd name="T35" fmla="*/ 24 h 76"/>
                <a:gd name="T36" fmla="*/ 28 w 85"/>
                <a:gd name="T37" fmla="*/ 24 h 76"/>
                <a:gd name="T38" fmla="*/ 19 w 85"/>
                <a:gd name="T39" fmla="*/ 26 h 76"/>
                <a:gd name="T40" fmla="*/ 18 w 85"/>
                <a:gd name="T41" fmla="*/ 26 h 76"/>
                <a:gd name="T42" fmla="*/ 14 w 85"/>
                <a:gd name="T43" fmla="*/ 26 h 76"/>
                <a:gd name="T44" fmla="*/ 11 w 85"/>
                <a:gd name="T45" fmla="*/ 30 h 76"/>
                <a:gd name="T46" fmla="*/ 7 w 85"/>
                <a:gd name="T47" fmla="*/ 40 h 76"/>
                <a:gd name="T48" fmla="*/ 0 w 85"/>
                <a:gd name="T49" fmla="*/ 56 h 76"/>
                <a:gd name="T50" fmla="*/ 16 w 85"/>
                <a:gd name="T51" fmla="*/ 76 h 76"/>
                <a:gd name="T52" fmla="*/ 28 w 85"/>
                <a:gd name="T53" fmla="*/ 71 h 76"/>
                <a:gd name="T54" fmla="*/ 51 w 85"/>
                <a:gd name="T55" fmla="*/ 72 h 76"/>
                <a:gd name="T56" fmla="*/ 59 w 85"/>
                <a:gd name="T57" fmla="*/ 56 h 76"/>
                <a:gd name="T58" fmla="*/ 78 w 85"/>
                <a:gd name="T59" fmla="*/ 51 h 76"/>
                <a:gd name="T60" fmla="*/ 85 w 85"/>
                <a:gd name="T61" fmla="*/ 53 h 76"/>
                <a:gd name="T62" fmla="*/ 83 w 85"/>
                <a:gd name="T63" fmla="*/ 46 h 76"/>
                <a:gd name="T64" fmla="*/ 82 w 85"/>
                <a:gd name="T65" fmla="*/ 39 h 76"/>
                <a:gd name="T66" fmla="*/ 82 w 85"/>
                <a:gd name="T67" fmla="*/ 37 h 76"/>
                <a:gd name="T68" fmla="*/ 82 w 85"/>
                <a:gd name="T69" fmla="*/ 3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" h="76">
                  <a:moveTo>
                    <a:pt x="82" y="37"/>
                  </a:moveTo>
                  <a:lnTo>
                    <a:pt x="82" y="37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0" y="23"/>
                  </a:lnTo>
                  <a:lnTo>
                    <a:pt x="78" y="21"/>
                  </a:lnTo>
                  <a:lnTo>
                    <a:pt x="78" y="17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80" y="14"/>
                  </a:lnTo>
                  <a:lnTo>
                    <a:pt x="78" y="14"/>
                  </a:lnTo>
                  <a:lnTo>
                    <a:pt x="76" y="10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66" y="7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55" y="3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37" y="5"/>
                  </a:lnTo>
                  <a:lnTo>
                    <a:pt x="34" y="5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8" y="10"/>
                  </a:lnTo>
                  <a:lnTo>
                    <a:pt x="25" y="12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8" y="23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3" y="24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1" y="30"/>
                  </a:lnTo>
                  <a:lnTo>
                    <a:pt x="9" y="32"/>
                  </a:lnTo>
                  <a:lnTo>
                    <a:pt x="7" y="4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3" y="58"/>
                  </a:lnTo>
                  <a:lnTo>
                    <a:pt x="16" y="76"/>
                  </a:lnTo>
                  <a:lnTo>
                    <a:pt x="18" y="74"/>
                  </a:lnTo>
                  <a:lnTo>
                    <a:pt x="28" y="71"/>
                  </a:lnTo>
                  <a:lnTo>
                    <a:pt x="34" y="76"/>
                  </a:lnTo>
                  <a:lnTo>
                    <a:pt x="51" y="72"/>
                  </a:lnTo>
                  <a:lnTo>
                    <a:pt x="44" y="58"/>
                  </a:lnTo>
                  <a:lnTo>
                    <a:pt x="59" y="56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2" y="42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auto">
            <a:xfrm>
              <a:off x="931687" y="2296567"/>
              <a:ext cx="58187" cy="52483"/>
            </a:xfrm>
            <a:custGeom>
              <a:avLst/>
              <a:gdLst>
                <a:gd name="T0" fmla="*/ 55 w 102"/>
                <a:gd name="T1" fmla="*/ 92 h 92"/>
                <a:gd name="T2" fmla="*/ 59 w 102"/>
                <a:gd name="T3" fmla="*/ 92 h 92"/>
                <a:gd name="T4" fmla="*/ 62 w 102"/>
                <a:gd name="T5" fmla="*/ 89 h 92"/>
                <a:gd name="T6" fmla="*/ 66 w 102"/>
                <a:gd name="T7" fmla="*/ 84 h 92"/>
                <a:gd name="T8" fmla="*/ 71 w 102"/>
                <a:gd name="T9" fmla="*/ 82 h 92"/>
                <a:gd name="T10" fmla="*/ 77 w 102"/>
                <a:gd name="T11" fmla="*/ 82 h 92"/>
                <a:gd name="T12" fmla="*/ 82 w 102"/>
                <a:gd name="T13" fmla="*/ 80 h 92"/>
                <a:gd name="T14" fmla="*/ 93 w 102"/>
                <a:gd name="T15" fmla="*/ 64 h 92"/>
                <a:gd name="T16" fmla="*/ 93 w 102"/>
                <a:gd name="T17" fmla="*/ 62 h 92"/>
                <a:gd name="T18" fmla="*/ 96 w 102"/>
                <a:gd name="T19" fmla="*/ 57 h 92"/>
                <a:gd name="T20" fmla="*/ 102 w 102"/>
                <a:gd name="T21" fmla="*/ 53 h 92"/>
                <a:gd name="T22" fmla="*/ 102 w 102"/>
                <a:gd name="T23" fmla="*/ 50 h 92"/>
                <a:gd name="T24" fmla="*/ 96 w 102"/>
                <a:gd name="T25" fmla="*/ 46 h 92"/>
                <a:gd name="T26" fmla="*/ 93 w 102"/>
                <a:gd name="T27" fmla="*/ 41 h 92"/>
                <a:gd name="T28" fmla="*/ 89 w 102"/>
                <a:gd name="T29" fmla="*/ 39 h 92"/>
                <a:gd name="T30" fmla="*/ 82 w 102"/>
                <a:gd name="T31" fmla="*/ 27 h 92"/>
                <a:gd name="T32" fmla="*/ 82 w 102"/>
                <a:gd name="T33" fmla="*/ 27 h 92"/>
                <a:gd name="T34" fmla="*/ 78 w 102"/>
                <a:gd name="T35" fmla="*/ 27 h 92"/>
                <a:gd name="T36" fmla="*/ 70 w 102"/>
                <a:gd name="T37" fmla="*/ 32 h 92"/>
                <a:gd name="T38" fmla="*/ 68 w 102"/>
                <a:gd name="T39" fmla="*/ 30 h 92"/>
                <a:gd name="T40" fmla="*/ 57 w 102"/>
                <a:gd name="T41" fmla="*/ 23 h 92"/>
                <a:gd name="T42" fmla="*/ 50 w 102"/>
                <a:gd name="T43" fmla="*/ 16 h 92"/>
                <a:gd name="T44" fmla="*/ 48 w 102"/>
                <a:gd name="T45" fmla="*/ 14 h 92"/>
                <a:gd name="T46" fmla="*/ 46 w 102"/>
                <a:gd name="T47" fmla="*/ 11 h 92"/>
                <a:gd name="T48" fmla="*/ 39 w 102"/>
                <a:gd name="T49" fmla="*/ 11 h 92"/>
                <a:gd name="T50" fmla="*/ 32 w 102"/>
                <a:gd name="T51" fmla="*/ 9 h 92"/>
                <a:gd name="T52" fmla="*/ 22 w 102"/>
                <a:gd name="T53" fmla="*/ 0 h 92"/>
                <a:gd name="T54" fmla="*/ 18 w 102"/>
                <a:gd name="T55" fmla="*/ 0 h 92"/>
                <a:gd name="T56" fmla="*/ 7 w 102"/>
                <a:gd name="T57" fmla="*/ 4 h 92"/>
                <a:gd name="T58" fmla="*/ 9 w 102"/>
                <a:gd name="T59" fmla="*/ 11 h 92"/>
                <a:gd name="T60" fmla="*/ 13 w 102"/>
                <a:gd name="T61" fmla="*/ 14 h 92"/>
                <a:gd name="T62" fmla="*/ 13 w 102"/>
                <a:gd name="T63" fmla="*/ 20 h 92"/>
                <a:gd name="T64" fmla="*/ 6 w 102"/>
                <a:gd name="T65" fmla="*/ 27 h 92"/>
                <a:gd name="T66" fmla="*/ 0 w 102"/>
                <a:gd name="T67" fmla="*/ 30 h 92"/>
                <a:gd name="T68" fmla="*/ 2 w 102"/>
                <a:gd name="T69" fmla="*/ 34 h 92"/>
                <a:gd name="T70" fmla="*/ 9 w 102"/>
                <a:gd name="T71" fmla="*/ 36 h 92"/>
                <a:gd name="T72" fmla="*/ 13 w 102"/>
                <a:gd name="T73" fmla="*/ 37 h 92"/>
                <a:gd name="T74" fmla="*/ 20 w 102"/>
                <a:gd name="T75" fmla="*/ 41 h 92"/>
                <a:gd name="T76" fmla="*/ 22 w 102"/>
                <a:gd name="T77" fmla="*/ 46 h 92"/>
                <a:gd name="T78" fmla="*/ 27 w 102"/>
                <a:gd name="T79" fmla="*/ 57 h 92"/>
                <a:gd name="T80" fmla="*/ 34 w 102"/>
                <a:gd name="T81" fmla="*/ 68 h 92"/>
                <a:gd name="T82" fmla="*/ 38 w 102"/>
                <a:gd name="T83" fmla="*/ 73 h 92"/>
                <a:gd name="T84" fmla="*/ 38 w 102"/>
                <a:gd name="T85" fmla="*/ 76 h 92"/>
                <a:gd name="T86" fmla="*/ 38 w 102"/>
                <a:gd name="T87" fmla="*/ 80 h 92"/>
                <a:gd name="T88" fmla="*/ 46 w 102"/>
                <a:gd name="T89" fmla="*/ 82 h 92"/>
                <a:gd name="T90" fmla="*/ 48 w 102"/>
                <a:gd name="T91" fmla="*/ 84 h 92"/>
                <a:gd name="T92" fmla="*/ 54 w 102"/>
                <a:gd name="T93" fmla="*/ 92 h 92"/>
                <a:gd name="T94" fmla="*/ 55 w 102"/>
                <a:gd name="T95" fmla="*/ 92 h 92"/>
                <a:gd name="T96" fmla="*/ 55 w 102"/>
                <a:gd name="T97" fmla="*/ 92 h 92"/>
                <a:gd name="T98" fmla="*/ 55 w 102"/>
                <a:gd name="T9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2" h="92">
                  <a:moveTo>
                    <a:pt x="55" y="92"/>
                  </a:moveTo>
                  <a:lnTo>
                    <a:pt x="55" y="92"/>
                  </a:lnTo>
                  <a:lnTo>
                    <a:pt x="57" y="92"/>
                  </a:lnTo>
                  <a:lnTo>
                    <a:pt x="59" y="92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6" y="87"/>
                  </a:lnTo>
                  <a:lnTo>
                    <a:pt x="66" y="84"/>
                  </a:lnTo>
                  <a:lnTo>
                    <a:pt x="68" y="82"/>
                  </a:lnTo>
                  <a:lnTo>
                    <a:pt x="71" y="82"/>
                  </a:lnTo>
                  <a:lnTo>
                    <a:pt x="71" y="82"/>
                  </a:lnTo>
                  <a:lnTo>
                    <a:pt x="77" y="82"/>
                  </a:lnTo>
                  <a:lnTo>
                    <a:pt x="82" y="80"/>
                  </a:lnTo>
                  <a:lnTo>
                    <a:pt x="82" y="80"/>
                  </a:lnTo>
                  <a:lnTo>
                    <a:pt x="91" y="69"/>
                  </a:lnTo>
                  <a:lnTo>
                    <a:pt x="93" y="64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0"/>
                  </a:lnTo>
                  <a:lnTo>
                    <a:pt x="96" y="57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96" y="46"/>
                  </a:lnTo>
                  <a:lnTo>
                    <a:pt x="93" y="41"/>
                  </a:lnTo>
                  <a:lnTo>
                    <a:pt x="93" y="41"/>
                  </a:lnTo>
                  <a:lnTo>
                    <a:pt x="89" y="41"/>
                  </a:lnTo>
                  <a:lnTo>
                    <a:pt x="89" y="39"/>
                  </a:lnTo>
                  <a:lnTo>
                    <a:pt x="84" y="36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0" y="27"/>
                  </a:lnTo>
                  <a:lnTo>
                    <a:pt x="78" y="27"/>
                  </a:lnTo>
                  <a:lnTo>
                    <a:pt x="77" y="30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8" y="30"/>
                  </a:lnTo>
                  <a:lnTo>
                    <a:pt x="66" y="30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8" y="14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8" y="11"/>
                  </a:lnTo>
                  <a:lnTo>
                    <a:pt x="32" y="9"/>
                  </a:lnTo>
                  <a:lnTo>
                    <a:pt x="29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9" y="21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7" y="34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3" y="37"/>
                  </a:lnTo>
                  <a:lnTo>
                    <a:pt x="16" y="39"/>
                  </a:lnTo>
                  <a:lnTo>
                    <a:pt x="20" y="41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5" y="52"/>
                  </a:lnTo>
                  <a:lnTo>
                    <a:pt x="27" y="57"/>
                  </a:lnTo>
                  <a:lnTo>
                    <a:pt x="30" y="62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8" y="73"/>
                  </a:lnTo>
                  <a:lnTo>
                    <a:pt x="39" y="75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80"/>
                  </a:lnTo>
                  <a:lnTo>
                    <a:pt x="39" y="80"/>
                  </a:lnTo>
                  <a:lnTo>
                    <a:pt x="46" y="82"/>
                  </a:lnTo>
                  <a:lnTo>
                    <a:pt x="46" y="82"/>
                  </a:lnTo>
                  <a:lnTo>
                    <a:pt x="48" y="84"/>
                  </a:lnTo>
                  <a:lnTo>
                    <a:pt x="50" y="87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22"/>
            <p:cNvSpPr>
              <a:spLocks/>
            </p:cNvSpPr>
            <p:nvPr/>
          </p:nvSpPr>
          <p:spPr bwMode="auto">
            <a:xfrm>
              <a:off x="2174158" y="2785455"/>
              <a:ext cx="6846" cy="5134"/>
            </a:xfrm>
            <a:custGeom>
              <a:avLst/>
              <a:gdLst>
                <a:gd name="T0" fmla="*/ 9 w 12"/>
                <a:gd name="T1" fmla="*/ 2 h 9"/>
                <a:gd name="T2" fmla="*/ 9 w 12"/>
                <a:gd name="T3" fmla="*/ 2 h 9"/>
                <a:gd name="T4" fmla="*/ 4 w 12"/>
                <a:gd name="T5" fmla="*/ 0 h 9"/>
                <a:gd name="T6" fmla="*/ 0 w 12"/>
                <a:gd name="T7" fmla="*/ 2 h 9"/>
                <a:gd name="T8" fmla="*/ 12 w 12"/>
                <a:gd name="T9" fmla="*/ 9 h 9"/>
                <a:gd name="T10" fmla="*/ 12 w 12"/>
                <a:gd name="T11" fmla="*/ 9 h 9"/>
                <a:gd name="T12" fmla="*/ 12 w 12"/>
                <a:gd name="T13" fmla="*/ 5 h 9"/>
                <a:gd name="T14" fmla="*/ 9 w 12"/>
                <a:gd name="T15" fmla="*/ 2 h 9"/>
                <a:gd name="T16" fmla="*/ 9 w 12"/>
                <a:gd name="T17" fmla="*/ 2 h 9"/>
                <a:gd name="T18" fmla="*/ 9 w 12"/>
                <a:gd name="T19" fmla="*/ 2 h 9"/>
                <a:gd name="T20" fmla="*/ 9 w 12"/>
                <a:gd name="T21" fmla="*/ 2 h 9"/>
                <a:gd name="T22" fmla="*/ 9 w 12"/>
                <a:gd name="T2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9">
                  <a:moveTo>
                    <a:pt x="9" y="2"/>
                  </a:moveTo>
                  <a:lnTo>
                    <a:pt x="9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5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896318" y="2376432"/>
              <a:ext cx="74160" cy="63322"/>
            </a:xfrm>
            <a:custGeom>
              <a:avLst/>
              <a:gdLst>
                <a:gd name="T0" fmla="*/ 130 w 130"/>
                <a:gd name="T1" fmla="*/ 72 h 111"/>
                <a:gd name="T2" fmla="*/ 124 w 130"/>
                <a:gd name="T3" fmla="*/ 73 h 111"/>
                <a:gd name="T4" fmla="*/ 117 w 130"/>
                <a:gd name="T5" fmla="*/ 70 h 111"/>
                <a:gd name="T6" fmla="*/ 123 w 130"/>
                <a:gd name="T7" fmla="*/ 64 h 111"/>
                <a:gd name="T8" fmla="*/ 123 w 130"/>
                <a:gd name="T9" fmla="*/ 63 h 111"/>
                <a:gd name="T10" fmla="*/ 117 w 130"/>
                <a:gd name="T11" fmla="*/ 59 h 111"/>
                <a:gd name="T12" fmla="*/ 108 w 130"/>
                <a:gd name="T13" fmla="*/ 64 h 111"/>
                <a:gd name="T14" fmla="*/ 96 w 130"/>
                <a:gd name="T15" fmla="*/ 61 h 111"/>
                <a:gd name="T16" fmla="*/ 89 w 130"/>
                <a:gd name="T17" fmla="*/ 64 h 111"/>
                <a:gd name="T18" fmla="*/ 87 w 130"/>
                <a:gd name="T19" fmla="*/ 70 h 111"/>
                <a:gd name="T20" fmla="*/ 80 w 130"/>
                <a:gd name="T21" fmla="*/ 64 h 111"/>
                <a:gd name="T22" fmla="*/ 80 w 130"/>
                <a:gd name="T23" fmla="*/ 61 h 111"/>
                <a:gd name="T24" fmla="*/ 73 w 130"/>
                <a:gd name="T25" fmla="*/ 52 h 111"/>
                <a:gd name="T26" fmla="*/ 71 w 130"/>
                <a:gd name="T27" fmla="*/ 43 h 111"/>
                <a:gd name="T28" fmla="*/ 71 w 130"/>
                <a:gd name="T29" fmla="*/ 20 h 111"/>
                <a:gd name="T30" fmla="*/ 64 w 130"/>
                <a:gd name="T31" fmla="*/ 16 h 111"/>
                <a:gd name="T32" fmla="*/ 52 w 130"/>
                <a:gd name="T33" fmla="*/ 13 h 111"/>
                <a:gd name="T34" fmla="*/ 43 w 130"/>
                <a:gd name="T35" fmla="*/ 0 h 111"/>
                <a:gd name="T36" fmla="*/ 39 w 130"/>
                <a:gd name="T37" fmla="*/ 0 h 111"/>
                <a:gd name="T38" fmla="*/ 41 w 130"/>
                <a:gd name="T39" fmla="*/ 13 h 111"/>
                <a:gd name="T40" fmla="*/ 36 w 130"/>
                <a:gd name="T41" fmla="*/ 16 h 111"/>
                <a:gd name="T42" fmla="*/ 32 w 130"/>
                <a:gd name="T43" fmla="*/ 16 h 111"/>
                <a:gd name="T44" fmla="*/ 23 w 130"/>
                <a:gd name="T45" fmla="*/ 20 h 111"/>
                <a:gd name="T46" fmla="*/ 18 w 130"/>
                <a:gd name="T47" fmla="*/ 18 h 111"/>
                <a:gd name="T48" fmla="*/ 14 w 130"/>
                <a:gd name="T49" fmla="*/ 20 h 111"/>
                <a:gd name="T50" fmla="*/ 18 w 130"/>
                <a:gd name="T51" fmla="*/ 24 h 111"/>
                <a:gd name="T52" fmla="*/ 18 w 130"/>
                <a:gd name="T53" fmla="*/ 25 h 111"/>
                <a:gd name="T54" fmla="*/ 12 w 130"/>
                <a:gd name="T55" fmla="*/ 25 h 111"/>
                <a:gd name="T56" fmla="*/ 11 w 130"/>
                <a:gd name="T57" fmla="*/ 31 h 111"/>
                <a:gd name="T58" fmla="*/ 7 w 130"/>
                <a:gd name="T59" fmla="*/ 34 h 111"/>
                <a:gd name="T60" fmla="*/ 2 w 130"/>
                <a:gd name="T61" fmla="*/ 38 h 111"/>
                <a:gd name="T62" fmla="*/ 11 w 130"/>
                <a:gd name="T63" fmla="*/ 40 h 111"/>
                <a:gd name="T64" fmla="*/ 16 w 130"/>
                <a:gd name="T65" fmla="*/ 47 h 111"/>
                <a:gd name="T66" fmla="*/ 27 w 130"/>
                <a:gd name="T67" fmla="*/ 50 h 111"/>
                <a:gd name="T68" fmla="*/ 32 w 130"/>
                <a:gd name="T69" fmla="*/ 54 h 111"/>
                <a:gd name="T70" fmla="*/ 36 w 130"/>
                <a:gd name="T71" fmla="*/ 64 h 111"/>
                <a:gd name="T72" fmla="*/ 34 w 130"/>
                <a:gd name="T73" fmla="*/ 73 h 111"/>
                <a:gd name="T74" fmla="*/ 39 w 130"/>
                <a:gd name="T75" fmla="*/ 86 h 111"/>
                <a:gd name="T76" fmla="*/ 46 w 130"/>
                <a:gd name="T77" fmla="*/ 91 h 111"/>
                <a:gd name="T78" fmla="*/ 52 w 130"/>
                <a:gd name="T79" fmla="*/ 86 h 111"/>
                <a:gd name="T80" fmla="*/ 57 w 130"/>
                <a:gd name="T81" fmla="*/ 84 h 111"/>
                <a:gd name="T82" fmla="*/ 69 w 130"/>
                <a:gd name="T83" fmla="*/ 96 h 111"/>
                <a:gd name="T84" fmla="*/ 78 w 130"/>
                <a:gd name="T85" fmla="*/ 105 h 111"/>
                <a:gd name="T86" fmla="*/ 116 w 130"/>
                <a:gd name="T87" fmla="*/ 105 h 111"/>
                <a:gd name="T88" fmla="*/ 128 w 130"/>
                <a:gd name="T89" fmla="*/ 80 h 111"/>
                <a:gd name="T90" fmla="*/ 128 w 130"/>
                <a:gd name="T91" fmla="*/ 8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0" h="111">
                  <a:moveTo>
                    <a:pt x="128" y="80"/>
                  </a:moveTo>
                  <a:lnTo>
                    <a:pt x="130" y="72"/>
                  </a:lnTo>
                  <a:lnTo>
                    <a:pt x="130" y="72"/>
                  </a:lnTo>
                  <a:lnTo>
                    <a:pt x="128" y="73"/>
                  </a:lnTo>
                  <a:lnTo>
                    <a:pt x="128" y="73"/>
                  </a:lnTo>
                  <a:lnTo>
                    <a:pt x="124" y="73"/>
                  </a:lnTo>
                  <a:lnTo>
                    <a:pt x="124" y="73"/>
                  </a:lnTo>
                  <a:lnTo>
                    <a:pt x="119" y="70"/>
                  </a:lnTo>
                  <a:lnTo>
                    <a:pt x="117" y="70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3"/>
                  </a:lnTo>
                  <a:lnTo>
                    <a:pt x="123" y="63"/>
                  </a:lnTo>
                  <a:lnTo>
                    <a:pt x="121" y="6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6" y="61"/>
                  </a:lnTo>
                  <a:lnTo>
                    <a:pt x="112" y="61"/>
                  </a:lnTo>
                  <a:lnTo>
                    <a:pt x="108" y="64"/>
                  </a:lnTo>
                  <a:lnTo>
                    <a:pt x="101" y="63"/>
                  </a:lnTo>
                  <a:lnTo>
                    <a:pt x="98" y="63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2" y="63"/>
                  </a:lnTo>
                  <a:lnTo>
                    <a:pt x="89" y="64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7" y="70"/>
                  </a:lnTo>
                  <a:lnTo>
                    <a:pt x="87" y="70"/>
                  </a:lnTo>
                  <a:lnTo>
                    <a:pt x="80" y="64"/>
                  </a:lnTo>
                  <a:lnTo>
                    <a:pt x="80" y="64"/>
                  </a:lnTo>
                  <a:lnTo>
                    <a:pt x="78" y="63"/>
                  </a:lnTo>
                  <a:lnTo>
                    <a:pt x="78" y="61"/>
                  </a:lnTo>
                  <a:lnTo>
                    <a:pt x="80" y="61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3" y="52"/>
                  </a:lnTo>
                  <a:lnTo>
                    <a:pt x="71" y="47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31"/>
                  </a:lnTo>
                  <a:lnTo>
                    <a:pt x="71" y="24"/>
                  </a:lnTo>
                  <a:lnTo>
                    <a:pt x="71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55" y="16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8" y="6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6" y="16"/>
                  </a:lnTo>
                  <a:lnTo>
                    <a:pt x="36" y="15"/>
                  </a:lnTo>
                  <a:lnTo>
                    <a:pt x="34" y="15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7" y="18"/>
                  </a:lnTo>
                  <a:lnTo>
                    <a:pt x="23" y="20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31"/>
                  </a:lnTo>
                  <a:lnTo>
                    <a:pt x="9" y="32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11" y="40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3" y="47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30" y="52"/>
                  </a:lnTo>
                  <a:lnTo>
                    <a:pt x="32" y="54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6" y="64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3"/>
                  </a:lnTo>
                  <a:lnTo>
                    <a:pt x="36" y="79"/>
                  </a:lnTo>
                  <a:lnTo>
                    <a:pt x="36" y="84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43" y="91"/>
                  </a:lnTo>
                  <a:lnTo>
                    <a:pt x="46" y="91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52" y="86"/>
                  </a:lnTo>
                  <a:lnTo>
                    <a:pt x="53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9" y="86"/>
                  </a:lnTo>
                  <a:lnTo>
                    <a:pt x="62" y="88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73" y="102"/>
                  </a:lnTo>
                  <a:lnTo>
                    <a:pt x="78" y="105"/>
                  </a:lnTo>
                  <a:lnTo>
                    <a:pt x="89" y="104"/>
                  </a:lnTo>
                  <a:lnTo>
                    <a:pt x="108" y="111"/>
                  </a:lnTo>
                  <a:lnTo>
                    <a:pt x="116" y="105"/>
                  </a:lnTo>
                  <a:lnTo>
                    <a:pt x="121" y="96"/>
                  </a:lnTo>
                  <a:lnTo>
                    <a:pt x="121" y="96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8" y="8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24"/>
            <p:cNvSpPr>
              <a:spLocks/>
            </p:cNvSpPr>
            <p:nvPr/>
          </p:nvSpPr>
          <p:spPr bwMode="auto">
            <a:xfrm>
              <a:off x="1037223" y="2481397"/>
              <a:ext cx="121509" cy="155737"/>
            </a:xfrm>
            <a:custGeom>
              <a:avLst/>
              <a:gdLst>
                <a:gd name="T0" fmla="*/ 173 w 213"/>
                <a:gd name="T1" fmla="*/ 69 h 273"/>
                <a:gd name="T2" fmla="*/ 173 w 213"/>
                <a:gd name="T3" fmla="*/ 58 h 273"/>
                <a:gd name="T4" fmla="*/ 153 w 213"/>
                <a:gd name="T5" fmla="*/ 56 h 273"/>
                <a:gd name="T6" fmla="*/ 153 w 213"/>
                <a:gd name="T7" fmla="*/ 40 h 273"/>
                <a:gd name="T8" fmla="*/ 141 w 213"/>
                <a:gd name="T9" fmla="*/ 24 h 273"/>
                <a:gd name="T10" fmla="*/ 119 w 213"/>
                <a:gd name="T11" fmla="*/ 16 h 273"/>
                <a:gd name="T12" fmla="*/ 112 w 213"/>
                <a:gd name="T13" fmla="*/ 1 h 273"/>
                <a:gd name="T14" fmla="*/ 73 w 213"/>
                <a:gd name="T15" fmla="*/ 8 h 273"/>
                <a:gd name="T16" fmla="*/ 82 w 213"/>
                <a:gd name="T17" fmla="*/ 24 h 273"/>
                <a:gd name="T18" fmla="*/ 66 w 213"/>
                <a:gd name="T19" fmla="*/ 32 h 273"/>
                <a:gd name="T20" fmla="*/ 52 w 213"/>
                <a:gd name="T21" fmla="*/ 35 h 273"/>
                <a:gd name="T22" fmla="*/ 39 w 213"/>
                <a:gd name="T23" fmla="*/ 33 h 273"/>
                <a:gd name="T24" fmla="*/ 36 w 213"/>
                <a:gd name="T25" fmla="*/ 53 h 273"/>
                <a:gd name="T26" fmla="*/ 20 w 213"/>
                <a:gd name="T27" fmla="*/ 60 h 273"/>
                <a:gd name="T28" fmla="*/ 5 w 213"/>
                <a:gd name="T29" fmla="*/ 85 h 273"/>
                <a:gd name="T30" fmla="*/ 4 w 213"/>
                <a:gd name="T31" fmla="*/ 101 h 273"/>
                <a:gd name="T32" fmla="*/ 5 w 213"/>
                <a:gd name="T33" fmla="*/ 124 h 273"/>
                <a:gd name="T34" fmla="*/ 9 w 213"/>
                <a:gd name="T35" fmla="*/ 136 h 273"/>
                <a:gd name="T36" fmla="*/ 13 w 213"/>
                <a:gd name="T37" fmla="*/ 144 h 273"/>
                <a:gd name="T38" fmla="*/ 11 w 213"/>
                <a:gd name="T39" fmla="*/ 163 h 273"/>
                <a:gd name="T40" fmla="*/ 7 w 213"/>
                <a:gd name="T41" fmla="*/ 174 h 273"/>
                <a:gd name="T42" fmla="*/ 0 w 213"/>
                <a:gd name="T43" fmla="*/ 186 h 273"/>
                <a:gd name="T44" fmla="*/ 14 w 213"/>
                <a:gd name="T45" fmla="*/ 193 h 273"/>
                <a:gd name="T46" fmla="*/ 27 w 213"/>
                <a:gd name="T47" fmla="*/ 200 h 273"/>
                <a:gd name="T48" fmla="*/ 16 w 213"/>
                <a:gd name="T49" fmla="*/ 213 h 273"/>
                <a:gd name="T50" fmla="*/ 20 w 213"/>
                <a:gd name="T51" fmla="*/ 222 h 273"/>
                <a:gd name="T52" fmla="*/ 11 w 213"/>
                <a:gd name="T53" fmla="*/ 240 h 273"/>
                <a:gd name="T54" fmla="*/ 14 w 213"/>
                <a:gd name="T55" fmla="*/ 241 h 273"/>
                <a:gd name="T56" fmla="*/ 20 w 213"/>
                <a:gd name="T57" fmla="*/ 250 h 273"/>
                <a:gd name="T58" fmla="*/ 39 w 213"/>
                <a:gd name="T59" fmla="*/ 250 h 273"/>
                <a:gd name="T60" fmla="*/ 52 w 213"/>
                <a:gd name="T61" fmla="*/ 268 h 273"/>
                <a:gd name="T62" fmla="*/ 80 w 213"/>
                <a:gd name="T63" fmla="*/ 256 h 273"/>
                <a:gd name="T64" fmla="*/ 100 w 213"/>
                <a:gd name="T65" fmla="*/ 232 h 273"/>
                <a:gd name="T66" fmla="*/ 117 w 213"/>
                <a:gd name="T67" fmla="*/ 216 h 273"/>
                <a:gd name="T68" fmla="*/ 137 w 213"/>
                <a:gd name="T69" fmla="*/ 193 h 273"/>
                <a:gd name="T70" fmla="*/ 157 w 213"/>
                <a:gd name="T71" fmla="*/ 186 h 273"/>
                <a:gd name="T72" fmla="*/ 171 w 213"/>
                <a:gd name="T73" fmla="*/ 181 h 273"/>
                <a:gd name="T74" fmla="*/ 189 w 213"/>
                <a:gd name="T75" fmla="*/ 167 h 273"/>
                <a:gd name="T76" fmla="*/ 181 w 213"/>
                <a:gd name="T77" fmla="*/ 160 h 273"/>
                <a:gd name="T78" fmla="*/ 157 w 213"/>
                <a:gd name="T79" fmla="*/ 160 h 273"/>
                <a:gd name="T80" fmla="*/ 126 w 213"/>
                <a:gd name="T81" fmla="*/ 151 h 273"/>
                <a:gd name="T82" fmla="*/ 128 w 213"/>
                <a:gd name="T83" fmla="*/ 133 h 273"/>
                <a:gd name="T84" fmla="*/ 119 w 213"/>
                <a:gd name="T85" fmla="*/ 113 h 273"/>
                <a:gd name="T86" fmla="*/ 133 w 213"/>
                <a:gd name="T87" fmla="*/ 101 h 273"/>
                <a:gd name="T88" fmla="*/ 151 w 213"/>
                <a:gd name="T89" fmla="*/ 112 h 273"/>
                <a:gd name="T90" fmla="*/ 148 w 213"/>
                <a:gd name="T91" fmla="*/ 124 h 273"/>
                <a:gd name="T92" fmla="*/ 157 w 213"/>
                <a:gd name="T93" fmla="*/ 124 h 273"/>
                <a:gd name="T94" fmla="*/ 160 w 213"/>
                <a:gd name="T95" fmla="*/ 136 h 273"/>
                <a:gd name="T96" fmla="*/ 171 w 213"/>
                <a:gd name="T97" fmla="*/ 128 h 273"/>
                <a:gd name="T98" fmla="*/ 187 w 213"/>
                <a:gd name="T99" fmla="*/ 128 h 273"/>
                <a:gd name="T100" fmla="*/ 201 w 213"/>
                <a:gd name="T101" fmla="*/ 133 h 273"/>
                <a:gd name="T102" fmla="*/ 196 w 213"/>
                <a:gd name="T103" fmla="*/ 117 h 273"/>
                <a:gd name="T104" fmla="*/ 205 w 213"/>
                <a:gd name="T105" fmla="*/ 104 h 273"/>
                <a:gd name="T106" fmla="*/ 208 w 213"/>
                <a:gd name="T107" fmla="*/ 97 h 273"/>
                <a:gd name="T108" fmla="*/ 183 w 213"/>
                <a:gd name="T109" fmla="*/ 8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3" h="273">
                  <a:moveTo>
                    <a:pt x="183" y="80"/>
                  </a:moveTo>
                  <a:lnTo>
                    <a:pt x="183" y="80"/>
                  </a:lnTo>
                  <a:lnTo>
                    <a:pt x="176" y="76"/>
                  </a:lnTo>
                  <a:lnTo>
                    <a:pt x="173" y="72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2"/>
                  </a:lnTo>
                  <a:lnTo>
                    <a:pt x="174" y="60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62" y="60"/>
                  </a:lnTo>
                  <a:lnTo>
                    <a:pt x="157" y="60"/>
                  </a:lnTo>
                  <a:lnTo>
                    <a:pt x="155" y="60"/>
                  </a:lnTo>
                  <a:lnTo>
                    <a:pt x="153" y="60"/>
                  </a:lnTo>
                  <a:lnTo>
                    <a:pt x="153" y="60"/>
                  </a:lnTo>
                  <a:lnTo>
                    <a:pt x="153" y="56"/>
                  </a:lnTo>
                  <a:lnTo>
                    <a:pt x="153" y="55"/>
                  </a:lnTo>
                  <a:lnTo>
                    <a:pt x="155" y="49"/>
                  </a:lnTo>
                  <a:lnTo>
                    <a:pt x="155" y="42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46" y="40"/>
                  </a:lnTo>
                  <a:lnTo>
                    <a:pt x="142" y="39"/>
                  </a:lnTo>
                  <a:lnTo>
                    <a:pt x="141" y="35"/>
                  </a:lnTo>
                  <a:lnTo>
                    <a:pt x="141" y="35"/>
                  </a:lnTo>
                  <a:lnTo>
                    <a:pt x="142" y="30"/>
                  </a:lnTo>
                  <a:lnTo>
                    <a:pt x="141" y="24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28" y="19"/>
                  </a:lnTo>
                  <a:lnTo>
                    <a:pt x="121" y="17"/>
                  </a:lnTo>
                  <a:lnTo>
                    <a:pt x="119" y="17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16" y="3"/>
                  </a:lnTo>
                  <a:lnTo>
                    <a:pt x="116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0" y="0"/>
                  </a:lnTo>
                  <a:lnTo>
                    <a:pt x="96" y="8"/>
                  </a:lnTo>
                  <a:lnTo>
                    <a:pt x="80" y="5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7" y="14"/>
                  </a:lnTo>
                  <a:lnTo>
                    <a:pt x="80" y="19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78" y="30"/>
                  </a:lnTo>
                  <a:lnTo>
                    <a:pt x="73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6" y="32"/>
                  </a:lnTo>
                  <a:lnTo>
                    <a:pt x="66" y="33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59" y="33"/>
                  </a:lnTo>
                  <a:lnTo>
                    <a:pt x="55" y="35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5" y="33"/>
                  </a:lnTo>
                  <a:lnTo>
                    <a:pt x="41" y="33"/>
                  </a:lnTo>
                  <a:lnTo>
                    <a:pt x="39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5"/>
                  </a:lnTo>
                  <a:lnTo>
                    <a:pt x="36" y="37"/>
                  </a:lnTo>
                  <a:lnTo>
                    <a:pt x="36" y="42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0" y="58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2"/>
                  </a:lnTo>
                  <a:lnTo>
                    <a:pt x="14" y="65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6"/>
                  </a:lnTo>
                  <a:lnTo>
                    <a:pt x="4" y="113"/>
                  </a:lnTo>
                  <a:lnTo>
                    <a:pt x="0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5" y="124"/>
                  </a:lnTo>
                  <a:lnTo>
                    <a:pt x="7" y="128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9" y="133"/>
                  </a:lnTo>
                  <a:lnTo>
                    <a:pt x="7" y="135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8"/>
                  </a:lnTo>
                  <a:lnTo>
                    <a:pt x="11" y="140"/>
                  </a:lnTo>
                  <a:lnTo>
                    <a:pt x="13" y="142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3" y="151"/>
                  </a:lnTo>
                  <a:lnTo>
                    <a:pt x="11" y="154"/>
                  </a:lnTo>
                  <a:lnTo>
                    <a:pt x="11" y="160"/>
                  </a:lnTo>
                  <a:lnTo>
                    <a:pt x="11" y="160"/>
                  </a:lnTo>
                  <a:lnTo>
                    <a:pt x="11" y="163"/>
                  </a:lnTo>
                  <a:lnTo>
                    <a:pt x="11" y="167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3" y="172"/>
                  </a:lnTo>
                  <a:lnTo>
                    <a:pt x="11" y="174"/>
                  </a:lnTo>
                  <a:lnTo>
                    <a:pt x="7" y="174"/>
                  </a:lnTo>
                  <a:lnTo>
                    <a:pt x="7" y="174"/>
                  </a:lnTo>
                  <a:lnTo>
                    <a:pt x="5" y="174"/>
                  </a:lnTo>
                  <a:lnTo>
                    <a:pt x="5" y="176"/>
                  </a:lnTo>
                  <a:lnTo>
                    <a:pt x="5" y="179"/>
                  </a:lnTo>
                  <a:lnTo>
                    <a:pt x="9" y="181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7" y="193"/>
                  </a:lnTo>
                  <a:lnTo>
                    <a:pt x="7" y="193"/>
                  </a:lnTo>
                  <a:lnTo>
                    <a:pt x="9" y="195"/>
                  </a:lnTo>
                  <a:lnTo>
                    <a:pt x="11" y="195"/>
                  </a:lnTo>
                  <a:lnTo>
                    <a:pt x="14" y="193"/>
                  </a:lnTo>
                  <a:lnTo>
                    <a:pt x="20" y="192"/>
                  </a:lnTo>
                  <a:lnTo>
                    <a:pt x="25" y="192"/>
                  </a:lnTo>
                  <a:lnTo>
                    <a:pt x="25" y="192"/>
                  </a:lnTo>
                  <a:lnTo>
                    <a:pt x="25" y="193"/>
                  </a:lnTo>
                  <a:lnTo>
                    <a:pt x="27" y="195"/>
                  </a:lnTo>
                  <a:lnTo>
                    <a:pt x="27" y="200"/>
                  </a:lnTo>
                  <a:lnTo>
                    <a:pt x="27" y="200"/>
                  </a:lnTo>
                  <a:lnTo>
                    <a:pt x="21" y="206"/>
                  </a:lnTo>
                  <a:lnTo>
                    <a:pt x="20" y="208"/>
                  </a:lnTo>
                  <a:lnTo>
                    <a:pt x="16" y="213"/>
                  </a:lnTo>
                  <a:lnTo>
                    <a:pt x="16" y="213"/>
                  </a:lnTo>
                  <a:lnTo>
                    <a:pt x="16" y="213"/>
                  </a:lnTo>
                  <a:lnTo>
                    <a:pt x="16" y="216"/>
                  </a:lnTo>
                  <a:lnTo>
                    <a:pt x="16" y="218"/>
                  </a:lnTo>
                  <a:lnTo>
                    <a:pt x="20" y="220"/>
                  </a:lnTo>
                  <a:lnTo>
                    <a:pt x="20" y="220"/>
                  </a:lnTo>
                  <a:lnTo>
                    <a:pt x="20" y="220"/>
                  </a:lnTo>
                  <a:lnTo>
                    <a:pt x="20" y="222"/>
                  </a:lnTo>
                  <a:lnTo>
                    <a:pt x="20" y="225"/>
                  </a:lnTo>
                  <a:lnTo>
                    <a:pt x="18" y="227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3" y="236"/>
                  </a:lnTo>
                  <a:lnTo>
                    <a:pt x="11" y="240"/>
                  </a:lnTo>
                  <a:lnTo>
                    <a:pt x="9" y="247"/>
                  </a:lnTo>
                  <a:lnTo>
                    <a:pt x="9" y="247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11" y="245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6" y="245"/>
                  </a:lnTo>
                  <a:lnTo>
                    <a:pt x="18" y="247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50"/>
                  </a:lnTo>
                  <a:lnTo>
                    <a:pt x="25" y="254"/>
                  </a:lnTo>
                  <a:lnTo>
                    <a:pt x="32" y="257"/>
                  </a:lnTo>
                  <a:lnTo>
                    <a:pt x="32" y="257"/>
                  </a:lnTo>
                  <a:lnTo>
                    <a:pt x="34" y="256"/>
                  </a:lnTo>
                  <a:lnTo>
                    <a:pt x="36" y="254"/>
                  </a:lnTo>
                  <a:lnTo>
                    <a:pt x="39" y="250"/>
                  </a:lnTo>
                  <a:lnTo>
                    <a:pt x="39" y="250"/>
                  </a:lnTo>
                  <a:lnTo>
                    <a:pt x="45" y="257"/>
                  </a:lnTo>
                  <a:lnTo>
                    <a:pt x="48" y="261"/>
                  </a:lnTo>
                  <a:lnTo>
                    <a:pt x="52" y="266"/>
                  </a:lnTo>
                  <a:lnTo>
                    <a:pt x="52" y="266"/>
                  </a:lnTo>
                  <a:lnTo>
                    <a:pt x="52" y="268"/>
                  </a:lnTo>
                  <a:lnTo>
                    <a:pt x="52" y="270"/>
                  </a:lnTo>
                  <a:lnTo>
                    <a:pt x="57" y="273"/>
                  </a:lnTo>
                  <a:lnTo>
                    <a:pt x="61" y="273"/>
                  </a:lnTo>
                  <a:lnTo>
                    <a:pt x="71" y="264"/>
                  </a:lnTo>
                  <a:lnTo>
                    <a:pt x="80" y="257"/>
                  </a:lnTo>
                  <a:lnTo>
                    <a:pt x="80" y="256"/>
                  </a:lnTo>
                  <a:lnTo>
                    <a:pt x="89" y="254"/>
                  </a:lnTo>
                  <a:lnTo>
                    <a:pt x="89" y="254"/>
                  </a:lnTo>
                  <a:lnTo>
                    <a:pt x="93" y="245"/>
                  </a:lnTo>
                  <a:lnTo>
                    <a:pt x="93" y="245"/>
                  </a:lnTo>
                  <a:lnTo>
                    <a:pt x="96" y="236"/>
                  </a:lnTo>
                  <a:lnTo>
                    <a:pt x="100" y="232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10" y="222"/>
                  </a:lnTo>
                  <a:lnTo>
                    <a:pt x="116" y="220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21" y="206"/>
                  </a:lnTo>
                  <a:lnTo>
                    <a:pt x="126" y="202"/>
                  </a:lnTo>
                  <a:lnTo>
                    <a:pt x="130" y="197"/>
                  </a:lnTo>
                  <a:lnTo>
                    <a:pt x="130" y="197"/>
                  </a:lnTo>
                  <a:lnTo>
                    <a:pt x="133" y="193"/>
                  </a:lnTo>
                  <a:lnTo>
                    <a:pt x="137" y="193"/>
                  </a:lnTo>
                  <a:lnTo>
                    <a:pt x="146" y="186"/>
                  </a:lnTo>
                  <a:lnTo>
                    <a:pt x="146" y="186"/>
                  </a:lnTo>
                  <a:lnTo>
                    <a:pt x="149" y="184"/>
                  </a:lnTo>
                  <a:lnTo>
                    <a:pt x="151" y="184"/>
                  </a:lnTo>
                  <a:lnTo>
                    <a:pt x="153" y="184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64" y="192"/>
                  </a:lnTo>
                  <a:lnTo>
                    <a:pt x="167" y="192"/>
                  </a:lnTo>
                  <a:lnTo>
                    <a:pt x="169" y="188"/>
                  </a:lnTo>
                  <a:lnTo>
                    <a:pt x="169" y="188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80" y="172"/>
                  </a:lnTo>
                  <a:lnTo>
                    <a:pt x="189" y="167"/>
                  </a:lnTo>
                  <a:lnTo>
                    <a:pt x="189" y="167"/>
                  </a:lnTo>
                  <a:lnTo>
                    <a:pt x="192" y="165"/>
                  </a:lnTo>
                  <a:lnTo>
                    <a:pt x="192" y="163"/>
                  </a:lnTo>
                  <a:lnTo>
                    <a:pt x="190" y="163"/>
                  </a:lnTo>
                  <a:lnTo>
                    <a:pt x="190" y="163"/>
                  </a:lnTo>
                  <a:lnTo>
                    <a:pt x="183" y="161"/>
                  </a:lnTo>
                  <a:lnTo>
                    <a:pt x="181" y="160"/>
                  </a:lnTo>
                  <a:lnTo>
                    <a:pt x="176" y="161"/>
                  </a:lnTo>
                  <a:lnTo>
                    <a:pt x="176" y="161"/>
                  </a:lnTo>
                  <a:lnTo>
                    <a:pt x="169" y="163"/>
                  </a:lnTo>
                  <a:lnTo>
                    <a:pt x="164" y="161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48" y="154"/>
                  </a:lnTo>
                  <a:lnTo>
                    <a:pt x="142" y="152"/>
                  </a:lnTo>
                  <a:lnTo>
                    <a:pt x="139" y="151"/>
                  </a:lnTo>
                  <a:lnTo>
                    <a:pt x="139" y="151"/>
                  </a:lnTo>
                  <a:lnTo>
                    <a:pt x="130" y="151"/>
                  </a:lnTo>
                  <a:lnTo>
                    <a:pt x="126" y="151"/>
                  </a:lnTo>
                  <a:lnTo>
                    <a:pt x="126" y="147"/>
                  </a:lnTo>
                  <a:lnTo>
                    <a:pt x="126" y="147"/>
                  </a:lnTo>
                  <a:lnTo>
                    <a:pt x="126" y="147"/>
                  </a:lnTo>
                  <a:lnTo>
                    <a:pt x="128" y="142"/>
                  </a:lnTo>
                  <a:lnTo>
                    <a:pt x="128" y="136"/>
                  </a:lnTo>
                  <a:lnTo>
                    <a:pt x="128" y="133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1" y="122"/>
                  </a:lnTo>
                  <a:lnTo>
                    <a:pt x="119" y="117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6" y="110"/>
                  </a:lnTo>
                  <a:lnTo>
                    <a:pt x="130" y="104"/>
                  </a:lnTo>
                  <a:lnTo>
                    <a:pt x="132" y="101"/>
                  </a:lnTo>
                  <a:lnTo>
                    <a:pt x="133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46" y="104"/>
                  </a:lnTo>
                  <a:lnTo>
                    <a:pt x="149" y="110"/>
                  </a:lnTo>
                  <a:lnTo>
                    <a:pt x="149" y="110"/>
                  </a:lnTo>
                  <a:lnTo>
                    <a:pt x="151" y="112"/>
                  </a:lnTo>
                  <a:lnTo>
                    <a:pt x="151" y="113"/>
                  </a:lnTo>
                  <a:lnTo>
                    <a:pt x="149" y="117"/>
                  </a:lnTo>
                  <a:lnTo>
                    <a:pt x="148" y="120"/>
                  </a:lnTo>
                  <a:lnTo>
                    <a:pt x="148" y="122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53" y="124"/>
                  </a:lnTo>
                  <a:lnTo>
                    <a:pt x="155" y="122"/>
                  </a:lnTo>
                  <a:lnTo>
                    <a:pt x="157" y="122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8"/>
                  </a:lnTo>
                  <a:lnTo>
                    <a:pt x="157" y="133"/>
                  </a:lnTo>
                  <a:lnTo>
                    <a:pt x="157" y="136"/>
                  </a:lnTo>
                  <a:lnTo>
                    <a:pt x="158" y="136"/>
                  </a:lnTo>
                  <a:lnTo>
                    <a:pt x="160" y="136"/>
                  </a:lnTo>
                  <a:lnTo>
                    <a:pt x="160" y="136"/>
                  </a:lnTo>
                  <a:lnTo>
                    <a:pt x="162" y="136"/>
                  </a:lnTo>
                  <a:lnTo>
                    <a:pt x="164" y="136"/>
                  </a:lnTo>
                  <a:lnTo>
                    <a:pt x="167" y="133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80" y="131"/>
                  </a:lnTo>
                  <a:lnTo>
                    <a:pt x="183" y="131"/>
                  </a:lnTo>
                  <a:lnTo>
                    <a:pt x="187" y="128"/>
                  </a:lnTo>
                  <a:lnTo>
                    <a:pt x="187" y="128"/>
                  </a:lnTo>
                  <a:lnTo>
                    <a:pt x="189" y="126"/>
                  </a:lnTo>
                  <a:lnTo>
                    <a:pt x="190" y="126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197" y="133"/>
                  </a:lnTo>
                  <a:lnTo>
                    <a:pt x="201" y="133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1" y="131"/>
                  </a:lnTo>
                  <a:lnTo>
                    <a:pt x="197" y="122"/>
                  </a:lnTo>
                  <a:lnTo>
                    <a:pt x="196" y="119"/>
                  </a:lnTo>
                  <a:lnTo>
                    <a:pt x="196" y="117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9" y="113"/>
                  </a:lnTo>
                  <a:lnTo>
                    <a:pt x="201" y="110"/>
                  </a:lnTo>
                  <a:lnTo>
                    <a:pt x="203" y="106"/>
                  </a:lnTo>
                  <a:lnTo>
                    <a:pt x="205" y="104"/>
                  </a:lnTo>
                  <a:lnTo>
                    <a:pt x="205" y="104"/>
                  </a:lnTo>
                  <a:lnTo>
                    <a:pt x="212" y="103"/>
                  </a:lnTo>
                  <a:lnTo>
                    <a:pt x="213" y="101"/>
                  </a:lnTo>
                  <a:lnTo>
                    <a:pt x="212" y="99"/>
                  </a:lnTo>
                  <a:lnTo>
                    <a:pt x="212" y="99"/>
                  </a:lnTo>
                  <a:lnTo>
                    <a:pt x="208" y="97"/>
                  </a:lnTo>
                  <a:lnTo>
                    <a:pt x="203" y="96"/>
                  </a:lnTo>
                  <a:lnTo>
                    <a:pt x="203" y="96"/>
                  </a:lnTo>
                  <a:lnTo>
                    <a:pt x="199" y="94"/>
                  </a:lnTo>
                  <a:lnTo>
                    <a:pt x="199" y="94"/>
                  </a:lnTo>
                  <a:lnTo>
                    <a:pt x="194" y="87"/>
                  </a:lnTo>
                  <a:lnTo>
                    <a:pt x="183" y="80"/>
                  </a:lnTo>
                  <a:lnTo>
                    <a:pt x="183" y="80"/>
                  </a:lnTo>
                  <a:lnTo>
                    <a:pt x="183" y="80"/>
                  </a:lnTo>
                  <a:lnTo>
                    <a:pt x="183" y="80"/>
                  </a:lnTo>
                  <a:lnTo>
                    <a:pt x="183" y="8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Freeform 25"/>
            <p:cNvSpPr>
              <a:spLocks/>
            </p:cNvSpPr>
            <p:nvPr/>
          </p:nvSpPr>
          <p:spPr bwMode="auto">
            <a:xfrm>
              <a:off x="674978" y="2531028"/>
              <a:ext cx="71308" cy="109529"/>
            </a:xfrm>
            <a:custGeom>
              <a:avLst/>
              <a:gdLst>
                <a:gd name="T0" fmla="*/ 50 w 125"/>
                <a:gd name="T1" fmla="*/ 5 h 192"/>
                <a:gd name="T2" fmla="*/ 45 w 125"/>
                <a:gd name="T3" fmla="*/ 7 h 192"/>
                <a:gd name="T4" fmla="*/ 41 w 125"/>
                <a:gd name="T5" fmla="*/ 9 h 192"/>
                <a:gd name="T6" fmla="*/ 36 w 125"/>
                <a:gd name="T7" fmla="*/ 5 h 192"/>
                <a:gd name="T8" fmla="*/ 31 w 125"/>
                <a:gd name="T9" fmla="*/ 0 h 192"/>
                <a:gd name="T10" fmla="*/ 22 w 125"/>
                <a:gd name="T11" fmla="*/ 10 h 192"/>
                <a:gd name="T12" fmla="*/ 18 w 125"/>
                <a:gd name="T13" fmla="*/ 19 h 192"/>
                <a:gd name="T14" fmla="*/ 22 w 125"/>
                <a:gd name="T15" fmla="*/ 30 h 192"/>
                <a:gd name="T16" fmla="*/ 18 w 125"/>
                <a:gd name="T17" fmla="*/ 37 h 192"/>
                <a:gd name="T18" fmla="*/ 18 w 125"/>
                <a:gd name="T19" fmla="*/ 49 h 192"/>
                <a:gd name="T20" fmla="*/ 15 w 125"/>
                <a:gd name="T21" fmla="*/ 49 h 192"/>
                <a:gd name="T22" fmla="*/ 4 w 125"/>
                <a:gd name="T23" fmla="*/ 51 h 192"/>
                <a:gd name="T24" fmla="*/ 4 w 125"/>
                <a:gd name="T25" fmla="*/ 65 h 192"/>
                <a:gd name="T26" fmla="*/ 8 w 125"/>
                <a:gd name="T27" fmla="*/ 73 h 192"/>
                <a:gd name="T28" fmla="*/ 9 w 125"/>
                <a:gd name="T29" fmla="*/ 76 h 192"/>
                <a:gd name="T30" fmla="*/ 11 w 125"/>
                <a:gd name="T31" fmla="*/ 81 h 192"/>
                <a:gd name="T32" fmla="*/ 15 w 125"/>
                <a:gd name="T33" fmla="*/ 90 h 192"/>
                <a:gd name="T34" fmla="*/ 18 w 125"/>
                <a:gd name="T35" fmla="*/ 92 h 192"/>
                <a:gd name="T36" fmla="*/ 18 w 125"/>
                <a:gd name="T37" fmla="*/ 94 h 192"/>
                <a:gd name="T38" fmla="*/ 4 w 125"/>
                <a:gd name="T39" fmla="*/ 94 h 192"/>
                <a:gd name="T40" fmla="*/ 0 w 125"/>
                <a:gd name="T41" fmla="*/ 97 h 192"/>
                <a:gd name="T42" fmla="*/ 4 w 125"/>
                <a:gd name="T43" fmla="*/ 110 h 192"/>
                <a:gd name="T44" fmla="*/ 0 w 125"/>
                <a:gd name="T45" fmla="*/ 115 h 192"/>
                <a:gd name="T46" fmla="*/ 0 w 125"/>
                <a:gd name="T47" fmla="*/ 119 h 192"/>
                <a:gd name="T48" fmla="*/ 13 w 125"/>
                <a:gd name="T49" fmla="*/ 121 h 192"/>
                <a:gd name="T50" fmla="*/ 18 w 125"/>
                <a:gd name="T51" fmla="*/ 126 h 192"/>
                <a:gd name="T52" fmla="*/ 22 w 125"/>
                <a:gd name="T53" fmla="*/ 140 h 192"/>
                <a:gd name="T54" fmla="*/ 38 w 125"/>
                <a:gd name="T55" fmla="*/ 145 h 192"/>
                <a:gd name="T56" fmla="*/ 41 w 125"/>
                <a:gd name="T57" fmla="*/ 153 h 192"/>
                <a:gd name="T58" fmla="*/ 45 w 125"/>
                <a:gd name="T59" fmla="*/ 158 h 192"/>
                <a:gd name="T60" fmla="*/ 41 w 125"/>
                <a:gd name="T61" fmla="*/ 160 h 192"/>
                <a:gd name="T62" fmla="*/ 43 w 125"/>
                <a:gd name="T63" fmla="*/ 161 h 192"/>
                <a:gd name="T64" fmla="*/ 50 w 125"/>
                <a:gd name="T65" fmla="*/ 170 h 192"/>
                <a:gd name="T66" fmla="*/ 54 w 125"/>
                <a:gd name="T67" fmla="*/ 177 h 192"/>
                <a:gd name="T68" fmla="*/ 57 w 125"/>
                <a:gd name="T69" fmla="*/ 186 h 192"/>
                <a:gd name="T70" fmla="*/ 61 w 125"/>
                <a:gd name="T71" fmla="*/ 186 h 192"/>
                <a:gd name="T72" fmla="*/ 64 w 125"/>
                <a:gd name="T73" fmla="*/ 181 h 192"/>
                <a:gd name="T74" fmla="*/ 70 w 125"/>
                <a:gd name="T75" fmla="*/ 181 h 192"/>
                <a:gd name="T76" fmla="*/ 70 w 125"/>
                <a:gd name="T77" fmla="*/ 188 h 192"/>
                <a:gd name="T78" fmla="*/ 89 w 125"/>
                <a:gd name="T79" fmla="*/ 183 h 192"/>
                <a:gd name="T80" fmla="*/ 89 w 125"/>
                <a:gd name="T81" fmla="*/ 174 h 192"/>
                <a:gd name="T82" fmla="*/ 98 w 125"/>
                <a:gd name="T83" fmla="*/ 161 h 192"/>
                <a:gd name="T84" fmla="*/ 121 w 125"/>
                <a:gd name="T85" fmla="*/ 160 h 192"/>
                <a:gd name="T86" fmla="*/ 123 w 125"/>
                <a:gd name="T87" fmla="*/ 160 h 192"/>
                <a:gd name="T88" fmla="*/ 125 w 125"/>
                <a:gd name="T89" fmla="*/ 153 h 192"/>
                <a:gd name="T90" fmla="*/ 112 w 125"/>
                <a:gd name="T91" fmla="*/ 112 h 192"/>
                <a:gd name="T92" fmla="*/ 111 w 125"/>
                <a:gd name="T93" fmla="*/ 94 h 192"/>
                <a:gd name="T94" fmla="*/ 111 w 125"/>
                <a:gd name="T95" fmla="*/ 87 h 192"/>
                <a:gd name="T96" fmla="*/ 114 w 125"/>
                <a:gd name="T97" fmla="*/ 74 h 192"/>
                <a:gd name="T98" fmla="*/ 102 w 125"/>
                <a:gd name="T99" fmla="*/ 46 h 192"/>
                <a:gd name="T100" fmla="*/ 96 w 125"/>
                <a:gd name="T101" fmla="*/ 39 h 192"/>
                <a:gd name="T102" fmla="*/ 79 w 125"/>
                <a:gd name="T103" fmla="*/ 33 h 192"/>
                <a:gd name="T104" fmla="*/ 82 w 125"/>
                <a:gd name="T105" fmla="*/ 26 h 192"/>
                <a:gd name="T106" fmla="*/ 73 w 125"/>
                <a:gd name="T107" fmla="*/ 26 h 192"/>
                <a:gd name="T108" fmla="*/ 64 w 125"/>
                <a:gd name="T109" fmla="*/ 17 h 192"/>
                <a:gd name="T110" fmla="*/ 56 w 125"/>
                <a:gd name="T111" fmla="*/ 9 h 192"/>
                <a:gd name="T112" fmla="*/ 56 w 125"/>
                <a:gd name="T113" fmla="*/ 9 h 192"/>
                <a:gd name="T114" fmla="*/ 54 w 125"/>
                <a:gd name="T115" fmla="*/ 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5" h="192">
                  <a:moveTo>
                    <a:pt x="54" y="7"/>
                  </a:moveTo>
                  <a:lnTo>
                    <a:pt x="54" y="7"/>
                  </a:lnTo>
                  <a:lnTo>
                    <a:pt x="50" y="5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5" y="7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2" y="10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9"/>
                  </a:lnTo>
                  <a:lnTo>
                    <a:pt x="16" y="23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2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46"/>
                  </a:lnTo>
                  <a:lnTo>
                    <a:pt x="18" y="49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9" y="49"/>
                  </a:lnTo>
                  <a:lnTo>
                    <a:pt x="8" y="49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2" y="64"/>
                  </a:lnTo>
                  <a:lnTo>
                    <a:pt x="4" y="65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8" y="73"/>
                  </a:lnTo>
                  <a:lnTo>
                    <a:pt x="8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1" y="78"/>
                  </a:lnTo>
                  <a:lnTo>
                    <a:pt x="11" y="81"/>
                  </a:lnTo>
                  <a:lnTo>
                    <a:pt x="11" y="87"/>
                  </a:lnTo>
                  <a:lnTo>
                    <a:pt x="11" y="89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8" y="90"/>
                  </a:lnTo>
                  <a:lnTo>
                    <a:pt x="18" y="92"/>
                  </a:lnTo>
                  <a:lnTo>
                    <a:pt x="20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6" y="96"/>
                  </a:lnTo>
                  <a:lnTo>
                    <a:pt x="11" y="96"/>
                  </a:lnTo>
                  <a:lnTo>
                    <a:pt x="4" y="94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7"/>
                  </a:lnTo>
                  <a:lnTo>
                    <a:pt x="0" y="101"/>
                  </a:lnTo>
                  <a:lnTo>
                    <a:pt x="2" y="106"/>
                  </a:lnTo>
                  <a:lnTo>
                    <a:pt x="4" y="110"/>
                  </a:lnTo>
                  <a:lnTo>
                    <a:pt x="4" y="110"/>
                  </a:lnTo>
                  <a:lnTo>
                    <a:pt x="2" y="113"/>
                  </a:lnTo>
                  <a:lnTo>
                    <a:pt x="0" y="115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13" y="121"/>
                  </a:lnTo>
                  <a:lnTo>
                    <a:pt x="16" y="122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33"/>
                  </a:lnTo>
                  <a:lnTo>
                    <a:pt x="22" y="140"/>
                  </a:lnTo>
                  <a:lnTo>
                    <a:pt x="22" y="140"/>
                  </a:lnTo>
                  <a:lnTo>
                    <a:pt x="27" y="142"/>
                  </a:lnTo>
                  <a:lnTo>
                    <a:pt x="31" y="145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40" y="149"/>
                  </a:lnTo>
                  <a:lnTo>
                    <a:pt x="41" y="153"/>
                  </a:lnTo>
                  <a:lnTo>
                    <a:pt x="45" y="156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5" y="158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1" y="161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8" y="167"/>
                  </a:lnTo>
                  <a:lnTo>
                    <a:pt x="50" y="170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6" y="181"/>
                  </a:lnTo>
                  <a:lnTo>
                    <a:pt x="57" y="186"/>
                  </a:lnTo>
                  <a:lnTo>
                    <a:pt x="59" y="188"/>
                  </a:lnTo>
                  <a:lnTo>
                    <a:pt x="61" y="188"/>
                  </a:lnTo>
                  <a:lnTo>
                    <a:pt x="61" y="186"/>
                  </a:lnTo>
                  <a:lnTo>
                    <a:pt x="61" y="186"/>
                  </a:lnTo>
                  <a:lnTo>
                    <a:pt x="63" y="181"/>
                  </a:lnTo>
                  <a:lnTo>
                    <a:pt x="64" y="181"/>
                  </a:lnTo>
                  <a:lnTo>
                    <a:pt x="68" y="179"/>
                  </a:lnTo>
                  <a:lnTo>
                    <a:pt x="70" y="181"/>
                  </a:lnTo>
                  <a:lnTo>
                    <a:pt x="70" y="181"/>
                  </a:lnTo>
                  <a:lnTo>
                    <a:pt x="72" y="183"/>
                  </a:lnTo>
                  <a:lnTo>
                    <a:pt x="70" y="186"/>
                  </a:lnTo>
                  <a:lnTo>
                    <a:pt x="70" y="188"/>
                  </a:lnTo>
                  <a:lnTo>
                    <a:pt x="75" y="192"/>
                  </a:lnTo>
                  <a:lnTo>
                    <a:pt x="79" y="190"/>
                  </a:lnTo>
                  <a:lnTo>
                    <a:pt x="89" y="183"/>
                  </a:lnTo>
                  <a:lnTo>
                    <a:pt x="79" y="170"/>
                  </a:lnTo>
                  <a:lnTo>
                    <a:pt x="82" y="170"/>
                  </a:lnTo>
                  <a:lnTo>
                    <a:pt x="89" y="174"/>
                  </a:lnTo>
                  <a:lnTo>
                    <a:pt x="96" y="174"/>
                  </a:lnTo>
                  <a:lnTo>
                    <a:pt x="91" y="167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14" y="163"/>
                  </a:lnTo>
                  <a:lnTo>
                    <a:pt x="121" y="160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5" y="156"/>
                  </a:lnTo>
                  <a:lnTo>
                    <a:pt x="125" y="153"/>
                  </a:lnTo>
                  <a:lnTo>
                    <a:pt x="125" y="149"/>
                  </a:lnTo>
                  <a:lnTo>
                    <a:pt x="125" y="149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1" y="90"/>
                  </a:lnTo>
                  <a:lnTo>
                    <a:pt x="111" y="90"/>
                  </a:lnTo>
                  <a:lnTo>
                    <a:pt x="111" y="87"/>
                  </a:lnTo>
                  <a:lnTo>
                    <a:pt x="114" y="81"/>
                  </a:lnTo>
                  <a:lnTo>
                    <a:pt x="114" y="78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09" y="58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2" y="41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86" y="37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7" y="32"/>
                  </a:lnTo>
                  <a:lnTo>
                    <a:pt x="82" y="26"/>
                  </a:lnTo>
                  <a:lnTo>
                    <a:pt x="77" y="25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0" y="2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3" y="16"/>
                  </a:lnTo>
                  <a:lnTo>
                    <a:pt x="61" y="12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Freeform 26"/>
            <p:cNvSpPr>
              <a:spLocks/>
            </p:cNvSpPr>
            <p:nvPr/>
          </p:nvSpPr>
          <p:spPr bwMode="auto">
            <a:xfrm>
              <a:off x="857527" y="2254923"/>
              <a:ext cx="66174" cy="84999"/>
            </a:xfrm>
            <a:custGeom>
              <a:avLst/>
              <a:gdLst>
                <a:gd name="T0" fmla="*/ 9 w 116"/>
                <a:gd name="T1" fmla="*/ 50 h 149"/>
                <a:gd name="T2" fmla="*/ 22 w 116"/>
                <a:gd name="T3" fmla="*/ 59 h 149"/>
                <a:gd name="T4" fmla="*/ 24 w 116"/>
                <a:gd name="T5" fmla="*/ 62 h 149"/>
                <a:gd name="T6" fmla="*/ 25 w 116"/>
                <a:gd name="T7" fmla="*/ 69 h 149"/>
                <a:gd name="T8" fmla="*/ 25 w 116"/>
                <a:gd name="T9" fmla="*/ 69 h 149"/>
                <a:gd name="T10" fmla="*/ 25 w 116"/>
                <a:gd name="T11" fmla="*/ 77 h 149"/>
                <a:gd name="T12" fmla="*/ 16 w 116"/>
                <a:gd name="T13" fmla="*/ 87 h 149"/>
                <a:gd name="T14" fmla="*/ 16 w 116"/>
                <a:gd name="T15" fmla="*/ 91 h 149"/>
                <a:gd name="T16" fmla="*/ 25 w 116"/>
                <a:gd name="T17" fmla="*/ 107 h 149"/>
                <a:gd name="T18" fmla="*/ 27 w 116"/>
                <a:gd name="T19" fmla="*/ 112 h 149"/>
                <a:gd name="T20" fmla="*/ 25 w 116"/>
                <a:gd name="T21" fmla="*/ 119 h 149"/>
                <a:gd name="T22" fmla="*/ 29 w 116"/>
                <a:gd name="T23" fmla="*/ 128 h 149"/>
                <a:gd name="T24" fmla="*/ 24 w 116"/>
                <a:gd name="T25" fmla="*/ 130 h 149"/>
                <a:gd name="T26" fmla="*/ 20 w 116"/>
                <a:gd name="T27" fmla="*/ 133 h 149"/>
                <a:gd name="T28" fmla="*/ 16 w 116"/>
                <a:gd name="T29" fmla="*/ 142 h 149"/>
                <a:gd name="T30" fmla="*/ 18 w 116"/>
                <a:gd name="T31" fmla="*/ 144 h 149"/>
                <a:gd name="T32" fmla="*/ 24 w 116"/>
                <a:gd name="T33" fmla="*/ 146 h 149"/>
                <a:gd name="T34" fmla="*/ 25 w 116"/>
                <a:gd name="T35" fmla="*/ 146 h 149"/>
                <a:gd name="T36" fmla="*/ 34 w 116"/>
                <a:gd name="T37" fmla="*/ 141 h 149"/>
                <a:gd name="T38" fmla="*/ 38 w 116"/>
                <a:gd name="T39" fmla="*/ 137 h 149"/>
                <a:gd name="T40" fmla="*/ 45 w 116"/>
                <a:gd name="T41" fmla="*/ 142 h 149"/>
                <a:gd name="T42" fmla="*/ 50 w 116"/>
                <a:gd name="T43" fmla="*/ 144 h 149"/>
                <a:gd name="T44" fmla="*/ 61 w 116"/>
                <a:gd name="T45" fmla="*/ 142 h 149"/>
                <a:gd name="T46" fmla="*/ 66 w 116"/>
                <a:gd name="T47" fmla="*/ 142 h 149"/>
                <a:gd name="T48" fmla="*/ 70 w 116"/>
                <a:gd name="T49" fmla="*/ 146 h 149"/>
                <a:gd name="T50" fmla="*/ 75 w 116"/>
                <a:gd name="T51" fmla="*/ 144 h 149"/>
                <a:gd name="T52" fmla="*/ 79 w 116"/>
                <a:gd name="T53" fmla="*/ 142 h 149"/>
                <a:gd name="T54" fmla="*/ 88 w 116"/>
                <a:gd name="T55" fmla="*/ 149 h 149"/>
                <a:gd name="T56" fmla="*/ 91 w 116"/>
                <a:gd name="T57" fmla="*/ 149 h 149"/>
                <a:gd name="T58" fmla="*/ 95 w 116"/>
                <a:gd name="T59" fmla="*/ 141 h 149"/>
                <a:gd name="T60" fmla="*/ 98 w 116"/>
                <a:gd name="T61" fmla="*/ 135 h 149"/>
                <a:gd name="T62" fmla="*/ 100 w 116"/>
                <a:gd name="T63" fmla="*/ 133 h 149"/>
                <a:gd name="T64" fmla="*/ 104 w 116"/>
                <a:gd name="T65" fmla="*/ 123 h 149"/>
                <a:gd name="T66" fmla="*/ 100 w 116"/>
                <a:gd name="T67" fmla="*/ 116 h 149"/>
                <a:gd name="T68" fmla="*/ 95 w 116"/>
                <a:gd name="T69" fmla="*/ 112 h 149"/>
                <a:gd name="T70" fmla="*/ 91 w 116"/>
                <a:gd name="T71" fmla="*/ 101 h 149"/>
                <a:gd name="T72" fmla="*/ 88 w 116"/>
                <a:gd name="T73" fmla="*/ 89 h 149"/>
                <a:gd name="T74" fmla="*/ 95 w 116"/>
                <a:gd name="T75" fmla="*/ 82 h 149"/>
                <a:gd name="T76" fmla="*/ 100 w 116"/>
                <a:gd name="T77" fmla="*/ 71 h 149"/>
                <a:gd name="T78" fmla="*/ 111 w 116"/>
                <a:gd name="T79" fmla="*/ 61 h 149"/>
                <a:gd name="T80" fmla="*/ 116 w 116"/>
                <a:gd name="T81" fmla="*/ 55 h 149"/>
                <a:gd name="T82" fmla="*/ 116 w 116"/>
                <a:gd name="T83" fmla="*/ 48 h 149"/>
                <a:gd name="T84" fmla="*/ 114 w 116"/>
                <a:gd name="T85" fmla="*/ 39 h 149"/>
                <a:gd name="T86" fmla="*/ 105 w 116"/>
                <a:gd name="T87" fmla="*/ 34 h 149"/>
                <a:gd name="T88" fmla="*/ 98 w 116"/>
                <a:gd name="T89" fmla="*/ 30 h 149"/>
                <a:gd name="T90" fmla="*/ 88 w 116"/>
                <a:gd name="T91" fmla="*/ 27 h 149"/>
                <a:gd name="T92" fmla="*/ 75 w 116"/>
                <a:gd name="T93" fmla="*/ 25 h 149"/>
                <a:gd name="T94" fmla="*/ 59 w 116"/>
                <a:gd name="T95" fmla="*/ 14 h 149"/>
                <a:gd name="T96" fmla="*/ 59 w 116"/>
                <a:gd name="T97" fmla="*/ 5 h 149"/>
                <a:gd name="T98" fmla="*/ 57 w 116"/>
                <a:gd name="T99" fmla="*/ 0 h 149"/>
                <a:gd name="T100" fmla="*/ 50 w 116"/>
                <a:gd name="T101" fmla="*/ 2 h 149"/>
                <a:gd name="T102" fmla="*/ 47 w 116"/>
                <a:gd name="T103" fmla="*/ 4 h 149"/>
                <a:gd name="T104" fmla="*/ 36 w 116"/>
                <a:gd name="T105" fmla="*/ 5 h 149"/>
                <a:gd name="T106" fmla="*/ 29 w 116"/>
                <a:gd name="T107" fmla="*/ 5 h 149"/>
                <a:gd name="T108" fmla="*/ 24 w 116"/>
                <a:gd name="T109" fmla="*/ 20 h 149"/>
                <a:gd name="T110" fmla="*/ 15 w 116"/>
                <a:gd name="T111" fmla="*/ 21 h 149"/>
                <a:gd name="T112" fmla="*/ 6 w 116"/>
                <a:gd name="T113" fmla="*/ 25 h 149"/>
                <a:gd name="T114" fmla="*/ 0 w 116"/>
                <a:gd name="T115" fmla="*/ 34 h 149"/>
                <a:gd name="T116" fmla="*/ 6 w 116"/>
                <a:gd name="T117" fmla="*/ 43 h 149"/>
                <a:gd name="T118" fmla="*/ 8 w 116"/>
                <a:gd name="T119" fmla="*/ 46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" h="149">
                  <a:moveTo>
                    <a:pt x="8" y="46"/>
                  </a:moveTo>
                  <a:lnTo>
                    <a:pt x="8" y="46"/>
                  </a:lnTo>
                  <a:lnTo>
                    <a:pt x="9" y="50"/>
                  </a:lnTo>
                  <a:lnTo>
                    <a:pt x="15" y="53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4" y="59"/>
                  </a:lnTo>
                  <a:lnTo>
                    <a:pt x="24" y="61"/>
                  </a:lnTo>
                  <a:lnTo>
                    <a:pt x="24" y="6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75"/>
                  </a:lnTo>
                  <a:lnTo>
                    <a:pt x="25" y="77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25" y="107"/>
                  </a:lnTo>
                  <a:lnTo>
                    <a:pt x="25" y="107"/>
                  </a:lnTo>
                  <a:lnTo>
                    <a:pt x="27" y="110"/>
                  </a:lnTo>
                  <a:lnTo>
                    <a:pt x="27" y="112"/>
                  </a:lnTo>
                  <a:lnTo>
                    <a:pt x="25" y="116"/>
                  </a:lnTo>
                  <a:lnTo>
                    <a:pt x="25" y="116"/>
                  </a:lnTo>
                  <a:lnTo>
                    <a:pt x="25" y="119"/>
                  </a:lnTo>
                  <a:lnTo>
                    <a:pt x="27" y="123"/>
                  </a:lnTo>
                  <a:lnTo>
                    <a:pt x="29" y="126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5" y="130"/>
                  </a:lnTo>
                  <a:lnTo>
                    <a:pt x="24" y="130"/>
                  </a:lnTo>
                  <a:lnTo>
                    <a:pt x="22" y="130"/>
                  </a:lnTo>
                  <a:lnTo>
                    <a:pt x="20" y="133"/>
                  </a:lnTo>
                  <a:lnTo>
                    <a:pt x="20" y="133"/>
                  </a:lnTo>
                  <a:lnTo>
                    <a:pt x="16" y="137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20" y="142"/>
                  </a:lnTo>
                  <a:lnTo>
                    <a:pt x="20" y="144"/>
                  </a:lnTo>
                  <a:lnTo>
                    <a:pt x="24" y="146"/>
                  </a:lnTo>
                  <a:lnTo>
                    <a:pt x="24" y="146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9" y="142"/>
                  </a:lnTo>
                  <a:lnTo>
                    <a:pt x="29" y="142"/>
                  </a:lnTo>
                  <a:lnTo>
                    <a:pt x="34" y="141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41" y="141"/>
                  </a:lnTo>
                  <a:lnTo>
                    <a:pt x="45" y="142"/>
                  </a:lnTo>
                  <a:lnTo>
                    <a:pt x="47" y="142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6" y="144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3" y="141"/>
                  </a:lnTo>
                  <a:lnTo>
                    <a:pt x="63" y="141"/>
                  </a:lnTo>
                  <a:lnTo>
                    <a:pt x="66" y="142"/>
                  </a:lnTo>
                  <a:lnTo>
                    <a:pt x="68" y="142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2" y="146"/>
                  </a:lnTo>
                  <a:lnTo>
                    <a:pt x="75" y="144"/>
                  </a:lnTo>
                  <a:lnTo>
                    <a:pt x="75" y="142"/>
                  </a:lnTo>
                  <a:lnTo>
                    <a:pt x="79" y="142"/>
                  </a:lnTo>
                  <a:lnTo>
                    <a:pt x="79" y="142"/>
                  </a:lnTo>
                  <a:lnTo>
                    <a:pt x="82" y="142"/>
                  </a:lnTo>
                  <a:lnTo>
                    <a:pt x="84" y="144"/>
                  </a:lnTo>
                  <a:lnTo>
                    <a:pt x="88" y="149"/>
                  </a:lnTo>
                  <a:lnTo>
                    <a:pt x="88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6"/>
                  </a:lnTo>
                  <a:lnTo>
                    <a:pt x="95" y="141"/>
                  </a:lnTo>
                  <a:lnTo>
                    <a:pt x="95" y="141"/>
                  </a:lnTo>
                  <a:lnTo>
                    <a:pt x="96" y="137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2" y="132"/>
                  </a:lnTo>
                  <a:lnTo>
                    <a:pt x="104" y="130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2" y="119"/>
                  </a:lnTo>
                  <a:lnTo>
                    <a:pt x="100" y="116"/>
                  </a:lnTo>
                  <a:lnTo>
                    <a:pt x="98" y="114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1" y="110"/>
                  </a:lnTo>
                  <a:lnTo>
                    <a:pt x="91" y="107"/>
                  </a:lnTo>
                  <a:lnTo>
                    <a:pt x="91" y="101"/>
                  </a:lnTo>
                  <a:lnTo>
                    <a:pt x="91" y="101"/>
                  </a:lnTo>
                  <a:lnTo>
                    <a:pt x="89" y="93"/>
                  </a:lnTo>
                  <a:lnTo>
                    <a:pt x="88" y="89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95" y="82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100" y="71"/>
                  </a:lnTo>
                  <a:lnTo>
                    <a:pt x="105" y="66"/>
                  </a:lnTo>
                  <a:lnTo>
                    <a:pt x="105" y="66"/>
                  </a:lnTo>
                  <a:lnTo>
                    <a:pt x="111" y="61"/>
                  </a:lnTo>
                  <a:lnTo>
                    <a:pt x="114" y="59"/>
                  </a:lnTo>
                  <a:lnTo>
                    <a:pt x="116" y="55"/>
                  </a:lnTo>
                  <a:lnTo>
                    <a:pt x="116" y="55"/>
                  </a:lnTo>
                  <a:lnTo>
                    <a:pt x="116" y="53"/>
                  </a:lnTo>
                  <a:lnTo>
                    <a:pt x="116" y="53"/>
                  </a:lnTo>
                  <a:lnTo>
                    <a:pt x="116" y="48"/>
                  </a:lnTo>
                  <a:lnTo>
                    <a:pt x="114" y="41"/>
                  </a:lnTo>
                  <a:lnTo>
                    <a:pt x="114" y="41"/>
                  </a:lnTo>
                  <a:lnTo>
                    <a:pt x="114" y="39"/>
                  </a:lnTo>
                  <a:lnTo>
                    <a:pt x="111" y="36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2" y="34"/>
                  </a:lnTo>
                  <a:lnTo>
                    <a:pt x="102" y="32"/>
                  </a:lnTo>
                  <a:lnTo>
                    <a:pt x="98" y="30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88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5" y="25"/>
                  </a:lnTo>
                  <a:lnTo>
                    <a:pt x="70" y="21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7" y="11"/>
                  </a:lnTo>
                  <a:lnTo>
                    <a:pt x="57" y="9"/>
                  </a:lnTo>
                  <a:lnTo>
                    <a:pt x="59" y="5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7" y="0"/>
                  </a:lnTo>
                  <a:lnTo>
                    <a:pt x="56" y="0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9" y="21"/>
                  </a:lnTo>
                  <a:lnTo>
                    <a:pt x="6" y="25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6" y="43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8" name="Freeform 27"/>
            <p:cNvSpPr>
              <a:spLocks/>
            </p:cNvSpPr>
            <p:nvPr/>
          </p:nvSpPr>
          <p:spPr bwMode="auto">
            <a:xfrm>
              <a:off x="822158" y="2305694"/>
              <a:ext cx="51912" cy="49630"/>
            </a:xfrm>
            <a:custGeom>
              <a:avLst/>
              <a:gdLst>
                <a:gd name="T0" fmla="*/ 68 w 91"/>
                <a:gd name="T1" fmla="*/ 71 h 87"/>
                <a:gd name="T2" fmla="*/ 71 w 91"/>
                <a:gd name="T3" fmla="*/ 68 h 87"/>
                <a:gd name="T4" fmla="*/ 71 w 91"/>
                <a:gd name="T5" fmla="*/ 64 h 87"/>
                <a:gd name="T6" fmla="*/ 77 w 91"/>
                <a:gd name="T7" fmla="*/ 60 h 87"/>
                <a:gd name="T8" fmla="*/ 80 w 91"/>
                <a:gd name="T9" fmla="*/ 55 h 87"/>
                <a:gd name="T10" fmla="*/ 80 w 91"/>
                <a:gd name="T11" fmla="*/ 55 h 87"/>
                <a:gd name="T12" fmla="*/ 78 w 91"/>
                <a:gd name="T13" fmla="*/ 53 h 87"/>
                <a:gd name="T14" fmla="*/ 78 w 91"/>
                <a:gd name="T15" fmla="*/ 48 h 87"/>
                <a:gd name="T16" fmla="*/ 82 w 91"/>
                <a:gd name="T17" fmla="*/ 44 h 87"/>
                <a:gd name="T18" fmla="*/ 86 w 91"/>
                <a:gd name="T19" fmla="*/ 41 h 87"/>
                <a:gd name="T20" fmla="*/ 91 w 91"/>
                <a:gd name="T21" fmla="*/ 39 h 87"/>
                <a:gd name="T22" fmla="*/ 91 w 91"/>
                <a:gd name="T23" fmla="*/ 37 h 87"/>
                <a:gd name="T24" fmla="*/ 87 w 91"/>
                <a:gd name="T25" fmla="*/ 30 h 87"/>
                <a:gd name="T26" fmla="*/ 87 w 91"/>
                <a:gd name="T27" fmla="*/ 27 h 87"/>
                <a:gd name="T28" fmla="*/ 89 w 91"/>
                <a:gd name="T29" fmla="*/ 21 h 87"/>
                <a:gd name="T30" fmla="*/ 87 w 91"/>
                <a:gd name="T31" fmla="*/ 18 h 87"/>
                <a:gd name="T32" fmla="*/ 80 w 91"/>
                <a:gd name="T33" fmla="*/ 4 h 87"/>
                <a:gd name="T34" fmla="*/ 68 w 91"/>
                <a:gd name="T35" fmla="*/ 5 h 87"/>
                <a:gd name="T36" fmla="*/ 66 w 91"/>
                <a:gd name="T37" fmla="*/ 5 h 87"/>
                <a:gd name="T38" fmla="*/ 61 w 91"/>
                <a:gd name="T39" fmla="*/ 4 h 87"/>
                <a:gd name="T40" fmla="*/ 59 w 91"/>
                <a:gd name="T41" fmla="*/ 4 h 87"/>
                <a:gd name="T42" fmla="*/ 55 w 91"/>
                <a:gd name="T43" fmla="*/ 5 h 87"/>
                <a:gd name="T44" fmla="*/ 52 w 91"/>
                <a:gd name="T45" fmla="*/ 11 h 87"/>
                <a:gd name="T46" fmla="*/ 48 w 91"/>
                <a:gd name="T47" fmla="*/ 11 h 87"/>
                <a:gd name="T48" fmla="*/ 39 w 91"/>
                <a:gd name="T49" fmla="*/ 2 h 87"/>
                <a:gd name="T50" fmla="*/ 38 w 91"/>
                <a:gd name="T51" fmla="*/ 0 h 87"/>
                <a:gd name="T52" fmla="*/ 27 w 91"/>
                <a:gd name="T53" fmla="*/ 0 h 87"/>
                <a:gd name="T54" fmla="*/ 16 w 91"/>
                <a:gd name="T55" fmla="*/ 0 h 87"/>
                <a:gd name="T56" fmla="*/ 7 w 91"/>
                <a:gd name="T57" fmla="*/ 4 h 87"/>
                <a:gd name="T58" fmla="*/ 6 w 91"/>
                <a:gd name="T59" fmla="*/ 5 h 87"/>
                <a:gd name="T60" fmla="*/ 2 w 91"/>
                <a:gd name="T61" fmla="*/ 5 h 87"/>
                <a:gd name="T62" fmla="*/ 4 w 91"/>
                <a:gd name="T63" fmla="*/ 14 h 87"/>
                <a:gd name="T64" fmla="*/ 4 w 91"/>
                <a:gd name="T65" fmla="*/ 18 h 87"/>
                <a:gd name="T66" fmla="*/ 0 w 91"/>
                <a:gd name="T67" fmla="*/ 23 h 87"/>
                <a:gd name="T68" fmla="*/ 0 w 91"/>
                <a:gd name="T69" fmla="*/ 25 h 87"/>
                <a:gd name="T70" fmla="*/ 4 w 91"/>
                <a:gd name="T71" fmla="*/ 30 h 87"/>
                <a:gd name="T72" fmla="*/ 2 w 91"/>
                <a:gd name="T73" fmla="*/ 37 h 87"/>
                <a:gd name="T74" fmla="*/ 4 w 91"/>
                <a:gd name="T75" fmla="*/ 43 h 87"/>
                <a:gd name="T76" fmla="*/ 16 w 91"/>
                <a:gd name="T77" fmla="*/ 59 h 87"/>
                <a:gd name="T78" fmla="*/ 14 w 91"/>
                <a:gd name="T79" fmla="*/ 60 h 87"/>
                <a:gd name="T80" fmla="*/ 9 w 91"/>
                <a:gd name="T81" fmla="*/ 64 h 87"/>
                <a:gd name="T82" fmla="*/ 11 w 91"/>
                <a:gd name="T83" fmla="*/ 68 h 87"/>
                <a:gd name="T84" fmla="*/ 14 w 91"/>
                <a:gd name="T85" fmla="*/ 73 h 87"/>
                <a:gd name="T86" fmla="*/ 14 w 91"/>
                <a:gd name="T87" fmla="*/ 73 h 87"/>
                <a:gd name="T88" fmla="*/ 20 w 91"/>
                <a:gd name="T89" fmla="*/ 76 h 87"/>
                <a:gd name="T90" fmla="*/ 22 w 91"/>
                <a:gd name="T91" fmla="*/ 82 h 87"/>
                <a:gd name="T92" fmla="*/ 25 w 91"/>
                <a:gd name="T93" fmla="*/ 87 h 87"/>
                <a:gd name="T94" fmla="*/ 30 w 91"/>
                <a:gd name="T95" fmla="*/ 87 h 87"/>
                <a:gd name="T96" fmla="*/ 36 w 91"/>
                <a:gd name="T97" fmla="*/ 85 h 87"/>
                <a:gd name="T98" fmla="*/ 39 w 91"/>
                <a:gd name="T99" fmla="*/ 84 h 87"/>
                <a:gd name="T100" fmla="*/ 41 w 91"/>
                <a:gd name="T101" fmla="*/ 84 h 87"/>
                <a:gd name="T102" fmla="*/ 45 w 91"/>
                <a:gd name="T103" fmla="*/ 82 h 87"/>
                <a:gd name="T104" fmla="*/ 48 w 91"/>
                <a:gd name="T105" fmla="*/ 80 h 87"/>
                <a:gd name="T106" fmla="*/ 52 w 91"/>
                <a:gd name="T107" fmla="*/ 82 h 87"/>
                <a:gd name="T108" fmla="*/ 62 w 91"/>
                <a:gd name="T109" fmla="*/ 76 h 87"/>
                <a:gd name="T110" fmla="*/ 64 w 91"/>
                <a:gd name="T111" fmla="*/ 73 h 87"/>
                <a:gd name="T112" fmla="*/ 68 w 91"/>
                <a:gd name="T113" fmla="*/ 71 h 87"/>
                <a:gd name="T114" fmla="*/ 68 w 91"/>
                <a:gd name="T115" fmla="*/ 71 h 87"/>
                <a:gd name="T116" fmla="*/ 68 w 91"/>
                <a:gd name="T117" fmla="*/ 7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" h="87">
                  <a:moveTo>
                    <a:pt x="68" y="71"/>
                  </a:moveTo>
                  <a:lnTo>
                    <a:pt x="68" y="71"/>
                  </a:lnTo>
                  <a:lnTo>
                    <a:pt x="70" y="71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77" y="60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8" y="48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4" y="41"/>
                  </a:lnTo>
                  <a:lnTo>
                    <a:pt x="86" y="41"/>
                  </a:lnTo>
                  <a:lnTo>
                    <a:pt x="87" y="41"/>
                  </a:lnTo>
                  <a:lnTo>
                    <a:pt x="91" y="39"/>
                  </a:lnTo>
                  <a:lnTo>
                    <a:pt x="91" y="39"/>
                  </a:lnTo>
                  <a:lnTo>
                    <a:pt x="91" y="37"/>
                  </a:lnTo>
                  <a:lnTo>
                    <a:pt x="89" y="34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9" y="23"/>
                  </a:lnTo>
                  <a:lnTo>
                    <a:pt x="89" y="21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5" y="4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6" y="5"/>
                  </a:lnTo>
                  <a:lnTo>
                    <a:pt x="62" y="5"/>
                  </a:lnTo>
                  <a:lnTo>
                    <a:pt x="61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7" y="4"/>
                  </a:lnTo>
                  <a:lnTo>
                    <a:pt x="55" y="5"/>
                  </a:lnTo>
                  <a:lnTo>
                    <a:pt x="52" y="7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48" y="11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11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4" y="43"/>
                  </a:lnTo>
                  <a:lnTo>
                    <a:pt x="7" y="4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4" y="60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11" y="68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8" y="75"/>
                  </a:lnTo>
                  <a:lnTo>
                    <a:pt x="20" y="76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3" y="85"/>
                  </a:lnTo>
                  <a:lnTo>
                    <a:pt x="25" y="87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4" y="87"/>
                  </a:lnTo>
                  <a:lnTo>
                    <a:pt x="36" y="85"/>
                  </a:lnTo>
                  <a:lnTo>
                    <a:pt x="38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41" y="84"/>
                  </a:lnTo>
                  <a:lnTo>
                    <a:pt x="43" y="82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8" y="80"/>
                  </a:lnTo>
                  <a:lnTo>
                    <a:pt x="50" y="80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28"/>
            <p:cNvSpPr>
              <a:spLocks/>
            </p:cNvSpPr>
            <p:nvPr/>
          </p:nvSpPr>
          <p:spPr bwMode="auto">
            <a:xfrm>
              <a:off x="874070" y="2392975"/>
              <a:ext cx="73019" cy="84999"/>
            </a:xfrm>
            <a:custGeom>
              <a:avLst/>
              <a:gdLst>
                <a:gd name="T0" fmla="*/ 99 w 128"/>
                <a:gd name="T1" fmla="*/ 149 h 149"/>
                <a:gd name="T2" fmla="*/ 103 w 128"/>
                <a:gd name="T3" fmla="*/ 140 h 149"/>
                <a:gd name="T4" fmla="*/ 110 w 128"/>
                <a:gd name="T5" fmla="*/ 135 h 149"/>
                <a:gd name="T6" fmla="*/ 115 w 128"/>
                <a:gd name="T7" fmla="*/ 128 h 149"/>
                <a:gd name="T8" fmla="*/ 117 w 128"/>
                <a:gd name="T9" fmla="*/ 119 h 149"/>
                <a:gd name="T10" fmla="*/ 117 w 128"/>
                <a:gd name="T11" fmla="*/ 108 h 149"/>
                <a:gd name="T12" fmla="*/ 121 w 128"/>
                <a:gd name="T13" fmla="*/ 105 h 149"/>
                <a:gd name="T14" fmla="*/ 121 w 128"/>
                <a:gd name="T15" fmla="*/ 94 h 149"/>
                <a:gd name="T16" fmla="*/ 126 w 128"/>
                <a:gd name="T17" fmla="*/ 87 h 149"/>
                <a:gd name="T18" fmla="*/ 119 w 128"/>
                <a:gd name="T19" fmla="*/ 78 h 149"/>
                <a:gd name="T20" fmla="*/ 117 w 128"/>
                <a:gd name="T21" fmla="*/ 76 h 149"/>
                <a:gd name="T22" fmla="*/ 108 w 128"/>
                <a:gd name="T23" fmla="*/ 67 h 149"/>
                <a:gd name="T24" fmla="*/ 96 w 128"/>
                <a:gd name="T25" fmla="*/ 55 h 149"/>
                <a:gd name="T26" fmla="*/ 91 w 128"/>
                <a:gd name="T27" fmla="*/ 57 h 149"/>
                <a:gd name="T28" fmla="*/ 85 w 128"/>
                <a:gd name="T29" fmla="*/ 62 h 149"/>
                <a:gd name="T30" fmla="*/ 78 w 128"/>
                <a:gd name="T31" fmla="*/ 57 h 149"/>
                <a:gd name="T32" fmla="*/ 73 w 128"/>
                <a:gd name="T33" fmla="*/ 44 h 149"/>
                <a:gd name="T34" fmla="*/ 75 w 128"/>
                <a:gd name="T35" fmla="*/ 35 h 149"/>
                <a:gd name="T36" fmla="*/ 71 w 128"/>
                <a:gd name="T37" fmla="*/ 25 h 149"/>
                <a:gd name="T38" fmla="*/ 66 w 128"/>
                <a:gd name="T39" fmla="*/ 21 h 149"/>
                <a:gd name="T40" fmla="*/ 55 w 128"/>
                <a:gd name="T41" fmla="*/ 18 h 149"/>
                <a:gd name="T42" fmla="*/ 50 w 128"/>
                <a:gd name="T43" fmla="*/ 11 h 149"/>
                <a:gd name="T44" fmla="*/ 41 w 128"/>
                <a:gd name="T45" fmla="*/ 9 h 149"/>
                <a:gd name="T46" fmla="*/ 37 w 128"/>
                <a:gd name="T47" fmla="*/ 2 h 149"/>
                <a:gd name="T48" fmla="*/ 34 w 128"/>
                <a:gd name="T49" fmla="*/ 0 h 149"/>
                <a:gd name="T50" fmla="*/ 25 w 128"/>
                <a:gd name="T51" fmla="*/ 11 h 149"/>
                <a:gd name="T52" fmla="*/ 21 w 128"/>
                <a:gd name="T53" fmla="*/ 21 h 149"/>
                <a:gd name="T54" fmla="*/ 18 w 128"/>
                <a:gd name="T55" fmla="*/ 32 h 149"/>
                <a:gd name="T56" fmla="*/ 14 w 128"/>
                <a:gd name="T57" fmla="*/ 64 h 149"/>
                <a:gd name="T58" fmla="*/ 14 w 128"/>
                <a:gd name="T59" fmla="*/ 66 h 149"/>
                <a:gd name="T60" fmla="*/ 9 w 128"/>
                <a:gd name="T61" fmla="*/ 66 h 149"/>
                <a:gd name="T62" fmla="*/ 0 w 128"/>
                <a:gd name="T63" fmla="*/ 69 h 149"/>
                <a:gd name="T64" fmla="*/ 9 w 128"/>
                <a:gd name="T65" fmla="*/ 76 h 149"/>
                <a:gd name="T66" fmla="*/ 18 w 128"/>
                <a:gd name="T67" fmla="*/ 89 h 149"/>
                <a:gd name="T68" fmla="*/ 21 w 128"/>
                <a:gd name="T69" fmla="*/ 96 h 149"/>
                <a:gd name="T70" fmla="*/ 28 w 128"/>
                <a:gd name="T71" fmla="*/ 103 h 149"/>
                <a:gd name="T72" fmla="*/ 35 w 128"/>
                <a:gd name="T73" fmla="*/ 99 h 149"/>
                <a:gd name="T74" fmla="*/ 39 w 128"/>
                <a:gd name="T75" fmla="*/ 108 h 149"/>
                <a:gd name="T76" fmla="*/ 41 w 128"/>
                <a:gd name="T77" fmla="*/ 115 h 149"/>
                <a:gd name="T78" fmla="*/ 53 w 128"/>
                <a:gd name="T79" fmla="*/ 124 h 149"/>
                <a:gd name="T80" fmla="*/ 62 w 128"/>
                <a:gd name="T81" fmla="*/ 128 h 149"/>
                <a:gd name="T82" fmla="*/ 62 w 128"/>
                <a:gd name="T83" fmla="*/ 137 h 149"/>
                <a:gd name="T84" fmla="*/ 69 w 128"/>
                <a:gd name="T85" fmla="*/ 139 h 149"/>
                <a:gd name="T86" fmla="*/ 82 w 128"/>
                <a:gd name="T87" fmla="*/ 137 h 149"/>
                <a:gd name="T88" fmla="*/ 87 w 128"/>
                <a:gd name="T89" fmla="*/ 144 h 149"/>
                <a:gd name="T90" fmla="*/ 91 w 128"/>
                <a:gd name="T91" fmla="*/ 149 h 149"/>
                <a:gd name="T92" fmla="*/ 94 w 128"/>
                <a:gd name="T93" fmla="*/ 149 h 149"/>
                <a:gd name="T94" fmla="*/ 98 w 128"/>
                <a:gd name="T95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" h="149">
                  <a:moveTo>
                    <a:pt x="98" y="149"/>
                  </a:moveTo>
                  <a:lnTo>
                    <a:pt x="98" y="149"/>
                  </a:lnTo>
                  <a:lnTo>
                    <a:pt x="99" y="149"/>
                  </a:lnTo>
                  <a:lnTo>
                    <a:pt x="101" y="147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7" y="139"/>
                  </a:lnTo>
                  <a:lnTo>
                    <a:pt x="110" y="137"/>
                  </a:lnTo>
                  <a:lnTo>
                    <a:pt x="110" y="135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15" y="128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19"/>
                  </a:lnTo>
                  <a:lnTo>
                    <a:pt x="117" y="115"/>
                  </a:lnTo>
                  <a:lnTo>
                    <a:pt x="117" y="110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9" y="105"/>
                  </a:lnTo>
                  <a:lnTo>
                    <a:pt x="121" y="105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4"/>
                  </a:lnTo>
                  <a:lnTo>
                    <a:pt x="123" y="91"/>
                  </a:lnTo>
                  <a:lnTo>
                    <a:pt x="126" y="87"/>
                  </a:lnTo>
                  <a:lnTo>
                    <a:pt x="126" y="87"/>
                  </a:lnTo>
                  <a:lnTo>
                    <a:pt x="128" y="83"/>
                  </a:lnTo>
                  <a:lnTo>
                    <a:pt x="126" y="82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2" y="73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1" y="59"/>
                  </a:lnTo>
                  <a:lnTo>
                    <a:pt x="98" y="57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2" y="55"/>
                  </a:lnTo>
                  <a:lnTo>
                    <a:pt x="91" y="57"/>
                  </a:lnTo>
                  <a:lnTo>
                    <a:pt x="87" y="59"/>
                  </a:lnTo>
                  <a:lnTo>
                    <a:pt x="87" y="59"/>
                  </a:lnTo>
                  <a:lnTo>
                    <a:pt x="85" y="62"/>
                  </a:lnTo>
                  <a:lnTo>
                    <a:pt x="82" y="62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5" y="55"/>
                  </a:lnTo>
                  <a:lnTo>
                    <a:pt x="75" y="50"/>
                  </a:lnTo>
                  <a:lnTo>
                    <a:pt x="73" y="44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5" y="35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1" y="25"/>
                  </a:lnTo>
                  <a:lnTo>
                    <a:pt x="69" y="23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2" y="18"/>
                  </a:lnTo>
                  <a:lnTo>
                    <a:pt x="59" y="18"/>
                  </a:lnTo>
                  <a:lnTo>
                    <a:pt x="55" y="18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0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1" y="9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5"/>
                  </a:lnTo>
                  <a:lnTo>
                    <a:pt x="27" y="9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6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5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6"/>
                  </a:lnTo>
                  <a:lnTo>
                    <a:pt x="11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5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9" y="76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8" y="89"/>
                  </a:lnTo>
                  <a:lnTo>
                    <a:pt x="18" y="92"/>
                  </a:lnTo>
                  <a:lnTo>
                    <a:pt x="21" y="96"/>
                  </a:lnTo>
                  <a:lnTo>
                    <a:pt x="21" y="96"/>
                  </a:lnTo>
                  <a:lnTo>
                    <a:pt x="21" y="99"/>
                  </a:lnTo>
                  <a:lnTo>
                    <a:pt x="27" y="103"/>
                  </a:lnTo>
                  <a:lnTo>
                    <a:pt x="28" y="103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7" y="103"/>
                  </a:lnTo>
                  <a:lnTo>
                    <a:pt x="39" y="105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41" y="114"/>
                  </a:lnTo>
                  <a:lnTo>
                    <a:pt x="41" y="115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53" y="124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62" y="128"/>
                  </a:lnTo>
                  <a:lnTo>
                    <a:pt x="62" y="130"/>
                  </a:lnTo>
                  <a:lnTo>
                    <a:pt x="62" y="133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6" y="139"/>
                  </a:lnTo>
                  <a:lnTo>
                    <a:pt x="69" y="139"/>
                  </a:lnTo>
                  <a:lnTo>
                    <a:pt x="78" y="137"/>
                  </a:lnTo>
                  <a:lnTo>
                    <a:pt x="78" y="137"/>
                  </a:lnTo>
                  <a:lnTo>
                    <a:pt x="82" y="137"/>
                  </a:lnTo>
                  <a:lnTo>
                    <a:pt x="82" y="137"/>
                  </a:lnTo>
                  <a:lnTo>
                    <a:pt x="87" y="139"/>
                  </a:lnTo>
                  <a:lnTo>
                    <a:pt x="87" y="144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4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8" y="14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auto">
            <a:xfrm>
              <a:off x="802192" y="2347338"/>
              <a:ext cx="62751" cy="59899"/>
            </a:xfrm>
            <a:custGeom>
              <a:avLst/>
              <a:gdLst>
                <a:gd name="T0" fmla="*/ 71 w 110"/>
                <a:gd name="T1" fmla="*/ 89 h 105"/>
                <a:gd name="T2" fmla="*/ 73 w 110"/>
                <a:gd name="T3" fmla="*/ 75 h 105"/>
                <a:gd name="T4" fmla="*/ 80 w 110"/>
                <a:gd name="T5" fmla="*/ 64 h 105"/>
                <a:gd name="T6" fmla="*/ 87 w 110"/>
                <a:gd name="T7" fmla="*/ 57 h 105"/>
                <a:gd name="T8" fmla="*/ 103 w 110"/>
                <a:gd name="T9" fmla="*/ 48 h 105"/>
                <a:gd name="T10" fmla="*/ 105 w 110"/>
                <a:gd name="T11" fmla="*/ 41 h 105"/>
                <a:gd name="T12" fmla="*/ 110 w 110"/>
                <a:gd name="T13" fmla="*/ 35 h 105"/>
                <a:gd name="T14" fmla="*/ 106 w 110"/>
                <a:gd name="T15" fmla="*/ 30 h 105"/>
                <a:gd name="T16" fmla="*/ 103 w 110"/>
                <a:gd name="T17" fmla="*/ 27 h 105"/>
                <a:gd name="T18" fmla="*/ 96 w 110"/>
                <a:gd name="T19" fmla="*/ 28 h 105"/>
                <a:gd name="T20" fmla="*/ 87 w 110"/>
                <a:gd name="T21" fmla="*/ 21 h 105"/>
                <a:gd name="T22" fmla="*/ 87 w 110"/>
                <a:gd name="T23" fmla="*/ 19 h 105"/>
                <a:gd name="T24" fmla="*/ 87 w 110"/>
                <a:gd name="T25" fmla="*/ 12 h 105"/>
                <a:gd name="T26" fmla="*/ 87 w 110"/>
                <a:gd name="T27" fmla="*/ 9 h 105"/>
                <a:gd name="T28" fmla="*/ 85 w 110"/>
                <a:gd name="T29" fmla="*/ 7 h 105"/>
                <a:gd name="T30" fmla="*/ 80 w 110"/>
                <a:gd name="T31" fmla="*/ 9 h 105"/>
                <a:gd name="T32" fmla="*/ 78 w 110"/>
                <a:gd name="T33" fmla="*/ 9 h 105"/>
                <a:gd name="T34" fmla="*/ 74 w 110"/>
                <a:gd name="T35" fmla="*/ 11 h 105"/>
                <a:gd name="T36" fmla="*/ 73 w 110"/>
                <a:gd name="T37" fmla="*/ 11 h 105"/>
                <a:gd name="T38" fmla="*/ 69 w 110"/>
                <a:gd name="T39" fmla="*/ 14 h 105"/>
                <a:gd name="T40" fmla="*/ 65 w 110"/>
                <a:gd name="T41" fmla="*/ 14 h 105"/>
                <a:gd name="T42" fmla="*/ 58 w 110"/>
                <a:gd name="T43" fmla="*/ 12 h 105"/>
                <a:gd name="T44" fmla="*/ 57 w 110"/>
                <a:gd name="T45" fmla="*/ 9 h 105"/>
                <a:gd name="T46" fmla="*/ 53 w 110"/>
                <a:gd name="T47" fmla="*/ 2 h 105"/>
                <a:gd name="T48" fmla="*/ 49 w 110"/>
                <a:gd name="T49" fmla="*/ 0 h 105"/>
                <a:gd name="T50" fmla="*/ 49 w 110"/>
                <a:gd name="T51" fmla="*/ 0 h 105"/>
                <a:gd name="T52" fmla="*/ 42 w 110"/>
                <a:gd name="T53" fmla="*/ 3 h 105"/>
                <a:gd name="T54" fmla="*/ 37 w 110"/>
                <a:gd name="T55" fmla="*/ 7 h 105"/>
                <a:gd name="T56" fmla="*/ 30 w 110"/>
                <a:gd name="T57" fmla="*/ 7 h 105"/>
                <a:gd name="T58" fmla="*/ 28 w 110"/>
                <a:gd name="T59" fmla="*/ 9 h 105"/>
                <a:gd name="T60" fmla="*/ 28 w 110"/>
                <a:gd name="T61" fmla="*/ 12 h 105"/>
                <a:gd name="T62" fmla="*/ 23 w 110"/>
                <a:gd name="T63" fmla="*/ 21 h 105"/>
                <a:gd name="T64" fmla="*/ 23 w 110"/>
                <a:gd name="T65" fmla="*/ 27 h 105"/>
                <a:gd name="T66" fmla="*/ 16 w 110"/>
                <a:gd name="T67" fmla="*/ 27 h 105"/>
                <a:gd name="T68" fmla="*/ 9 w 110"/>
                <a:gd name="T69" fmla="*/ 25 h 105"/>
                <a:gd name="T70" fmla="*/ 5 w 110"/>
                <a:gd name="T71" fmla="*/ 27 h 105"/>
                <a:gd name="T72" fmla="*/ 3 w 110"/>
                <a:gd name="T73" fmla="*/ 28 h 105"/>
                <a:gd name="T74" fmla="*/ 0 w 110"/>
                <a:gd name="T75" fmla="*/ 28 h 105"/>
                <a:gd name="T76" fmla="*/ 0 w 110"/>
                <a:gd name="T77" fmla="*/ 34 h 105"/>
                <a:gd name="T78" fmla="*/ 1 w 110"/>
                <a:gd name="T79" fmla="*/ 39 h 105"/>
                <a:gd name="T80" fmla="*/ 3 w 110"/>
                <a:gd name="T81" fmla="*/ 43 h 105"/>
                <a:gd name="T82" fmla="*/ 9 w 110"/>
                <a:gd name="T83" fmla="*/ 44 h 105"/>
                <a:gd name="T84" fmla="*/ 10 w 110"/>
                <a:gd name="T85" fmla="*/ 44 h 105"/>
                <a:gd name="T86" fmla="*/ 12 w 110"/>
                <a:gd name="T87" fmla="*/ 44 h 105"/>
                <a:gd name="T88" fmla="*/ 17 w 110"/>
                <a:gd name="T89" fmla="*/ 46 h 105"/>
                <a:gd name="T90" fmla="*/ 23 w 110"/>
                <a:gd name="T91" fmla="*/ 48 h 105"/>
                <a:gd name="T92" fmla="*/ 28 w 110"/>
                <a:gd name="T93" fmla="*/ 51 h 105"/>
                <a:gd name="T94" fmla="*/ 28 w 110"/>
                <a:gd name="T95" fmla="*/ 60 h 105"/>
                <a:gd name="T96" fmla="*/ 32 w 110"/>
                <a:gd name="T97" fmla="*/ 67 h 105"/>
                <a:gd name="T98" fmla="*/ 32 w 110"/>
                <a:gd name="T99" fmla="*/ 67 h 105"/>
                <a:gd name="T100" fmla="*/ 35 w 110"/>
                <a:gd name="T101" fmla="*/ 71 h 105"/>
                <a:gd name="T102" fmla="*/ 39 w 110"/>
                <a:gd name="T103" fmla="*/ 85 h 105"/>
                <a:gd name="T104" fmla="*/ 42 w 110"/>
                <a:gd name="T105" fmla="*/ 89 h 105"/>
                <a:gd name="T106" fmla="*/ 49 w 110"/>
                <a:gd name="T107" fmla="*/ 94 h 105"/>
                <a:gd name="T108" fmla="*/ 55 w 110"/>
                <a:gd name="T109" fmla="*/ 101 h 105"/>
                <a:gd name="T110" fmla="*/ 57 w 110"/>
                <a:gd name="T111" fmla="*/ 105 h 105"/>
                <a:gd name="T112" fmla="*/ 69 w 110"/>
                <a:gd name="T113" fmla="*/ 98 h 105"/>
                <a:gd name="T114" fmla="*/ 71 w 110"/>
                <a:gd name="T115" fmla="*/ 98 h 105"/>
                <a:gd name="T116" fmla="*/ 71 w 110"/>
                <a:gd name="T117" fmla="*/ 92 h 105"/>
                <a:gd name="T118" fmla="*/ 71 w 110"/>
                <a:gd name="T119" fmla="*/ 89 h 105"/>
                <a:gd name="T120" fmla="*/ 71 w 110"/>
                <a:gd name="T121" fmla="*/ 8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0" h="105">
                  <a:moveTo>
                    <a:pt x="71" y="89"/>
                  </a:moveTo>
                  <a:lnTo>
                    <a:pt x="71" y="89"/>
                  </a:lnTo>
                  <a:lnTo>
                    <a:pt x="71" y="82"/>
                  </a:lnTo>
                  <a:lnTo>
                    <a:pt x="73" y="75"/>
                  </a:lnTo>
                  <a:lnTo>
                    <a:pt x="74" y="67"/>
                  </a:lnTo>
                  <a:lnTo>
                    <a:pt x="80" y="64"/>
                  </a:lnTo>
                  <a:lnTo>
                    <a:pt x="83" y="62"/>
                  </a:lnTo>
                  <a:lnTo>
                    <a:pt x="87" y="57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2"/>
                  </a:lnTo>
                  <a:lnTo>
                    <a:pt x="106" y="30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19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90" y="11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5" y="7"/>
                  </a:lnTo>
                  <a:lnTo>
                    <a:pt x="83" y="7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78" y="9"/>
                  </a:lnTo>
                  <a:lnTo>
                    <a:pt x="76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3" y="11"/>
                  </a:lnTo>
                  <a:lnTo>
                    <a:pt x="71" y="12"/>
                  </a:lnTo>
                  <a:lnTo>
                    <a:pt x="69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0" y="14"/>
                  </a:lnTo>
                  <a:lnTo>
                    <a:pt x="58" y="12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5" y="3"/>
                  </a:lnTo>
                  <a:lnTo>
                    <a:pt x="53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4" y="3"/>
                  </a:lnTo>
                  <a:lnTo>
                    <a:pt x="42" y="3"/>
                  </a:lnTo>
                  <a:lnTo>
                    <a:pt x="41" y="5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0" y="7"/>
                  </a:lnTo>
                  <a:lnTo>
                    <a:pt x="28" y="7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7"/>
                  </a:lnTo>
                  <a:lnTo>
                    <a:pt x="19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9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39"/>
                  </a:lnTo>
                  <a:lnTo>
                    <a:pt x="1" y="41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7" y="46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5" y="51"/>
                  </a:lnTo>
                  <a:lnTo>
                    <a:pt x="28" y="51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6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5" y="71"/>
                  </a:lnTo>
                  <a:lnTo>
                    <a:pt x="37" y="75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2" y="89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62" y="101"/>
                  </a:lnTo>
                  <a:lnTo>
                    <a:pt x="69" y="98"/>
                  </a:lnTo>
                  <a:lnTo>
                    <a:pt x="69" y="98"/>
                  </a:lnTo>
                  <a:lnTo>
                    <a:pt x="71" y="98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1" name="Freeform 30"/>
            <p:cNvSpPr>
              <a:spLocks/>
            </p:cNvSpPr>
            <p:nvPr/>
          </p:nvSpPr>
          <p:spPr bwMode="auto">
            <a:xfrm>
              <a:off x="1017827" y="2306835"/>
              <a:ext cx="142046" cy="148891"/>
            </a:xfrm>
            <a:custGeom>
              <a:avLst/>
              <a:gdLst>
                <a:gd name="T0" fmla="*/ 123 w 249"/>
                <a:gd name="T1" fmla="*/ 18 h 261"/>
                <a:gd name="T2" fmla="*/ 111 w 249"/>
                <a:gd name="T3" fmla="*/ 19 h 261"/>
                <a:gd name="T4" fmla="*/ 114 w 249"/>
                <a:gd name="T5" fmla="*/ 23 h 261"/>
                <a:gd name="T6" fmla="*/ 123 w 249"/>
                <a:gd name="T7" fmla="*/ 28 h 261"/>
                <a:gd name="T8" fmla="*/ 107 w 249"/>
                <a:gd name="T9" fmla="*/ 51 h 261"/>
                <a:gd name="T10" fmla="*/ 93 w 249"/>
                <a:gd name="T11" fmla="*/ 73 h 261"/>
                <a:gd name="T12" fmla="*/ 75 w 249"/>
                <a:gd name="T13" fmla="*/ 83 h 261"/>
                <a:gd name="T14" fmla="*/ 50 w 249"/>
                <a:gd name="T15" fmla="*/ 83 h 261"/>
                <a:gd name="T16" fmla="*/ 34 w 249"/>
                <a:gd name="T17" fmla="*/ 94 h 261"/>
                <a:gd name="T18" fmla="*/ 41 w 249"/>
                <a:gd name="T19" fmla="*/ 131 h 261"/>
                <a:gd name="T20" fmla="*/ 23 w 249"/>
                <a:gd name="T21" fmla="*/ 121 h 261"/>
                <a:gd name="T22" fmla="*/ 9 w 249"/>
                <a:gd name="T23" fmla="*/ 133 h 261"/>
                <a:gd name="T24" fmla="*/ 6 w 249"/>
                <a:gd name="T25" fmla="*/ 147 h 261"/>
                <a:gd name="T26" fmla="*/ 23 w 249"/>
                <a:gd name="T27" fmla="*/ 160 h 261"/>
                <a:gd name="T28" fmla="*/ 47 w 249"/>
                <a:gd name="T29" fmla="*/ 174 h 261"/>
                <a:gd name="T30" fmla="*/ 54 w 249"/>
                <a:gd name="T31" fmla="*/ 172 h 261"/>
                <a:gd name="T32" fmla="*/ 54 w 249"/>
                <a:gd name="T33" fmla="*/ 185 h 261"/>
                <a:gd name="T34" fmla="*/ 55 w 249"/>
                <a:gd name="T35" fmla="*/ 218 h 261"/>
                <a:gd name="T36" fmla="*/ 64 w 249"/>
                <a:gd name="T37" fmla="*/ 240 h 261"/>
                <a:gd name="T38" fmla="*/ 68 w 249"/>
                <a:gd name="T39" fmla="*/ 261 h 261"/>
                <a:gd name="T40" fmla="*/ 71 w 249"/>
                <a:gd name="T41" fmla="*/ 243 h 261"/>
                <a:gd name="T42" fmla="*/ 87 w 249"/>
                <a:gd name="T43" fmla="*/ 240 h 261"/>
                <a:gd name="T44" fmla="*/ 119 w 249"/>
                <a:gd name="T45" fmla="*/ 213 h 261"/>
                <a:gd name="T46" fmla="*/ 130 w 249"/>
                <a:gd name="T47" fmla="*/ 210 h 261"/>
                <a:gd name="T48" fmla="*/ 143 w 249"/>
                <a:gd name="T49" fmla="*/ 195 h 261"/>
                <a:gd name="T50" fmla="*/ 150 w 249"/>
                <a:gd name="T51" fmla="*/ 185 h 261"/>
                <a:gd name="T52" fmla="*/ 164 w 249"/>
                <a:gd name="T53" fmla="*/ 186 h 261"/>
                <a:gd name="T54" fmla="*/ 175 w 249"/>
                <a:gd name="T55" fmla="*/ 201 h 261"/>
                <a:gd name="T56" fmla="*/ 194 w 249"/>
                <a:gd name="T57" fmla="*/ 215 h 261"/>
                <a:gd name="T58" fmla="*/ 205 w 249"/>
                <a:gd name="T59" fmla="*/ 206 h 261"/>
                <a:gd name="T60" fmla="*/ 208 w 249"/>
                <a:gd name="T61" fmla="*/ 201 h 261"/>
                <a:gd name="T62" fmla="*/ 217 w 249"/>
                <a:gd name="T63" fmla="*/ 188 h 261"/>
                <a:gd name="T64" fmla="*/ 214 w 249"/>
                <a:gd name="T65" fmla="*/ 185 h 261"/>
                <a:gd name="T66" fmla="*/ 210 w 249"/>
                <a:gd name="T67" fmla="*/ 176 h 261"/>
                <a:gd name="T68" fmla="*/ 228 w 249"/>
                <a:gd name="T69" fmla="*/ 163 h 261"/>
                <a:gd name="T70" fmla="*/ 247 w 249"/>
                <a:gd name="T71" fmla="*/ 151 h 261"/>
                <a:gd name="T72" fmla="*/ 247 w 249"/>
                <a:gd name="T73" fmla="*/ 138 h 261"/>
                <a:gd name="T74" fmla="*/ 226 w 249"/>
                <a:gd name="T75" fmla="*/ 112 h 261"/>
                <a:gd name="T76" fmla="*/ 203 w 249"/>
                <a:gd name="T77" fmla="*/ 112 h 261"/>
                <a:gd name="T78" fmla="*/ 198 w 249"/>
                <a:gd name="T79" fmla="*/ 103 h 261"/>
                <a:gd name="T80" fmla="*/ 182 w 249"/>
                <a:gd name="T81" fmla="*/ 103 h 261"/>
                <a:gd name="T82" fmla="*/ 167 w 249"/>
                <a:gd name="T83" fmla="*/ 94 h 261"/>
                <a:gd name="T84" fmla="*/ 164 w 249"/>
                <a:gd name="T85" fmla="*/ 99 h 261"/>
                <a:gd name="T86" fmla="*/ 153 w 249"/>
                <a:gd name="T87" fmla="*/ 101 h 261"/>
                <a:gd name="T88" fmla="*/ 141 w 249"/>
                <a:gd name="T89" fmla="*/ 115 h 261"/>
                <a:gd name="T90" fmla="*/ 139 w 249"/>
                <a:gd name="T91" fmla="*/ 106 h 261"/>
                <a:gd name="T92" fmla="*/ 143 w 249"/>
                <a:gd name="T93" fmla="*/ 96 h 261"/>
                <a:gd name="T94" fmla="*/ 143 w 249"/>
                <a:gd name="T95" fmla="*/ 83 h 261"/>
                <a:gd name="T96" fmla="*/ 153 w 249"/>
                <a:gd name="T97" fmla="*/ 53 h 261"/>
                <a:gd name="T98" fmla="*/ 162 w 249"/>
                <a:gd name="T99" fmla="*/ 51 h 261"/>
                <a:gd name="T100" fmla="*/ 164 w 249"/>
                <a:gd name="T101" fmla="*/ 39 h 261"/>
                <a:gd name="T102" fmla="*/ 175 w 249"/>
                <a:gd name="T103" fmla="*/ 28 h 261"/>
                <a:gd name="T104" fmla="*/ 171 w 249"/>
                <a:gd name="T105" fmla="*/ 12 h 261"/>
                <a:gd name="T106" fmla="*/ 150 w 249"/>
                <a:gd name="T107" fmla="*/ 2 h 261"/>
                <a:gd name="T108" fmla="*/ 130 w 249"/>
                <a:gd name="T109" fmla="*/ 16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9" h="261">
                  <a:moveTo>
                    <a:pt x="130" y="16"/>
                  </a:moveTo>
                  <a:lnTo>
                    <a:pt x="130" y="16"/>
                  </a:lnTo>
                  <a:lnTo>
                    <a:pt x="127" y="18"/>
                  </a:lnTo>
                  <a:lnTo>
                    <a:pt x="123" y="18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2" y="16"/>
                  </a:lnTo>
                  <a:lnTo>
                    <a:pt x="111" y="19"/>
                  </a:lnTo>
                  <a:lnTo>
                    <a:pt x="111" y="21"/>
                  </a:lnTo>
                  <a:lnTo>
                    <a:pt x="111" y="21"/>
                  </a:lnTo>
                  <a:lnTo>
                    <a:pt x="112" y="23"/>
                  </a:lnTo>
                  <a:lnTo>
                    <a:pt x="114" y="23"/>
                  </a:lnTo>
                  <a:lnTo>
                    <a:pt x="121" y="28"/>
                  </a:lnTo>
                  <a:lnTo>
                    <a:pt x="121" y="28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5" y="32"/>
                  </a:lnTo>
                  <a:lnTo>
                    <a:pt x="109" y="42"/>
                  </a:lnTo>
                  <a:lnTo>
                    <a:pt x="111" y="46"/>
                  </a:lnTo>
                  <a:lnTo>
                    <a:pt x="107" y="51"/>
                  </a:lnTo>
                  <a:lnTo>
                    <a:pt x="95" y="58"/>
                  </a:lnTo>
                  <a:lnTo>
                    <a:pt x="100" y="62"/>
                  </a:lnTo>
                  <a:lnTo>
                    <a:pt x="93" y="71"/>
                  </a:lnTo>
                  <a:lnTo>
                    <a:pt x="93" y="73"/>
                  </a:lnTo>
                  <a:lnTo>
                    <a:pt x="93" y="76"/>
                  </a:lnTo>
                  <a:lnTo>
                    <a:pt x="89" y="85"/>
                  </a:lnTo>
                  <a:lnTo>
                    <a:pt x="82" y="80"/>
                  </a:lnTo>
                  <a:lnTo>
                    <a:pt x="75" y="83"/>
                  </a:lnTo>
                  <a:lnTo>
                    <a:pt x="71" y="80"/>
                  </a:lnTo>
                  <a:lnTo>
                    <a:pt x="68" y="83"/>
                  </a:lnTo>
                  <a:lnTo>
                    <a:pt x="59" y="80"/>
                  </a:lnTo>
                  <a:lnTo>
                    <a:pt x="50" y="83"/>
                  </a:lnTo>
                  <a:lnTo>
                    <a:pt x="47" y="83"/>
                  </a:lnTo>
                  <a:lnTo>
                    <a:pt x="34" y="92"/>
                  </a:lnTo>
                  <a:lnTo>
                    <a:pt x="32" y="90"/>
                  </a:lnTo>
                  <a:lnTo>
                    <a:pt x="34" y="94"/>
                  </a:lnTo>
                  <a:lnTo>
                    <a:pt x="55" y="122"/>
                  </a:lnTo>
                  <a:lnTo>
                    <a:pt x="55" y="122"/>
                  </a:lnTo>
                  <a:lnTo>
                    <a:pt x="47" y="128"/>
                  </a:lnTo>
                  <a:lnTo>
                    <a:pt x="41" y="131"/>
                  </a:lnTo>
                  <a:lnTo>
                    <a:pt x="38" y="133"/>
                  </a:lnTo>
                  <a:lnTo>
                    <a:pt x="34" y="131"/>
                  </a:lnTo>
                  <a:lnTo>
                    <a:pt x="34" y="131"/>
                  </a:lnTo>
                  <a:lnTo>
                    <a:pt x="23" y="121"/>
                  </a:lnTo>
                  <a:lnTo>
                    <a:pt x="15" y="122"/>
                  </a:lnTo>
                  <a:lnTo>
                    <a:pt x="13" y="126"/>
                  </a:lnTo>
                  <a:lnTo>
                    <a:pt x="13" y="131"/>
                  </a:lnTo>
                  <a:lnTo>
                    <a:pt x="9" y="133"/>
                  </a:lnTo>
                  <a:lnTo>
                    <a:pt x="6" y="133"/>
                  </a:lnTo>
                  <a:lnTo>
                    <a:pt x="4" y="138"/>
                  </a:lnTo>
                  <a:lnTo>
                    <a:pt x="0" y="138"/>
                  </a:lnTo>
                  <a:lnTo>
                    <a:pt x="6" y="147"/>
                  </a:lnTo>
                  <a:lnTo>
                    <a:pt x="2" y="153"/>
                  </a:lnTo>
                  <a:lnTo>
                    <a:pt x="13" y="158"/>
                  </a:lnTo>
                  <a:lnTo>
                    <a:pt x="23" y="156"/>
                  </a:lnTo>
                  <a:lnTo>
                    <a:pt x="23" y="160"/>
                  </a:lnTo>
                  <a:lnTo>
                    <a:pt x="27" y="163"/>
                  </a:lnTo>
                  <a:lnTo>
                    <a:pt x="39" y="163"/>
                  </a:lnTo>
                  <a:lnTo>
                    <a:pt x="47" y="169"/>
                  </a:lnTo>
                  <a:lnTo>
                    <a:pt x="47" y="174"/>
                  </a:lnTo>
                  <a:lnTo>
                    <a:pt x="47" y="178"/>
                  </a:lnTo>
                  <a:lnTo>
                    <a:pt x="50" y="179"/>
                  </a:lnTo>
                  <a:lnTo>
                    <a:pt x="54" y="176"/>
                  </a:lnTo>
                  <a:lnTo>
                    <a:pt x="54" y="172"/>
                  </a:lnTo>
                  <a:lnTo>
                    <a:pt x="63" y="172"/>
                  </a:lnTo>
                  <a:lnTo>
                    <a:pt x="63" y="178"/>
                  </a:lnTo>
                  <a:lnTo>
                    <a:pt x="59" y="179"/>
                  </a:lnTo>
                  <a:lnTo>
                    <a:pt x="54" y="185"/>
                  </a:lnTo>
                  <a:lnTo>
                    <a:pt x="63" y="194"/>
                  </a:lnTo>
                  <a:lnTo>
                    <a:pt x="61" y="202"/>
                  </a:lnTo>
                  <a:lnTo>
                    <a:pt x="63" y="206"/>
                  </a:lnTo>
                  <a:lnTo>
                    <a:pt x="55" y="218"/>
                  </a:lnTo>
                  <a:lnTo>
                    <a:pt x="59" y="220"/>
                  </a:lnTo>
                  <a:lnTo>
                    <a:pt x="63" y="222"/>
                  </a:lnTo>
                  <a:lnTo>
                    <a:pt x="61" y="238"/>
                  </a:lnTo>
                  <a:lnTo>
                    <a:pt x="64" y="240"/>
                  </a:lnTo>
                  <a:lnTo>
                    <a:pt x="66" y="242"/>
                  </a:lnTo>
                  <a:lnTo>
                    <a:pt x="61" y="247"/>
                  </a:lnTo>
                  <a:lnTo>
                    <a:pt x="63" y="256"/>
                  </a:lnTo>
                  <a:lnTo>
                    <a:pt x="68" y="261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47"/>
                  </a:lnTo>
                  <a:lnTo>
                    <a:pt x="71" y="243"/>
                  </a:lnTo>
                  <a:lnTo>
                    <a:pt x="73" y="242"/>
                  </a:lnTo>
                  <a:lnTo>
                    <a:pt x="73" y="242"/>
                  </a:lnTo>
                  <a:lnTo>
                    <a:pt x="82" y="238"/>
                  </a:lnTo>
                  <a:lnTo>
                    <a:pt x="87" y="240"/>
                  </a:lnTo>
                  <a:lnTo>
                    <a:pt x="93" y="234"/>
                  </a:lnTo>
                  <a:lnTo>
                    <a:pt x="100" y="213"/>
                  </a:lnTo>
                  <a:lnTo>
                    <a:pt x="111" y="208"/>
                  </a:lnTo>
                  <a:lnTo>
                    <a:pt x="119" y="213"/>
                  </a:lnTo>
                  <a:lnTo>
                    <a:pt x="119" y="213"/>
                  </a:lnTo>
                  <a:lnTo>
                    <a:pt x="123" y="213"/>
                  </a:lnTo>
                  <a:lnTo>
                    <a:pt x="127" y="213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9" y="201"/>
                  </a:lnTo>
                  <a:lnTo>
                    <a:pt x="143" y="195"/>
                  </a:lnTo>
                  <a:lnTo>
                    <a:pt x="143" y="195"/>
                  </a:lnTo>
                  <a:lnTo>
                    <a:pt x="144" y="192"/>
                  </a:lnTo>
                  <a:lnTo>
                    <a:pt x="146" y="186"/>
                  </a:lnTo>
                  <a:lnTo>
                    <a:pt x="150" y="185"/>
                  </a:lnTo>
                  <a:lnTo>
                    <a:pt x="150" y="185"/>
                  </a:lnTo>
                  <a:lnTo>
                    <a:pt x="153" y="185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9" y="195"/>
                  </a:lnTo>
                  <a:lnTo>
                    <a:pt x="171" y="199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83" y="199"/>
                  </a:lnTo>
                  <a:lnTo>
                    <a:pt x="185" y="206"/>
                  </a:lnTo>
                  <a:lnTo>
                    <a:pt x="194" y="215"/>
                  </a:lnTo>
                  <a:lnTo>
                    <a:pt x="194" y="215"/>
                  </a:lnTo>
                  <a:lnTo>
                    <a:pt x="201" y="208"/>
                  </a:lnTo>
                  <a:lnTo>
                    <a:pt x="201" y="208"/>
                  </a:lnTo>
                  <a:lnTo>
                    <a:pt x="205" y="206"/>
                  </a:lnTo>
                  <a:lnTo>
                    <a:pt x="207" y="204"/>
                  </a:lnTo>
                  <a:lnTo>
                    <a:pt x="207" y="202"/>
                  </a:lnTo>
                  <a:lnTo>
                    <a:pt x="208" y="201"/>
                  </a:lnTo>
                  <a:lnTo>
                    <a:pt x="208" y="201"/>
                  </a:lnTo>
                  <a:lnTo>
                    <a:pt x="210" y="199"/>
                  </a:lnTo>
                  <a:lnTo>
                    <a:pt x="214" y="195"/>
                  </a:lnTo>
                  <a:lnTo>
                    <a:pt x="217" y="194"/>
                  </a:lnTo>
                  <a:lnTo>
                    <a:pt x="217" y="188"/>
                  </a:lnTo>
                  <a:lnTo>
                    <a:pt x="217" y="188"/>
                  </a:lnTo>
                  <a:lnTo>
                    <a:pt x="217" y="186"/>
                  </a:lnTo>
                  <a:lnTo>
                    <a:pt x="215" y="186"/>
                  </a:lnTo>
                  <a:lnTo>
                    <a:pt x="214" y="185"/>
                  </a:lnTo>
                  <a:lnTo>
                    <a:pt x="210" y="181"/>
                  </a:lnTo>
                  <a:lnTo>
                    <a:pt x="210" y="179"/>
                  </a:lnTo>
                  <a:lnTo>
                    <a:pt x="210" y="176"/>
                  </a:lnTo>
                  <a:lnTo>
                    <a:pt x="210" y="176"/>
                  </a:lnTo>
                  <a:lnTo>
                    <a:pt x="214" y="172"/>
                  </a:lnTo>
                  <a:lnTo>
                    <a:pt x="217" y="167"/>
                  </a:lnTo>
                  <a:lnTo>
                    <a:pt x="228" y="163"/>
                  </a:lnTo>
                  <a:lnTo>
                    <a:pt x="228" y="163"/>
                  </a:lnTo>
                  <a:lnTo>
                    <a:pt x="233" y="160"/>
                  </a:lnTo>
                  <a:lnTo>
                    <a:pt x="242" y="156"/>
                  </a:lnTo>
                  <a:lnTo>
                    <a:pt x="242" y="156"/>
                  </a:lnTo>
                  <a:lnTo>
                    <a:pt x="247" y="151"/>
                  </a:lnTo>
                  <a:lnTo>
                    <a:pt x="249" y="146"/>
                  </a:lnTo>
                  <a:lnTo>
                    <a:pt x="249" y="142"/>
                  </a:lnTo>
                  <a:lnTo>
                    <a:pt x="247" y="138"/>
                  </a:lnTo>
                  <a:lnTo>
                    <a:pt x="247" y="138"/>
                  </a:lnTo>
                  <a:lnTo>
                    <a:pt x="230" y="122"/>
                  </a:lnTo>
                  <a:lnTo>
                    <a:pt x="228" y="115"/>
                  </a:lnTo>
                  <a:lnTo>
                    <a:pt x="228" y="117"/>
                  </a:lnTo>
                  <a:lnTo>
                    <a:pt x="226" y="112"/>
                  </a:lnTo>
                  <a:lnTo>
                    <a:pt x="224" y="112"/>
                  </a:lnTo>
                  <a:lnTo>
                    <a:pt x="201" y="115"/>
                  </a:lnTo>
                  <a:lnTo>
                    <a:pt x="201" y="115"/>
                  </a:lnTo>
                  <a:lnTo>
                    <a:pt x="203" y="112"/>
                  </a:lnTo>
                  <a:lnTo>
                    <a:pt x="203" y="110"/>
                  </a:lnTo>
                  <a:lnTo>
                    <a:pt x="201" y="105"/>
                  </a:lnTo>
                  <a:lnTo>
                    <a:pt x="201" y="105"/>
                  </a:lnTo>
                  <a:lnTo>
                    <a:pt x="198" y="103"/>
                  </a:lnTo>
                  <a:lnTo>
                    <a:pt x="198" y="103"/>
                  </a:lnTo>
                  <a:lnTo>
                    <a:pt x="192" y="103"/>
                  </a:lnTo>
                  <a:lnTo>
                    <a:pt x="192" y="103"/>
                  </a:lnTo>
                  <a:lnTo>
                    <a:pt x="182" y="103"/>
                  </a:lnTo>
                  <a:lnTo>
                    <a:pt x="169" y="98"/>
                  </a:lnTo>
                  <a:lnTo>
                    <a:pt x="169" y="98"/>
                  </a:lnTo>
                  <a:lnTo>
                    <a:pt x="167" y="96"/>
                  </a:lnTo>
                  <a:lnTo>
                    <a:pt x="167" y="94"/>
                  </a:lnTo>
                  <a:lnTo>
                    <a:pt x="167" y="94"/>
                  </a:lnTo>
                  <a:lnTo>
                    <a:pt x="167" y="94"/>
                  </a:lnTo>
                  <a:lnTo>
                    <a:pt x="166" y="98"/>
                  </a:lnTo>
                  <a:lnTo>
                    <a:pt x="164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57" y="99"/>
                  </a:lnTo>
                  <a:lnTo>
                    <a:pt x="153" y="101"/>
                  </a:lnTo>
                  <a:lnTo>
                    <a:pt x="153" y="101"/>
                  </a:lnTo>
                  <a:lnTo>
                    <a:pt x="146" y="110"/>
                  </a:lnTo>
                  <a:lnTo>
                    <a:pt x="141" y="115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2"/>
                  </a:lnTo>
                  <a:lnTo>
                    <a:pt x="139" y="110"/>
                  </a:lnTo>
                  <a:lnTo>
                    <a:pt x="139" y="106"/>
                  </a:lnTo>
                  <a:lnTo>
                    <a:pt x="139" y="106"/>
                  </a:lnTo>
                  <a:lnTo>
                    <a:pt x="141" y="103"/>
                  </a:lnTo>
                  <a:lnTo>
                    <a:pt x="143" y="99"/>
                  </a:lnTo>
                  <a:lnTo>
                    <a:pt x="143" y="96"/>
                  </a:lnTo>
                  <a:lnTo>
                    <a:pt x="143" y="94"/>
                  </a:lnTo>
                  <a:lnTo>
                    <a:pt x="143" y="94"/>
                  </a:lnTo>
                  <a:lnTo>
                    <a:pt x="139" y="87"/>
                  </a:lnTo>
                  <a:lnTo>
                    <a:pt x="143" y="83"/>
                  </a:lnTo>
                  <a:lnTo>
                    <a:pt x="135" y="69"/>
                  </a:lnTo>
                  <a:lnTo>
                    <a:pt x="135" y="69"/>
                  </a:lnTo>
                  <a:lnTo>
                    <a:pt x="144" y="62"/>
                  </a:lnTo>
                  <a:lnTo>
                    <a:pt x="153" y="53"/>
                  </a:lnTo>
                  <a:lnTo>
                    <a:pt x="153" y="53"/>
                  </a:lnTo>
                  <a:lnTo>
                    <a:pt x="157" y="53"/>
                  </a:lnTo>
                  <a:lnTo>
                    <a:pt x="160" y="51"/>
                  </a:lnTo>
                  <a:lnTo>
                    <a:pt x="162" y="51"/>
                  </a:lnTo>
                  <a:lnTo>
                    <a:pt x="162" y="51"/>
                  </a:lnTo>
                  <a:lnTo>
                    <a:pt x="162" y="44"/>
                  </a:lnTo>
                  <a:lnTo>
                    <a:pt x="162" y="42"/>
                  </a:lnTo>
                  <a:lnTo>
                    <a:pt x="164" y="39"/>
                  </a:lnTo>
                  <a:lnTo>
                    <a:pt x="164" y="39"/>
                  </a:lnTo>
                  <a:lnTo>
                    <a:pt x="167" y="37"/>
                  </a:lnTo>
                  <a:lnTo>
                    <a:pt x="171" y="32"/>
                  </a:lnTo>
                  <a:lnTo>
                    <a:pt x="175" y="28"/>
                  </a:lnTo>
                  <a:lnTo>
                    <a:pt x="175" y="23"/>
                  </a:lnTo>
                  <a:lnTo>
                    <a:pt x="171" y="25"/>
                  </a:lnTo>
                  <a:lnTo>
                    <a:pt x="167" y="19"/>
                  </a:lnTo>
                  <a:lnTo>
                    <a:pt x="171" y="12"/>
                  </a:lnTo>
                  <a:lnTo>
                    <a:pt x="160" y="0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2" name="Freeform 31"/>
            <p:cNvSpPr>
              <a:spLocks/>
            </p:cNvSpPr>
            <p:nvPr/>
          </p:nvSpPr>
          <p:spPr bwMode="auto">
            <a:xfrm>
              <a:off x="944237" y="2179051"/>
              <a:ext cx="159160" cy="156878"/>
            </a:xfrm>
            <a:custGeom>
              <a:avLst/>
              <a:gdLst>
                <a:gd name="T0" fmla="*/ 3 w 279"/>
                <a:gd name="T1" fmla="*/ 58 h 275"/>
                <a:gd name="T2" fmla="*/ 8 w 279"/>
                <a:gd name="T3" fmla="*/ 73 h 275"/>
                <a:gd name="T4" fmla="*/ 7 w 279"/>
                <a:gd name="T5" fmla="*/ 87 h 275"/>
                <a:gd name="T6" fmla="*/ 10 w 279"/>
                <a:gd name="T7" fmla="*/ 92 h 275"/>
                <a:gd name="T8" fmla="*/ 30 w 279"/>
                <a:gd name="T9" fmla="*/ 98 h 275"/>
                <a:gd name="T10" fmla="*/ 28 w 279"/>
                <a:gd name="T11" fmla="*/ 112 h 275"/>
                <a:gd name="T12" fmla="*/ 33 w 279"/>
                <a:gd name="T13" fmla="*/ 119 h 275"/>
                <a:gd name="T14" fmla="*/ 48 w 279"/>
                <a:gd name="T15" fmla="*/ 115 h 275"/>
                <a:gd name="T16" fmla="*/ 51 w 279"/>
                <a:gd name="T17" fmla="*/ 103 h 275"/>
                <a:gd name="T18" fmla="*/ 55 w 279"/>
                <a:gd name="T19" fmla="*/ 115 h 275"/>
                <a:gd name="T20" fmla="*/ 49 w 279"/>
                <a:gd name="T21" fmla="*/ 128 h 275"/>
                <a:gd name="T22" fmla="*/ 56 w 279"/>
                <a:gd name="T23" fmla="*/ 140 h 275"/>
                <a:gd name="T24" fmla="*/ 65 w 279"/>
                <a:gd name="T25" fmla="*/ 133 h 275"/>
                <a:gd name="T26" fmla="*/ 74 w 279"/>
                <a:gd name="T27" fmla="*/ 151 h 275"/>
                <a:gd name="T28" fmla="*/ 72 w 279"/>
                <a:gd name="T29" fmla="*/ 169 h 275"/>
                <a:gd name="T30" fmla="*/ 81 w 279"/>
                <a:gd name="T31" fmla="*/ 188 h 275"/>
                <a:gd name="T32" fmla="*/ 96 w 279"/>
                <a:gd name="T33" fmla="*/ 186 h 275"/>
                <a:gd name="T34" fmla="*/ 108 w 279"/>
                <a:gd name="T35" fmla="*/ 181 h 275"/>
                <a:gd name="T36" fmla="*/ 128 w 279"/>
                <a:gd name="T37" fmla="*/ 192 h 275"/>
                <a:gd name="T38" fmla="*/ 131 w 279"/>
                <a:gd name="T39" fmla="*/ 183 h 275"/>
                <a:gd name="T40" fmla="*/ 136 w 279"/>
                <a:gd name="T41" fmla="*/ 186 h 275"/>
                <a:gd name="T42" fmla="*/ 142 w 279"/>
                <a:gd name="T43" fmla="*/ 199 h 275"/>
                <a:gd name="T44" fmla="*/ 144 w 279"/>
                <a:gd name="T45" fmla="*/ 206 h 275"/>
                <a:gd name="T46" fmla="*/ 158 w 279"/>
                <a:gd name="T47" fmla="*/ 220 h 275"/>
                <a:gd name="T48" fmla="*/ 176 w 279"/>
                <a:gd name="T49" fmla="*/ 252 h 275"/>
                <a:gd name="T50" fmla="*/ 204 w 279"/>
                <a:gd name="T51" fmla="*/ 266 h 275"/>
                <a:gd name="T52" fmla="*/ 216 w 279"/>
                <a:gd name="T53" fmla="*/ 265 h 275"/>
                <a:gd name="T54" fmla="*/ 238 w 279"/>
                <a:gd name="T55" fmla="*/ 266 h 275"/>
                <a:gd name="T56" fmla="*/ 250 w 279"/>
                <a:gd name="T57" fmla="*/ 252 h 275"/>
                <a:gd name="T58" fmla="*/ 240 w 279"/>
                <a:gd name="T59" fmla="*/ 245 h 275"/>
                <a:gd name="T60" fmla="*/ 252 w 279"/>
                <a:gd name="T61" fmla="*/ 242 h 275"/>
                <a:gd name="T62" fmla="*/ 275 w 279"/>
                <a:gd name="T63" fmla="*/ 227 h 275"/>
                <a:gd name="T64" fmla="*/ 263 w 279"/>
                <a:gd name="T65" fmla="*/ 199 h 275"/>
                <a:gd name="T66" fmla="*/ 243 w 279"/>
                <a:gd name="T67" fmla="*/ 185 h 275"/>
                <a:gd name="T68" fmla="*/ 232 w 279"/>
                <a:gd name="T69" fmla="*/ 163 h 275"/>
                <a:gd name="T70" fmla="*/ 216 w 279"/>
                <a:gd name="T71" fmla="*/ 163 h 275"/>
                <a:gd name="T72" fmla="*/ 209 w 279"/>
                <a:gd name="T73" fmla="*/ 153 h 275"/>
                <a:gd name="T74" fmla="*/ 188 w 279"/>
                <a:gd name="T75" fmla="*/ 126 h 275"/>
                <a:gd name="T76" fmla="*/ 174 w 279"/>
                <a:gd name="T77" fmla="*/ 126 h 275"/>
                <a:gd name="T78" fmla="*/ 168 w 279"/>
                <a:gd name="T79" fmla="*/ 114 h 275"/>
                <a:gd name="T80" fmla="*/ 152 w 279"/>
                <a:gd name="T81" fmla="*/ 96 h 275"/>
                <a:gd name="T82" fmla="*/ 138 w 279"/>
                <a:gd name="T83" fmla="*/ 78 h 275"/>
                <a:gd name="T84" fmla="*/ 138 w 279"/>
                <a:gd name="T85" fmla="*/ 55 h 275"/>
                <a:gd name="T86" fmla="*/ 151 w 279"/>
                <a:gd name="T87" fmla="*/ 34 h 275"/>
                <a:gd name="T88" fmla="*/ 149 w 279"/>
                <a:gd name="T89" fmla="*/ 9 h 275"/>
                <a:gd name="T90" fmla="*/ 131 w 279"/>
                <a:gd name="T91" fmla="*/ 3 h 275"/>
                <a:gd name="T92" fmla="*/ 108 w 279"/>
                <a:gd name="T93" fmla="*/ 12 h 275"/>
                <a:gd name="T94" fmla="*/ 94 w 279"/>
                <a:gd name="T95" fmla="*/ 2 h 275"/>
                <a:gd name="T96" fmla="*/ 88 w 279"/>
                <a:gd name="T97" fmla="*/ 0 h 275"/>
                <a:gd name="T98" fmla="*/ 56 w 279"/>
                <a:gd name="T99" fmla="*/ 16 h 275"/>
                <a:gd name="T100" fmla="*/ 48 w 279"/>
                <a:gd name="T101" fmla="*/ 32 h 275"/>
                <a:gd name="T102" fmla="*/ 39 w 279"/>
                <a:gd name="T103" fmla="*/ 39 h 275"/>
                <a:gd name="T104" fmla="*/ 24 w 279"/>
                <a:gd name="T105" fmla="*/ 42 h 275"/>
                <a:gd name="T106" fmla="*/ 8 w 279"/>
                <a:gd name="T107" fmla="*/ 39 h 275"/>
                <a:gd name="T108" fmla="*/ 0 w 279"/>
                <a:gd name="T109" fmla="*/ 5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75">
                  <a:moveTo>
                    <a:pt x="0" y="51"/>
                  </a:moveTo>
                  <a:lnTo>
                    <a:pt x="0" y="51"/>
                  </a:lnTo>
                  <a:lnTo>
                    <a:pt x="0" y="55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8" y="66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10" y="82"/>
                  </a:lnTo>
                  <a:lnTo>
                    <a:pt x="10" y="85"/>
                  </a:lnTo>
                  <a:lnTo>
                    <a:pt x="8" y="85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10" y="92"/>
                  </a:lnTo>
                  <a:lnTo>
                    <a:pt x="16" y="94"/>
                  </a:lnTo>
                  <a:lnTo>
                    <a:pt x="24" y="96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0" y="99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5"/>
                  </a:lnTo>
                  <a:lnTo>
                    <a:pt x="30" y="117"/>
                  </a:lnTo>
                  <a:lnTo>
                    <a:pt x="30" y="117"/>
                  </a:lnTo>
                  <a:lnTo>
                    <a:pt x="32" y="119"/>
                  </a:lnTo>
                  <a:lnTo>
                    <a:pt x="33" y="119"/>
                  </a:lnTo>
                  <a:lnTo>
                    <a:pt x="37" y="119"/>
                  </a:lnTo>
                  <a:lnTo>
                    <a:pt x="37" y="119"/>
                  </a:lnTo>
                  <a:lnTo>
                    <a:pt x="44" y="119"/>
                  </a:lnTo>
                  <a:lnTo>
                    <a:pt x="46" y="11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0"/>
                  </a:lnTo>
                  <a:lnTo>
                    <a:pt x="49" y="106"/>
                  </a:lnTo>
                  <a:lnTo>
                    <a:pt x="51" y="105"/>
                  </a:lnTo>
                  <a:lnTo>
                    <a:pt x="51" y="103"/>
                  </a:lnTo>
                  <a:lnTo>
                    <a:pt x="51" y="103"/>
                  </a:lnTo>
                  <a:lnTo>
                    <a:pt x="53" y="105"/>
                  </a:lnTo>
                  <a:lnTo>
                    <a:pt x="55" y="106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3" y="119"/>
                  </a:lnTo>
                  <a:lnTo>
                    <a:pt x="51" y="122"/>
                  </a:lnTo>
                  <a:lnTo>
                    <a:pt x="49" y="126"/>
                  </a:lnTo>
                  <a:lnTo>
                    <a:pt x="49" y="128"/>
                  </a:lnTo>
                  <a:lnTo>
                    <a:pt x="49" y="128"/>
                  </a:lnTo>
                  <a:lnTo>
                    <a:pt x="53" y="135"/>
                  </a:lnTo>
                  <a:lnTo>
                    <a:pt x="55" y="138"/>
                  </a:lnTo>
                  <a:lnTo>
                    <a:pt x="55" y="140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60" y="138"/>
                  </a:lnTo>
                  <a:lnTo>
                    <a:pt x="62" y="135"/>
                  </a:lnTo>
                  <a:lnTo>
                    <a:pt x="62" y="135"/>
                  </a:lnTo>
                  <a:lnTo>
                    <a:pt x="62" y="135"/>
                  </a:lnTo>
                  <a:lnTo>
                    <a:pt x="65" y="133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71" y="142"/>
                  </a:lnTo>
                  <a:lnTo>
                    <a:pt x="74" y="146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54"/>
                  </a:lnTo>
                  <a:lnTo>
                    <a:pt x="74" y="160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4" y="176"/>
                  </a:lnTo>
                  <a:lnTo>
                    <a:pt x="74" y="176"/>
                  </a:lnTo>
                  <a:lnTo>
                    <a:pt x="78" y="183"/>
                  </a:lnTo>
                  <a:lnTo>
                    <a:pt x="81" y="188"/>
                  </a:lnTo>
                  <a:lnTo>
                    <a:pt x="81" y="188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8" y="188"/>
                  </a:lnTo>
                  <a:lnTo>
                    <a:pt x="92" y="186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7" y="183"/>
                  </a:lnTo>
                  <a:lnTo>
                    <a:pt x="99" y="181"/>
                  </a:lnTo>
                  <a:lnTo>
                    <a:pt x="103" y="181"/>
                  </a:lnTo>
                  <a:lnTo>
                    <a:pt x="108" y="181"/>
                  </a:lnTo>
                  <a:lnTo>
                    <a:pt x="108" y="181"/>
                  </a:lnTo>
                  <a:lnTo>
                    <a:pt x="119" y="192"/>
                  </a:lnTo>
                  <a:lnTo>
                    <a:pt x="126" y="194"/>
                  </a:lnTo>
                  <a:lnTo>
                    <a:pt x="128" y="194"/>
                  </a:lnTo>
                  <a:lnTo>
                    <a:pt x="128" y="192"/>
                  </a:lnTo>
                  <a:lnTo>
                    <a:pt x="128" y="192"/>
                  </a:lnTo>
                  <a:lnTo>
                    <a:pt x="128" y="188"/>
                  </a:lnTo>
                  <a:lnTo>
                    <a:pt x="129" y="186"/>
                  </a:lnTo>
                  <a:lnTo>
                    <a:pt x="129" y="185"/>
                  </a:lnTo>
                  <a:lnTo>
                    <a:pt x="131" y="183"/>
                  </a:lnTo>
                  <a:lnTo>
                    <a:pt x="131" y="183"/>
                  </a:lnTo>
                  <a:lnTo>
                    <a:pt x="136" y="181"/>
                  </a:lnTo>
                  <a:lnTo>
                    <a:pt x="138" y="183"/>
                  </a:lnTo>
                  <a:lnTo>
                    <a:pt x="136" y="186"/>
                  </a:lnTo>
                  <a:lnTo>
                    <a:pt x="136" y="186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8" y="195"/>
                  </a:lnTo>
                  <a:lnTo>
                    <a:pt x="142" y="195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2" y="201"/>
                  </a:lnTo>
                  <a:lnTo>
                    <a:pt x="142" y="202"/>
                  </a:lnTo>
                  <a:lnTo>
                    <a:pt x="142" y="204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9" y="206"/>
                  </a:lnTo>
                  <a:lnTo>
                    <a:pt x="151" y="210"/>
                  </a:lnTo>
                  <a:lnTo>
                    <a:pt x="158" y="220"/>
                  </a:lnTo>
                  <a:lnTo>
                    <a:pt x="158" y="220"/>
                  </a:lnTo>
                  <a:lnTo>
                    <a:pt x="163" y="227"/>
                  </a:lnTo>
                  <a:lnTo>
                    <a:pt x="168" y="240"/>
                  </a:lnTo>
                  <a:lnTo>
                    <a:pt x="172" y="245"/>
                  </a:lnTo>
                  <a:lnTo>
                    <a:pt x="174" y="249"/>
                  </a:lnTo>
                  <a:lnTo>
                    <a:pt x="176" y="252"/>
                  </a:lnTo>
                  <a:lnTo>
                    <a:pt x="176" y="252"/>
                  </a:lnTo>
                  <a:lnTo>
                    <a:pt x="183" y="254"/>
                  </a:lnTo>
                  <a:lnTo>
                    <a:pt x="192" y="259"/>
                  </a:lnTo>
                  <a:lnTo>
                    <a:pt x="197" y="263"/>
                  </a:lnTo>
                  <a:lnTo>
                    <a:pt x="204" y="266"/>
                  </a:lnTo>
                  <a:lnTo>
                    <a:pt x="204" y="266"/>
                  </a:lnTo>
                  <a:lnTo>
                    <a:pt x="209" y="266"/>
                  </a:lnTo>
                  <a:lnTo>
                    <a:pt x="211" y="268"/>
                  </a:lnTo>
                  <a:lnTo>
                    <a:pt x="213" y="268"/>
                  </a:lnTo>
                  <a:lnTo>
                    <a:pt x="216" y="265"/>
                  </a:lnTo>
                  <a:lnTo>
                    <a:pt x="220" y="263"/>
                  </a:lnTo>
                  <a:lnTo>
                    <a:pt x="225" y="266"/>
                  </a:lnTo>
                  <a:lnTo>
                    <a:pt x="236" y="275"/>
                  </a:lnTo>
                  <a:lnTo>
                    <a:pt x="240" y="270"/>
                  </a:lnTo>
                  <a:lnTo>
                    <a:pt x="238" y="266"/>
                  </a:lnTo>
                  <a:lnTo>
                    <a:pt x="254" y="256"/>
                  </a:lnTo>
                  <a:lnTo>
                    <a:pt x="254" y="256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43" y="247"/>
                  </a:lnTo>
                  <a:lnTo>
                    <a:pt x="241" y="247"/>
                  </a:lnTo>
                  <a:lnTo>
                    <a:pt x="240" y="245"/>
                  </a:lnTo>
                  <a:lnTo>
                    <a:pt x="240" y="245"/>
                  </a:lnTo>
                  <a:lnTo>
                    <a:pt x="240" y="243"/>
                  </a:lnTo>
                  <a:lnTo>
                    <a:pt x="241" y="240"/>
                  </a:lnTo>
                  <a:lnTo>
                    <a:pt x="243" y="236"/>
                  </a:lnTo>
                  <a:lnTo>
                    <a:pt x="252" y="242"/>
                  </a:lnTo>
                  <a:lnTo>
                    <a:pt x="252" y="242"/>
                  </a:lnTo>
                  <a:lnTo>
                    <a:pt x="256" y="242"/>
                  </a:lnTo>
                  <a:lnTo>
                    <a:pt x="259" y="240"/>
                  </a:lnTo>
                  <a:lnTo>
                    <a:pt x="259" y="240"/>
                  </a:lnTo>
                  <a:lnTo>
                    <a:pt x="275" y="227"/>
                  </a:lnTo>
                  <a:lnTo>
                    <a:pt x="275" y="227"/>
                  </a:lnTo>
                  <a:lnTo>
                    <a:pt x="279" y="226"/>
                  </a:lnTo>
                  <a:lnTo>
                    <a:pt x="279" y="224"/>
                  </a:lnTo>
                  <a:lnTo>
                    <a:pt x="279" y="215"/>
                  </a:lnTo>
                  <a:lnTo>
                    <a:pt x="272" y="210"/>
                  </a:lnTo>
                  <a:lnTo>
                    <a:pt x="263" y="199"/>
                  </a:lnTo>
                  <a:lnTo>
                    <a:pt x="270" y="195"/>
                  </a:lnTo>
                  <a:lnTo>
                    <a:pt x="263" y="185"/>
                  </a:lnTo>
                  <a:lnTo>
                    <a:pt x="252" y="192"/>
                  </a:lnTo>
                  <a:lnTo>
                    <a:pt x="252" y="192"/>
                  </a:lnTo>
                  <a:lnTo>
                    <a:pt x="243" y="185"/>
                  </a:lnTo>
                  <a:lnTo>
                    <a:pt x="243" y="185"/>
                  </a:lnTo>
                  <a:lnTo>
                    <a:pt x="241" y="181"/>
                  </a:lnTo>
                  <a:lnTo>
                    <a:pt x="238" y="176"/>
                  </a:lnTo>
                  <a:lnTo>
                    <a:pt x="236" y="169"/>
                  </a:lnTo>
                  <a:lnTo>
                    <a:pt x="232" y="163"/>
                  </a:lnTo>
                  <a:lnTo>
                    <a:pt x="232" y="163"/>
                  </a:lnTo>
                  <a:lnTo>
                    <a:pt x="229" y="162"/>
                  </a:lnTo>
                  <a:lnTo>
                    <a:pt x="225" y="162"/>
                  </a:lnTo>
                  <a:lnTo>
                    <a:pt x="222" y="162"/>
                  </a:lnTo>
                  <a:lnTo>
                    <a:pt x="216" y="163"/>
                  </a:lnTo>
                  <a:lnTo>
                    <a:pt x="216" y="163"/>
                  </a:lnTo>
                  <a:lnTo>
                    <a:pt x="215" y="163"/>
                  </a:lnTo>
                  <a:lnTo>
                    <a:pt x="215" y="160"/>
                  </a:lnTo>
                  <a:lnTo>
                    <a:pt x="211" y="156"/>
                  </a:lnTo>
                  <a:lnTo>
                    <a:pt x="209" y="153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0" y="144"/>
                  </a:lnTo>
                  <a:lnTo>
                    <a:pt x="197" y="13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4" y="124"/>
                  </a:lnTo>
                  <a:lnTo>
                    <a:pt x="183" y="124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2" y="126"/>
                  </a:lnTo>
                  <a:lnTo>
                    <a:pt x="170" y="122"/>
                  </a:lnTo>
                  <a:lnTo>
                    <a:pt x="168" y="119"/>
                  </a:lnTo>
                  <a:lnTo>
                    <a:pt x="168" y="114"/>
                  </a:lnTo>
                  <a:lnTo>
                    <a:pt x="168" y="114"/>
                  </a:lnTo>
                  <a:lnTo>
                    <a:pt x="163" y="106"/>
                  </a:lnTo>
                  <a:lnTo>
                    <a:pt x="158" y="103"/>
                  </a:lnTo>
                  <a:lnTo>
                    <a:pt x="154" y="99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49" y="85"/>
                  </a:lnTo>
                  <a:lnTo>
                    <a:pt x="147" y="83"/>
                  </a:lnTo>
                  <a:lnTo>
                    <a:pt x="142" y="80"/>
                  </a:lnTo>
                  <a:lnTo>
                    <a:pt x="142" y="80"/>
                  </a:lnTo>
                  <a:lnTo>
                    <a:pt x="138" y="78"/>
                  </a:lnTo>
                  <a:lnTo>
                    <a:pt x="138" y="74"/>
                  </a:lnTo>
                  <a:lnTo>
                    <a:pt x="136" y="66"/>
                  </a:lnTo>
                  <a:lnTo>
                    <a:pt x="136" y="66"/>
                  </a:lnTo>
                  <a:lnTo>
                    <a:pt x="136" y="60"/>
                  </a:lnTo>
                  <a:lnTo>
                    <a:pt x="138" y="55"/>
                  </a:lnTo>
                  <a:lnTo>
                    <a:pt x="142" y="50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7" y="37"/>
                  </a:lnTo>
                  <a:lnTo>
                    <a:pt x="151" y="34"/>
                  </a:lnTo>
                  <a:lnTo>
                    <a:pt x="154" y="28"/>
                  </a:lnTo>
                  <a:lnTo>
                    <a:pt x="154" y="28"/>
                  </a:lnTo>
                  <a:lnTo>
                    <a:pt x="152" y="18"/>
                  </a:lnTo>
                  <a:lnTo>
                    <a:pt x="151" y="12"/>
                  </a:lnTo>
                  <a:lnTo>
                    <a:pt x="149" y="9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0" y="3"/>
                  </a:lnTo>
                  <a:lnTo>
                    <a:pt x="135" y="3"/>
                  </a:lnTo>
                  <a:lnTo>
                    <a:pt x="131" y="3"/>
                  </a:lnTo>
                  <a:lnTo>
                    <a:pt x="131" y="3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3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3" y="10"/>
                  </a:lnTo>
                  <a:lnTo>
                    <a:pt x="99" y="9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5" y="0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62" y="12"/>
                  </a:lnTo>
                  <a:lnTo>
                    <a:pt x="56" y="16"/>
                  </a:lnTo>
                  <a:lnTo>
                    <a:pt x="55" y="18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1" y="25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35"/>
                  </a:lnTo>
                  <a:lnTo>
                    <a:pt x="46" y="37"/>
                  </a:lnTo>
                  <a:lnTo>
                    <a:pt x="44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5" y="41"/>
                  </a:lnTo>
                  <a:lnTo>
                    <a:pt x="32" y="42"/>
                  </a:lnTo>
                  <a:lnTo>
                    <a:pt x="28" y="44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16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3" y="4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3" name="Freeform 32"/>
            <p:cNvSpPr>
              <a:spLocks/>
            </p:cNvSpPr>
            <p:nvPr/>
          </p:nvSpPr>
          <p:spPr bwMode="auto">
            <a:xfrm>
              <a:off x="919707" y="2335929"/>
              <a:ext cx="129495" cy="82147"/>
            </a:xfrm>
            <a:custGeom>
              <a:avLst/>
              <a:gdLst>
                <a:gd name="T0" fmla="*/ 185 w 227"/>
                <a:gd name="T1" fmla="*/ 23 h 144"/>
                <a:gd name="T2" fmla="*/ 178 w 227"/>
                <a:gd name="T3" fmla="*/ 13 h 144"/>
                <a:gd name="T4" fmla="*/ 162 w 227"/>
                <a:gd name="T5" fmla="*/ 20 h 144"/>
                <a:gd name="T6" fmla="*/ 151 w 227"/>
                <a:gd name="T7" fmla="*/ 20 h 144"/>
                <a:gd name="T8" fmla="*/ 135 w 227"/>
                <a:gd name="T9" fmla="*/ 13 h 144"/>
                <a:gd name="T10" fmla="*/ 133 w 227"/>
                <a:gd name="T11" fmla="*/ 2 h 144"/>
                <a:gd name="T12" fmla="*/ 121 w 227"/>
                <a:gd name="T13" fmla="*/ 2 h 144"/>
                <a:gd name="T14" fmla="*/ 114 w 227"/>
                <a:gd name="T15" fmla="*/ 7 h 144"/>
                <a:gd name="T16" fmla="*/ 103 w 227"/>
                <a:gd name="T17" fmla="*/ 11 h 144"/>
                <a:gd name="T18" fmla="*/ 89 w 227"/>
                <a:gd name="T19" fmla="*/ 13 h 144"/>
                <a:gd name="T20" fmla="*/ 83 w 227"/>
                <a:gd name="T21" fmla="*/ 20 h 144"/>
                <a:gd name="T22" fmla="*/ 76 w 227"/>
                <a:gd name="T23" fmla="*/ 23 h 144"/>
                <a:gd name="T24" fmla="*/ 71 w 227"/>
                <a:gd name="T25" fmla="*/ 25 h 144"/>
                <a:gd name="T26" fmla="*/ 67 w 227"/>
                <a:gd name="T27" fmla="*/ 32 h 144"/>
                <a:gd name="T28" fmla="*/ 50 w 227"/>
                <a:gd name="T29" fmla="*/ 39 h 144"/>
                <a:gd name="T30" fmla="*/ 30 w 227"/>
                <a:gd name="T31" fmla="*/ 39 h 144"/>
                <a:gd name="T32" fmla="*/ 21 w 227"/>
                <a:gd name="T33" fmla="*/ 45 h 144"/>
                <a:gd name="T34" fmla="*/ 7 w 227"/>
                <a:gd name="T35" fmla="*/ 47 h 144"/>
                <a:gd name="T36" fmla="*/ 2 w 227"/>
                <a:gd name="T37" fmla="*/ 45 h 144"/>
                <a:gd name="T38" fmla="*/ 2 w 227"/>
                <a:gd name="T39" fmla="*/ 48 h 144"/>
                <a:gd name="T40" fmla="*/ 2 w 227"/>
                <a:gd name="T41" fmla="*/ 61 h 144"/>
                <a:gd name="T42" fmla="*/ 12 w 227"/>
                <a:gd name="T43" fmla="*/ 64 h 144"/>
                <a:gd name="T44" fmla="*/ 2 w 227"/>
                <a:gd name="T45" fmla="*/ 71 h 144"/>
                <a:gd name="T46" fmla="*/ 7 w 227"/>
                <a:gd name="T47" fmla="*/ 77 h 144"/>
                <a:gd name="T48" fmla="*/ 19 w 227"/>
                <a:gd name="T49" fmla="*/ 87 h 144"/>
                <a:gd name="T50" fmla="*/ 30 w 227"/>
                <a:gd name="T51" fmla="*/ 91 h 144"/>
                <a:gd name="T52" fmla="*/ 30 w 227"/>
                <a:gd name="T53" fmla="*/ 114 h 144"/>
                <a:gd name="T54" fmla="*/ 37 w 227"/>
                <a:gd name="T55" fmla="*/ 128 h 144"/>
                <a:gd name="T56" fmla="*/ 39 w 227"/>
                <a:gd name="T57" fmla="*/ 135 h 144"/>
                <a:gd name="T58" fmla="*/ 48 w 227"/>
                <a:gd name="T59" fmla="*/ 137 h 144"/>
                <a:gd name="T60" fmla="*/ 55 w 227"/>
                <a:gd name="T61" fmla="*/ 132 h 144"/>
                <a:gd name="T62" fmla="*/ 67 w 227"/>
                <a:gd name="T63" fmla="*/ 135 h 144"/>
                <a:gd name="T64" fmla="*/ 76 w 227"/>
                <a:gd name="T65" fmla="*/ 130 h 144"/>
                <a:gd name="T66" fmla="*/ 82 w 227"/>
                <a:gd name="T67" fmla="*/ 135 h 144"/>
                <a:gd name="T68" fmla="*/ 76 w 227"/>
                <a:gd name="T69" fmla="*/ 141 h 144"/>
                <a:gd name="T70" fmla="*/ 87 w 227"/>
                <a:gd name="T71" fmla="*/ 144 h 144"/>
                <a:gd name="T72" fmla="*/ 91 w 227"/>
                <a:gd name="T73" fmla="*/ 141 h 144"/>
                <a:gd name="T74" fmla="*/ 98 w 227"/>
                <a:gd name="T75" fmla="*/ 137 h 144"/>
                <a:gd name="T76" fmla="*/ 108 w 227"/>
                <a:gd name="T77" fmla="*/ 135 h 144"/>
                <a:gd name="T78" fmla="*/ 108 w 227"/>
                <a:gd name="T79" fmla="*/ 134 h 144"/>
                <a:gd name="T80" fmla="*/ 108 w 227"/>
                <a:gd name="T81" fmla="*/ 121 h 144"/>
                <a:gd name="T82" fmla="*/ 117 w 227"/>
                <a:gd name="T83" fmla="*/ 116 h 144"/>
                <a:gd name="T84" fmla="*/ 128 w 227"/>
                <a:gd name="T85" fmla="*/ 111 h 144"/>
                <a:gd name="T86" fmla="*/ 128 w 227"/>
                <a:gd name="T87" fmla="*/ 96 h 144"/>
                <a:gd name="T88" fmla="*/ 133 w 227"/>
                <a:gd name="T89" fmla="*/ 93 h 144"/>
                <a:gd name="T90" fmla="*/ 133 w 227"/>
                <a:gd name="T91" fmla="*/ 82 h 144"/>
                <a:gd name="T92" fmla="*/ 140 w 227"/>
                <a:gd name="T93" fmla="*/ 84 h 144"/>
                <a:gd name="T94" fmla="*/ 151 w 227"/>
                <a:gd name="T95" fmla="*/ 75 h 144"/>
                <a:gd name="T96" fmla="*/ 162 w 227"/>
                <a:gd name="T97" fmla="*/ 82 h 144"/>
                <a:gd name="T98" fmla="*/ 171 w 227"/>
                <a:gd name="T99" fmla="*/ 86 h 144"/>
                <a:gd name="T100" fmla="*/ 178 w 227"/>
                <a:gd name="T101" fmla="*/ 82 h 144"/>
                <a:gd name="T102" fmla="*/ 187 w 227"/>
                <a:gd name="T103" fmla="*/ 71 h 144"/>
                <a:gd name="T104" fmla="*/ 206 w 227"/>
                <a:gd name="T105" fmla="*/ 80 h 144"/>
                <a:gd name="T106" fmla="*/ 227 w 227"/>
                <a:gd name="T107" fmla="*/ 71 h 144"/>
                <a:gd name="T108" fmla="*/ 194 w 227"/>
                <a:gd name="T109" fmla="*/ 32 h 144"/>
                <a:gd name="T110" fmla="*/ 187 w 227"/>
                <a:gd name="T111" fmla="*/ 31 h 144"/>
                <a:gd name="T112" fmla="*/ 187 w 227"/>
                <a:gd name="T113" fmla="*/ 3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" h="144">
                  <a:moveTo>
                    <a:pt x="187" y="31"/>
                  </a:moveTo>
                  <a:lnTo>
                    <a:pt x="187" y="31"/>
                  </a:lnTo>
                  <a:lnTo>
                    <a:pt x="185" y="23"/>
                  </a:lnTo>
                  <a:lnTo>
                    <a:pt x="185" y="23"/>
                  </a:lnTo>
                  <a:lnTo>
                    <a:pt x="183" y="18"/>
                  </a:lnTo>
                  <a:lnTo>
                    <a:pt x="181" y="15"/>
                  </a:lnTo>
                  <a:lnTo>
                    <a:pt x="178" y="13"/>
                  </a:lnTo>
                  <a:lnTo>
                    <a:pt x="178" y="13"/>
                  </a:lnTo>
                  <a:lnTo>
                    <a:pt x="176" y="15"/>
                  </a:lnTo>
                  <a:lnTo>
                    <a:pt x="171" y="18"/>
                  </a:lnTo>
                  <a:lnTo>
                    <a:pt x="165" y="20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56" y="20"/>
                  </a:lnTo>
                  <a:lnTo>
                    <a:pt x="155" y="20"/>
                  </a:lnTo>
                  <a:lnTo>
                    <a:pt x="151" y="20"/>
                  </a:lnTo>
                  <a:lnTo>
                    <a:pt x="151" y="20"/>
                  </a:lnTo>
                  <a:lnTo>
                    <a:pt x="140" y="18"/>
                  </a:lnTo>
                  <a:lnTo>
                    <a:pt x="135" y="15"/>
                  </a:lnTo>
                  <a:lnTo>
                    <a:pt x="135" y="13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4"/>
                  </a:lnTo>
                  <a:lnTo>
                    <a:pt x="133" y="2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4" y="0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17" y="4"/>
                  </a:lnTo>
                  <a:lnTo>
                    <a:pt x="115" y="6"/>
                  </a:lnTo>
                  <a:lnTo>
                    <a:pt x="114" y="7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98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89" y="13"/>
                  </a:lnTo>
                  <a:lnTo>
                    <a:pt x="87" y="15"/>
                  </a:lnTo>
                  <a:lnTo>
                    <a:pt x="87" y="18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0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67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53" y="39"/>
                  </a:lnTo>
                  <a:lnTo>
                    <a:pt x="50" y="39"/>
                  </a:lnTo>
                  <a:lnTo>
                    <a:pt x="46" y="39"/>
                  </a:lnTo>
                  <a:lnTo>
                    <a:pt x="46" y="39"/>
                  </a:lnTo>
                  <a:lnTo>
                    <a:pt x="35" y="36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7" y="41"/>
                  </a:lnTo>
                  <a:lnTo>
                    <a:pt x="23" y="43"/>
                  </a:lnTo>
                  <a:lnTo>
                    <a:pt x="21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2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5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7" y="63"/>
                  </a:lnTo>
                  <a:lnTo>
                    <a:pt x="11" y="64"/>
                  </a:lnTo>
                  <a:lnTo>
                    <a:pt x="12" y="64"/>
                  </a:lnTo>
                  <a:lnTo>
                    <a:pt x="11" y="66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7" y="77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4" y="87"/>
                  </a:lnTo>
                  <a:lnTo>
                    <a:pt x="19" y="87"/>
                  </a:lnTo>
                  <a:lnTo>
                    <a:pt x="23" y="87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30" y="91"/>
                  </a:lnTo>
                  <a:lnTo>
                    <a:pt x="30" y="95"/>
                  </a:lnTo>
                  <a:lnTo>
                    <a:pt x="30" y="102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8"/>
                  </a:lnTo>
                  <a:lnTo>
                    <a:pt x="32" y="123"/>
                  </a:lnTo>
                  <a:lnTo>
                    <a:pt x="37" y="128"/>
                  </a:lnTo>
                  <a:lnTo>
                    <a:pt x="37" y="128"/>
                  </a:lnTo>
                  <a:lnTo>
                    <a:pt x="39" y="132"/>
                  </a:lnTo>
                  <a:lnTo>
                    <a:pt x="37" y="132"/>
                  </a:lnTo>
                  <a:lnTo>
                    <a:pt x="37" y="134"/>
                  </a:lnTo>
                  <a:lnTo>
                    <a:pt x="39" y="135"/>
                  </a:lnTo>
                  <a:lnTo>
                    <a:pt x="39" y="135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8" y="137"/>
                  </a:lnTo>
                  <a:lnTo>
                    <a:pt x="48" y="137"/>
                  </a:lnTo>
                  <a:lnTo>
                    <a:pt x="48" y="135"/>
                  </a:lnTo>
                  <a:lnTo>
                    <a:pt x="51" y="134"/>
                  </a:lnTo>
                  <a:lnTo>
                    <a:pt x="55" y="132"/>
                  </a:lnTo>
                  <a:lnTo>
                    <a:pt x="57" y="134"/>
                  </a:lnTo>
                  <a:lnTo>
                    <a:pt x="60" y="134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80" y="132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5"/>
                  </a:lnTo>
                  <a:lnTo>
                    <a:pt x="82" y="135"/>
                  </a:lnTo>
                  <a:lnTo>
                    <a:pt x="76" y="137"/>
                  </a:lnTo>
                  <a:lnTo>
                    <a:pt x="76" y="137"/>
                  </a:lnTo>
                  <a:lnTo>
                    <a:pt x="76" y="141"/>
                  </a:lnTo>
                  <a:lnTo>
                    <a:pt x="78" y="141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7" y="144"/>
                  </a:lnTo>
                  <a:lnTo>
                    <a:pt x="87" y="144"/>
                  </a:lnTo>
                  <a:lnTo>
                    <a:pt x="89" y="143"/>
                  </a:lnTo>
                  <a:lnTo>
                    <a:pt x="89" y="143"/>
                  </a:lnTo>
                  <a:lnTo>
                    <a:pt x="91" y="141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8" y="137"/>
                  </a:lnTo>
                  <a:lnTo>
                    <a:pt x="98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103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10" y="135"/>
                  </a:lnTo>
                  <a:lnTo>
                    <a:pt x="108" y="134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3"/>
                  </a:lnTo>
                  <a:lnTo>
                    <a:pt x="108" y="121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4" y="116"/>
                  </a:lnTo>
                  <a:lnTo>
                    <a:pt x="117" y="116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4" y="114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8" y="103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30" y="95"/>
                  </a:lnTo>
                  <a:lnTo>
                    <a:pt x="131" y="95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5" y="91"/>
                  </a:lnTo>
                  <a:lnTo>
                    <a:pt x="133" y="87"/>
                  </a:lnTo>
                  <a:lnTo>
                    <a:pt x="133" y="86"/>
                  </a:lnTo>
                  <a:lnTo>
                    <a:pt x="133" y="82"/>
                  </a:lnTo>
                  <a:lnTo>
                    <a:pt x="133" y="82"/>
                  </a:lnTo>
                  <a:lnTo>
                    <a:pt x="135" y="82"/>
                  </a:lnTo>
                  <a:lnTo>
                    <a:pt x="137" y="82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42" y="84"/>
                  </a:lnTo>
                  <a:lnTo>
                    <a:pt x="146" y="80"/>
                  </a:lnTo>
                  <a:lnTo>
                    <a:pt x="151" y="75"/>
                  </a:lnTo>
                  <a:lnTo>
                    <a:pt x="151" y="75"/>
                  </a:lnTo>
                  <a:lnTo>
                    <a:pt x="155" y="75"/>
                  </a:lnTo>
                  <a:lnTo>
                    <a:pt x="158" y="80"/>
                  </a:lnTo>
                  <a:lnTo>
                    <a:pt x="162" y="82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9" y="84"/>
                  </a:lnTo>
                  <a:lnTo>
                    <a:pt x="171" y="86"/>
                  </a:lnTo>
                  <a:lnTo>
                    <a:pt x="172" y="87"/>
                  </a:lnTo>
                  <a:lnTo>
                    <a:pt x="172" y="87"/>
                  </a:lnTo>
                  <a:lnTo>
                    <a:pt x="176" y="87"/>
                  </a:lnTo>
                  <a:lnTo>
                    <a:pt x="178" y="82"/>
                  </a:lnTo>
                  <a:lnTo>
                    <a:pt x="181" y="82"/>
                  </a:lnTo>
                  <a:lnTo>
                    <a:pt x="185" y="80"/>
                  </a:lnTo>
                  <a:lnTo>
                    <a:pt x="185" y="75"/>
                  </a:lnTo>
                  <a:lnTo>
                    <a:pt x="187" y="71"/>
                  </a:lnTo>
                  <a:lnTo>
                    <a:pt x="195" y="70"/>
                  </a:lnTo>
                  <a:lnTo>
                    <a:pt x="195" y="70"/>
                  </a:lnTo>
                  <a:lnTo>
                    <a:pt x="206" y="80"/>
                  </a:lnTo>
                  <a:lnTo>
                    <a:pt x="206" y="80"/>
                  </a:lnTo>
                  <a:lnTo>
                    <a:pt x="210" y="82"/>
                  </a:lnTo>
                  <a:lnTo>
                    <a:pt x="213" y="80"/>
                  </a:lnTo>
                  <a:lnTo>
                    <a:pt x="219" y="77"/>
                  </a:lnTo>
                  <a:lnTo>
                    <a:pt x="227" y="71"/>
                  </a:lnTo>
                  <a:lnTo>
                    <a:pt x="206" y="43"/>
                  </a:lnTo>
                  <a:lnTo>
                    <a:pt x="204" y="39"/>
                  </a:lnTo>
                  <a:lnTo>
                    <a:pt x="194" y="32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1"/>
                  </a:lnTo>
                  <a:lnTo>
                    <a:pt x="187" y="3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4" name="Freeform 33"/>
            <p:cNvSpPr>
              <a:spLocks/>
            </p:cNvSpPr>
            <p:nvPr/>
          </p:nvSpPr>
          <p:spPr bwMode="auto">
            <a:xfrm>
              <a:off x="851822" y="2333077"/>
              <a:ext cx="74731" cy="62751"/>
            </a:xfrm>
            <a:custGeom>
              <a:avLst/>
              <a:gdLst>
                <a:gd name="T0" fmla="*/ 92 w 131"/>
                <a:gd name="T1" fmla="*/ 101 h 110"/>
                <a:gd name="T2" fmla="*/ 96 w 131"/>
                <a:gd name="T3" fmla="*/ 101 h 110"/>
                <a:gd name="T4" fmla="*/ 96 w 131"/>
                <a:gd name="T5" fmla="*/ 98 h 110"/>
                <a:gd name="T6" fmla="*/ 92 w 131"/>
                <a:gd name="T7" fmla="*/ 96 h 110"/>
                <a:gd name="T8" fmla="*/ 99 w 131"/>
                <a:gd name="T9" fmla="*/ 94 h 110"/>
                <a:gd name="T10" fmla="*/ 105 w 131"/>
                <a:gd name="T11" fmla="*/ 94 h 110"/>
                <a:gd name="T12" fmla="*/ 112 w 131"/>
                <a:gd name="T13" fmla="*/ 91 h 110"/>
                <a:gd name="T14" fmla="*/ 117 w 131"/>
                <a:gd name="T15" fmla="*/ 91 h 110"/>
                <a:gd name="T16" fmla="*/ 119 w 131"/>
                <a:gd name="T17" fmla="*/ 87 h 110"/>
                <a:gd name="T18" fmla="*/ 119 w 131"/>
                <a:gd name="T19" fmla="*/ 76 h 110"/>
                <a:gd name="T20" fmla="*/ 121 w 131"/>
                <a:gd name="T21" fmla="*/ 76 h 110"/>
                <a:gd name="T22" fmla="*/ 130 w 131"/>
                <a:gd name="T23" fmla="*/ 73 h 110"/>
                <a:gd name="T24" fmla="*/ 130 w 131"/>
                <a:gd name="T25" fmla="*/ 69 h 110"/>
                <a:gd name="T26" fmla="*/ 121 w 131"/>
                <a:gd name="T27" fmla="*/ 66 h 110"/>
                <a:gd name="T28" fmla="*/ 121 w 131"/>
                <a:gd name="T29" fmla="*/ 57 h 110"/>
                <a:gd name="T30" fmla="*/ 121 w 131"/>
                <a:gd name="T31" fmla="*/ 52 h 110"/>
                <a:gd name="T32" fmla="*/ 121 w 131"/>
                <a:gd name="T33" fmla="*/ 48 h 110"/>
                <a:gd name="T34" fmla="*/ 115 w 131"/>
                <a:gd name="T35" fmla="*/ 39 h 110"/>
                <a:gd name="T36" fmla="*/ 112 w 131"/>
                <a:gd name="T37" fmla="*/ 34 h 110"/>
                <a:gd name="T38" fmla="*/ 112 w 131"/>
                <a:gd name="T39" fmla="*/ 34 h 110"/>
                <a:gd name="T40" fmla="*/ 112 w 131"/>
                <a:gd name="T41" fmla="*/ 30 h 110"/>
                <a:gd name="T42" fmla="*/ 110 w 131"/>
                <a:gd name="T43" fmla="*/ 25 h 110"/>
                <a:gd name="T44" fmla="*/ 105 w 131"/>
                <a:gd name="T45" fmla="*/ 25 h 110"/>
                <a:gd name="T46" fmla="*/ 105 w 131"/>
                <a:gd name="T47" fmla="*/ 20 h 110"/>
                <a:gd name="T48" fmla="*/ 101 w 131"/>
                <a:gd name="T49" fmla="*/ 12 h 110"/>
                <a:gd name="T50" fmla="*/ 98 w 131"/>
                <a:gd name="T51" fmla="*/ 12 h 110"/>
                <a:gd name="T52" fmla="*/ 89 w 131"/>
                <a:gd name="T53" fmla="*/ 5 h 110"/>
                <a:gd name="T54" fmla="*/ 85 w 131"/>
                <a:gd name="T55" fmla="*/ 7 h 110"/>
                <a:gd name="T56" fmla="*/ 80 w 131"/>
                <a:gd name="T57" fmla="*/ 9 h 110"/>
                <a:gd name="T58" fmla="*/ 76 w 131"/>
                <a:gd name="T59" fmla="*/ 5 h 110"/>
                <a:gd name="T60" fmla="*/ 71 w 131"/>
                <a:gd name="T61" fmla="*/ 5 h 110"/>
                <a:gd name="T62" fmla="*/ 60 w 131"/>
                <a:gd name="T63" fmla="*/ 7 h 110"/>
                <a:gd name="T64" fmla="*/ 55 w 131"/>
                <a:gd name="T65" fmla="*/ 5 h 110"/>
                <a:gd name="T66" fmla="*/ 48 w 131"/>
                <a:gd name="T67" fmla="*/ 0 h 110"/>
                <a:gd name="T68" fmla="*/ 44 w 131"/>
                <a:gd name="T69" fmla="*/ 4 h 110"/>
                <a:gd name="T70" fmla="*/ 35 w 131"/>
                <a:gd name="T71" fmla="*/ 9 h 110"/>
                <a:gd name="T72" fmla="*/ 34 w 131"/>
                <a:gd name="T73" fmla="*/ 9 h 110"/>
                <a:gd name="T74" fmla="*/ 28 w 131"/>
                <a:gd name="T75" fmla="*/ 7 h 110"/>
                <a:gd name="T76" fmla="*/ 28 w 131"/>
                <a:gd name="T77" fmla="*/ 7 h 110"/>
                <a:gd name="T78" fmla="*/ 19 w 131"/>
                <a:gd name="T79" fmla="*/ 16 h 110"/>
                <a:gd name="T80" fmla="*/ 18 w 131"/>
                <a:gd name="T81" fmla="*/ 23 h 110"/>
                <a:gd name="T82" fmla="*/ 12 w 131"/>
                <a:gd name="T83" fmla="*/ 25 h 110"/>
                <a:gd name="T84" fmla="*/ 10 w 131"/>
                <a:gd name="T85" fmla="*/ 28 h 110"/>
                <a:gd name="T86" fmla="*/ 3 w 131"/>
                <a:gd name="T87" fmla="*/ 36 h 110"/>
                <a:gd name="T88" fmla="*/ 0 w 131"/>
                <a:gd name="T89" fmla="*/ 44 h 110"/>
                <a:gd name="T90" fmla="*/ 9 w 131"/>
                <a:gd name="T91" fmla="*/ 53 h 110"/>
                <a:gd name="T92" fmla="*/ 16 w 131"/>
                <a:gd name="T93" fmla="*/ 52 h 110"/>
                <a:gd name="T94" fmla="*/ 23 w 131"/>
                <a:gd name="T95" fmla="*/ 57 h 110"/>
                <a:gd name="T96" fmla="*/ 18 w 131"/>
                <a:gd name="T97" fmla="*/ 66 h 110"/>
                <a:gd name="T98" fmla="*/ 25 w 131"/>
                <a:gd name="T99" fmla="*/ 75 h 110"/>
                <a:gd name="T100" fmla="*/ 35 w 131"/>
                <a:gd name="T101" fmla="*/ 78 h 110"/>
                <a:gd name="T102" fmla="*/ 44 w 131"/>
                <a:gd name="T103" fmla="*/ 85 h 110"/>
                <a:gd name="T104" fmla="*/ 41 w 131"/>
                <a:gd name="T105" fmla="*/ 89 h 110"/>
                <a:gd name="T106" fmla="*/ 48 w 131"/>
                <a:gd name="T107" fmla="*/ 94 h 110"/>
                <a:gd name="T108" fmla="*/ 55 w 131"/>
                <a:gd name="T109" fmla="*/ 92 h 110"/>
                <a:gd name="T110" fmla="*/ 60 w 131"/>
                <a:gd name="T111" fmla="*/ 91 h 110"/>
                <a:gd name="T112" fmla="*/ 76 w 131"/>
                <a:gd name="T113" fmla="*/ 107 h 110"/>
                <a:gd name="T114" fmla="*/ 78 w 131"/>
                <a:gd name="T115" fmla="*/ 108 h 110"/>
                <a:gd name="T116" fmla="*/ 85 w 131"/>
                <a:gd name="T117" fmla="*/ 110 h 110"/>
                <a:gd name="T118" fmla="*/ 89 w 131"/>
                <a:gd name="T119" fmla="*/ 101 h 110"/>
                <a:gd name="T120" fmla="*/ 90 w 131"/>
                <a:gd name="T121" fmla="*/ 10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1" h="110">
                  <a:moveTo>
                    <a:pt x="90" y="101"/>
                  </a:moveTo>
                  <a:lnTo>
                    <a:pt x="90" y="101"/>
                  </a:lnTo>
                  <a:lnTo>
                    <a:pt x="92" y="101"/>
                  </a:lnTo>
                  <a:lnTo>
                    <a:pt x="96" y="101"/>
                  </a:lnTo>
                  <a:lnTo>
                    <a:pt x="96" y="101"/>
                  </a:lnTo>
                  <a:lnTo>
                    <a:pt x="96" y="101"/>
                  </a:lnTo>
                  <a:lnTo>
                    <a:pt x="96" y="101"/>
                  </a:lnTo>
                  <a:lnTo>
                    <a:pt x="96" y="100"/>
                  </a:lnTo>
                  <a:lnTo>
                    <a:pt x="96" y="98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94" y="94"/>
                  </a:lnTo>
                  <a:lnTo>
                    <a:pt x="96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101" y="96"/>
                  </a:lnTo>
                  <a:lnTo>
                    <a:pt x="105" y="94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2" y="91"/>
                  </a:lnTo>
                  <a:lnTo>
                    <a:pt x="114" y="91"/>
                  </a:lnTo>
                  <a:lnTo>
                    <a:pt x="114" y="92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9" y="89"/>
                  </a:lnTo>
                  <a:lnTo>
                    <a:pt x="119" y="87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9" y="76"/>
                  </a:lnTo>
                  <a:lnTo>
                    <a:pt x="121" y="76"/>
                  </a:lnTo>
                  <a:lnTo>
                    <a:pt x="121" y="76"/>
                  </a:lnTo>
                  <a:lnTo>
                    <a:pt x="121" y="76"/>
                  </a:lnTo>
                  <a:lnTo>
                    <a:pt x="121" y="76"/>
                  </a:lnTo>
                  <a:lnTo>
                    <a:pt x="130" y="73"/>
                  </a:lnTo>
                  <a:lnTo>
                    <a:pt x="130" y="73"/>
                  </a:lnTo>
                  <a:lnTo>
                    <a:pt x="130" y="71"/>
                  </a:lnTo>
                  <a:lnTo>
                    <a:pt x="131" y="69"/>
                  </a:lnTo>
                  <a:lnTo>
                    <a:pt x="130" y="69"/>
                  </a:lnTo>
                  <a:lnTo>
                    <a:pt x="126" y="68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19" y="60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3"/>
                  </a:lnTo>
                  <a:lnTo>
                    <a:pt x="121" y="53"/>
                  </a:lnTo>
                  <a:lnTo>
                    <a:pt x="121" y="52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17" y="44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4" y="36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2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08" y="25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18"/>
                  </a:lnTo>
                  <a:lnTo>
                    <a:pt x="105" y="16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4" y="7"/>
                  </a:lnTo>
                  <a:lnTo>
                    <a:pt x="92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5" y="5"/>
                  </a:lnTo>
                  <a:lnTo>
                    <a:pt x="85" y="7"/>
                  </a:lnTo>
                  <a:lnTo>
                    <a:pt x="82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7"/>
                  </a:lnTo>
                  <a:lnTo>
                    <a:pt x="78" y="5"/>
                  </a:lnTo>
                  <a:lnTo>
                    <a:pt x="76" y="5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1" y="5"/>
                  </a:lnTo>
                  <a:lnTo>
                    <a:pt x="69" y="5"/>
                  </a:lnTo>
                  <a:lnTo>
                    <a:pt x="66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57" y="5"/>
                  </a:lnTo>
                  <a:lnTo>
                    <a:pt x="55" y="5"/>
                  </a:lnTo>
                  <a:lnTo>
                    <a:pt x="51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5" y="12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3" y="36"/>
                  </a:lnTo>
                  <a:lnTo>
                    <a:pt x="0" y="37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9" y="53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9" y="55"/>
                  </a:lnTo>
                  <a:lnTo>
                    <a:pt x="23" y="57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18" y="66"/>
                  </a:lnTo>
                  <a:lnTo>
                    <a:pt x="16" y="73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5" y="78"/>
                  </a:lnTo>
                  <a:lnTo>
                    <a:pt x="39" y="80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1" y="89"/>
                  </a:lnTo>
                  <a:lnTo>
                    <a:pt x="44" y="92"/>
                  </a:lnTo>
                  <a:lnTo>
                    <a:pt x="46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5" y="92"/>
                  </a:lnTo>
                  <a:lnTo>
                    <a:pt x="57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6" y="92"/>
                  </a:lnTo>
                  <a:lnTo>
                    <a:pt x="71" y="100"/>
                  </a:lnTo>
                  <a:lnTo>
                    <a:pt x="76" y="107"/>
                  </a:lnTo>
                  <a:lnTo>
                    <a:pt x="76" y="107"/>
                  </a:lnTo>
                  <a:lnTo>
                    <a:pt x="76" y="107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7" y="108"/>
                  </a:lnTo>
                  <a:lnTo>
                    <a:pt x="89" y="107"/>
                  </a:lnTo>
                  <a:lnTo>
                    <a:pt x="89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34"/>
            <p:cNvSpPr>
              <a:spLocks/>
            </p:cNvSpPr>
            <p:nvPr/>
          </p:nvSpPr>
          <p:spPr bwMode="auto">
            <a:xfrm>
              <a:off x="957929" y="2282305"/>
              <a:ext cx="120938" cy="77013"/>
            </a:xfrm>
            <a:custGeom>
              <a:avLst/>
              <a:gdLst>
                <a:gd name="T0" fmla="*/ 27 w 212"/>
                <a:gd name="T1" fmla="*/ 20 h 135"/>
                <a:gd name="T2" fmla="*/ 24 w 212"/>
                <a:gd name="T3" fmla="*/ 21 h 135"/>
                <a:gd name="T4" fmla="*/ 16 w 212"/>
                <a:gd name="T5" fmla="*/ 25 h 135"/>
                <a:gd name="T6" fmla="*/ 8 w 212"/>
                <a:gd name="T7" fmla="*/ 34 h 135"/>
                <a:gd name="T8" fmla="*/ 2 w 212"/>
                <a:gd name="T9" fmla="*/ 39 h 135"/>
                <a:gd name="T10" fmla="*/ 8 w 212"/>
                <a:gd name="T11" fmla="*/ 45 h 135"/>
                <a:gd name="T12" fmla="*/ 22 w 212"/>
                <a:gd name="T13" fmla="*/ 55 h 135"/>
                <a:gd name="T14" fmla="*/ 31 w 212"/>
                <a:gd name="T15" fmla="*/ 55 h 135"/>
                <a:gd name="T16" fmla="*/ 36 w 212"/>
                <a:gd name="T17" fmla="*/ 52 h 135"/>
                <a:gd name="T18" fmla="*/ 38 w 212"/>
                <a:gd name="T19" fmla="*/ 61 h 135"/>
                <a:gd name="T20" fmla="*/ 47 w 212"/>
                <a:gd name="T21" fmla="*/ 66 h 135"/>
                <a:gd name="T22" fmla="*/ 56 w 212"/>
                <a:gd name="T23" fmla="*/ 73 h 135"/>
                <a:gd name="T24" fmla="*/ 56 w 212"/>
                <a:gd name="T25" fmla="*/ 78 h 135"/>
                <a:gd name="T26" fmla="*/ 47 w 212"/>
                <a:gd name="T27" fmla="*/ 85 h 135"/>
                <a:gd name="T28" fmla="*/ 47 w 212"/>
                <a:gd name="T29" fmla="*/ 89 h 135"/>
                <a:gd name="T30" fmla="*/ 36 w 212"/>
                <a:gd name="T31" fmla="*/ 105 h 135"/>
                <a:gd name="T32" fmla="*/ 47 w 212"/>
                <a:gd name="T33" fmla="*/ 101 h 135"/>
                <a:gd name="T34" fmla="*/ 54 w 212"/>
                <a:gd name="T35" fmla="*/ 96 h 135"/>
                <a:gd name="T36" fmla="*/ 64 w 212"/>
                <a:gd name="T37" fmla="*/ 94 h 135"/>
                <a:gd name="T38" fmla="*/ 68 w 212"/>
                <a:gd name="T39" fmla="*/ 98 h 135"/>
                <a:gd name="T40" fmla="*/ 68 w 212"/>
                <a:gd name="T41" fmla="*/ 107 h 135"/>
                <a:gd name="T42" fmla="*/ 84 w 212"/>
                <a:gd name="T43" fmla="*/ 114 h 135"/>
                <a:gd name="T44" fmla="*/ 89 w 212"/>
                <a:gd name="T45" fmla="*/ 114 h 135"/>
                <a:gd name="T46" fmla="*/ 98 w 212"/>
                <a:gd name="T47" fmla="*/ 114 h 135"/>
                <a:gd name="T48" fmla="*/ 111 w 212"/>
                <a:gd name="T49" fmla="*/ 107 h 135"/>
                <a:gd name="T50" fmla="*/ 116 w 212"/>
                <a:gd name="T51" fmla="*/ 112 h 135"/>
                <a:gd name="T52" fmla="*/ 120 w 212"/>
                <a:gd name="T53" fmla="*/ 125 h 135"/>
                <a:gd name="T54" fmla="*/ 120 w 212"/>
                <a:gd name="T55" fmla="*/ 126 h 135"/>
                <a:gd name="T56" fmla="*/ 137 w 212"/>
                <a:gd name="T57" fmla="*/ 133 h 135"/>
                <a:gd name="T58" fmla="*/ 155 w 212"/>
                <a:gd name="T59" fmla="*/ 126 h 135"/>
                <a:gd name="T60" fmla="*/ 176 w 212"/>
                <a:gd name="T61" fmla="*/ 123 h 135"/>
                <a:gd name="T62" fmla="*/ 194 w 212"/>
                <a:gd name="T63" fmla="*/ 128 h 135"/>
                <a:gd name="T64" fmla="*/ 198 w 212"/>
                <a:gd name="T65" fmla="*/ 114 h 135"/>
                <a:gd name="T66" fmla="*/ 212 w 212"/>
                <a:gd name="T67" fmla="*/ 94 h 135"/>
                <a:gd name="T68" fmla="*/ 192 w 212"/>
                <a:gd name="T69" fmla="*/ 84 h 135"/>
                <a:gd name="T70" fmla="*/ 187 w 212"/>
                <a:gd name="T71" fmla="*/ 87 h 135"/>
                <a:gd name="T72" fmla="*/ 180 w 212"/>
                <a:gd name="T73" fmla="*/ 85 h 135"/>
                <a:gd name="T74" fmla="*/ 159 w 212"/>
                <a:gd name="T75" fmla="*/ 73 h 135"/>
                <a:gd name="T76" fmla="*/ 150 w 212"/>
                <a:gd name="T77" fmla="*/ 68 h 135"/>
                <a:gd name="T78" fmla="*/ 139 w 212"/>
                <a:gd name="T79" fmla="*/ 46 h 135"/>
                <a:gd name="T80" fmla="*/ 127 w 212"/>
                <a:gd name="T81" fmla="*/ 29 h 135"/>
                <a:gd name="T82" fmla="*/ 120 w 212"/>
                <a:gd name="T83" fmla="*/ 25 h 135"/>
                <a:gd name="T84" fmla="*/ 118 w 212"/>
                <a:gd name="T85" fmla="*/ 20 h 135"/>
                <a:gd name="T86" fmla="*/ 118 w 212"/>
                <a:gd name="T87" fmla="*/ 14 h 135"/>
                <a:gd name="T88" fmla="*/ 112 w 212"/>
                <a:gd name="T89" fmla="*/ 7 h 135"/>
                <a:gd name="T90" fmla="*/ 114 w 212"/>
                <a:gd name="T91" fmla="*/ 2 h 135"/>
                <a:gd name="T92" fmla="*/ 107 w 212"/>
                <a:gd name="T93" fmla="*/ 2 h 135"/>
                <a:gd name="T94" fmla="*/ 104 w 212"/>
                <a:gd name="T95" fmla="*/ 7 h 135"/>
                <a:gd name="T96" fmla="*/ 104 w 212"/>
                <a:gd name="T97" fmla="*/ 13 h 135"/>
                <a:gd name="T98" fmla="*/ 84 w 212"/>
                <a:gd name="T99" fmla="*/ 0 h 135"/>
                <a:gd name="T100" fmla="*/ 75 w 212"/>
                <a:gd name="T101" fmla="*/ 0 h 135"/>
                <a:gd name="T102" fmla="*/ 72 w 212"/>
                <a:gd name="T103" fmla="*/ 5 h 135"/>
                <a:gd name="T104" fmla="*/ 61 w 212"/>
                <a:gd name="T105" fmla="*/ 11 h 135"/>
                <a:gd name="T106" fmla="*/ 57 w 212"/>
                <a:gd name="T107" fmla="*/ 7 h 135"/>
                <a:gd name="T108" fmla="*/ 54 w 212"/>
                <a:gd name="T109" fmla="*/ 18 h 135"/>
                <a:gd name="T110" fmla="*/ 50 w 212"/>
                <a:gd name="T111" fmla="*/ 20 h 135"/>
                <a:gd name="T112" fmla="*/ 50 w 212"/>
                <a:gd name="T113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2" h="135">
                  <a:moveTo>
                    <a:pt x="50" y="20"/>
                  </a:moveTo>
                  <a:lnTo>
                    <a:pt x="50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0" y="23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1" y="29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9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8" y="45"/>
                  </a:lnTo>
                  <a:lnTo>
                    <a:pt x="11" y="48"/>
                  </a:lnTo>
                  <a:lnTo>
                    <a:pt x="20" y="55"/>
                  </a:lnTo>
                  <a:lnTo>
                    <a:pt x="22" y="55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31" y="55"/>
                  </a:lnTo>
                  <a:lnTo>
                    <a:pt x="32" y="52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8" y="61"/>
                  </a:lnTo>
                  <a:lnTo>
                    <a:pt x="43" y="64"/>
                  </a:lnTo>
                  <a:lnTo>
                    <a:pt x="43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50" y="71"/>
                  </a:lnTo>
                  <a:lnTo>
                    <a:pt x="56" y="73"/>
                  </a:lnTo>
                  <a:lnTo>
                    <a:pt x="56" y="75"/>
                  </a:lnTo>
                  <a:lnTo>
                    <a:pt x="56" y="77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0" y="82"/>
                  </a:lnTo>
                  <a:lnTo>
                    <a:pt x="47" y="85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9"/>
                  </a:lnTo>
                  <a:lnTo>
                    <a:pt x="45" y="94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7" y="101"/>
                  </a:lnTo>
                  <a:lnTo>
                    <a:pt x="48" y="100"/>
                  </a:lnTo>
                  <a:lnTo>
                    <a:pt x="50" y="98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7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68" y="98"/>
                  </a:lnTo>
                  <a:lnTo>
                    <a:pt x="68" y="105"/>
                  </a:lnTo>
                  <a:lnTo>
                    <a:pt x="68" y="105"/>
                  </a:lnTo>
                  <a:lnTo>
                    <a:pt x="68" y="107"/>
                  </a:lnTo>
                  <a:lnTo>
                    <a:pt x="68" y="109"/>
                  </a:lnTo>
                  <a:lnTo>
                    <a:pt x="73" y="112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8" y="114"/>
                  </a:lnTo>
                  <a:lnTo>
                    <a:pt x="89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8" y="114"/>
                  </a:lnTo>
                  <a:lnTo>
                    <a:pt x="104" y="112"/>
                  </a:lnTo>
                  <a:lnTo>
                    <a:pt x="109" y="109"/>
                  </a:lnTo>
                  <a:lnTo>
                    <a:pt x="111" y="107"/>
                  </a:lnTo>
                  <a:lnTo>
                    <a:pt x="111" y="107"/>
                  </a:lnTo>
                  <a:lnTo>
                    <a:pt x="114" y="109"/>
                  </a:lnTo>
                  <a:lnTo>
                    <a:pt x="116" y="112"/>
                  </a:lnTo>
                  <a:lnTo>
                    <a:pt x="118" y="117"/>
                  </a:lnTo>
                  <a:lnTo>
                    <a:pt x="118" y="117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5" y="126"/>
                  </a:lnTo>
                  <a:lnTo>
                    <a:pt x="127" y="126"/>
                  </a:lnTo>
                  <a:lnTo>
                    <a:pt x="137" y="133"/>
                  </a:lnTo>
                  <a:lnTo>
                    <a:pt x="139" y="135"/>
                  </a:lnTo>
                  <a:lnTo>
                    <a:pt x="152" y="126"/>
                  </a:lnTo>
                  <a:lnTo>
                    <a:pt x="155" y="126"/>
                  </a:lnTo>
                  <a:lnTo>
                    <a:pt x="164" y="123"/>
                  </a:lnTo>
                  <a:lnTo>
                    <a:pt x="173" y="126"/>
                  </a:lnTo>
                  <a:lnTo>
                    <a:pt x="176" y="123"/>
                  </a:lnTo>
                  <a:lnTo>
                    <a:pt x="180" y="126"/>
                  </a:lnTo>
                  <a:lnTo>
                    <a:pt x="187" y="123"/>
                  </a:lnTo>
                  <a:lnTo>
                    <a:pt x="194" y="128"/>
                  </a:lnTo>
                  <a:lnTo>
                    <a:pt x="198" y="119"/>
                  </a:lnTo>
                  <a:lnTo>
                    <a:pt x="198" y="116"/>
                  </a:lnTo>
                  <a:lnTo>
                    <a:pt x="198" y="114"/>
                  </a:lnTo>
                  <a:lnTo>
                    <a:pt x="205" y="105"/>
                  </a:lnTo>
                  <a:lnTo>
                    <a:pt x="200" y="101"/>
                  </a:lnTo>
                  <a:lnTo>
                    <a:pt x="212" y="94"/>
                  </a:lnTo>
                  <a:lnTo>
                    <a:pt x="201" y="85"/>
                  </a:lnTo>
                  <a:lnTo>
                    <a:pt x="196" y="82"/>
                  </a:lnTo>
                  <a:lnTo>
                    <a:pt x="192" y="84"/>
                  </a:lnTo>
                  <a:lnTo>
                    <a:pt x="189" y="87"/>
                  </a:lnTo>
                  <a:lnTo>
                    <a:pt x="189" y="87"/>
                  </a:lnTo>
                  <a:lnTo>
                    <a:pt x="187" y="87"/>
                  </a:lnTo>
                  <a:lnTo>
                    <a:pt x="185" y="85"/>
                  </a:lnTo>
                  <a:lnTo>
                    <a:pt x="180" y="85"/>
                  </a:lnTo>
                  <a:lnTo>
                    <a:pt x="180" y="85"/>
                  </a:lnTo>
                  <a:lnTo>
                    <a:pt x="173" y="82"/>
                  </a:lnTo>
                  <a:lnTo>
                    <a:pt x="168" y="78"/>
                  </a:lnTo>
                  <a:lnTo>
                    <a:pt x="159" y="73"/>
                  </a:lnTo>
                  <a:lnTo>
                    <a:pt x="152" y="71"/>
                  </a:lnTo>
                  <a:lnTo>
                    <a:pt x="152" y="71"/>
                  </a:lnTo>
                  <a:lnTo>
                    <a:pt x="150" y="68"/>
                  </a:lnTo>
                  <a:lnTo>
                    <a:pt x="148" y="64"/>
                  </a:lnTo>
                  <a:lnTo>
                    <a:pt x="144" y="59"/>
                  </a:lnTo>
                  <a:lnTo>
                    <a:pt x="139" y="46"/>
                  </a:lnTo>
                  <a:lnTo>
                    <a:pt x="134" y="39"/>
                  </a:lnTo>
                  <a:lnTo>
                    <a:pt x="134" y="39"/>
                  </a:lnTo>
                  <a:lnTo>
                    <a:pt x="127" y="29"/>
                  </a:lnTo>
                  <a:lnTo>
                    <a:pt x="125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8" y="20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4"/>
                  </a:lnTo>
                  <a:lnTo>
                    <a:pt x="114" y="14"/>
                  </a:lnTo>
                  <a:lnTo>
                    <a:pt x="112" y="11"/>
                  </a:lnTo>
                  <a:lnTo>
                    <a:pt x="112" y="7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4" y="2"/>
                  </a:lnTo>
                  <a:lnTo>
                    <a:pt x="112" y="0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5" y="4"/>
                  </a:lnTo>
                  <a:lnTo>
                    <a:pt x="105" y="5"/>
                  </a:lnTo>
                  <a:lnTo>
                    <a:pt x="104" y="7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95" y="11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3" y="2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68" y="5"/>
                  </a:lnTo>
                  <a:lnTo>
                    <a:pt x="64" y="7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4" y="18"/>
                  </a:lnTo>
                  <a:lnTo>
                    <a:pt x="52" y="18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6" name="Freeform 35"/>
            <p:cNvSpPr>
              <a:spLocks/>
            </p:cNvSpPr>
            <p:nvPr/>
          </p:nvSpPr>
          <p:spPr bwMode="auto">
            <a:xfrm>
              <a:off x="907728" y="2286299"/>
              <a:ext cx="54765" cy="76442"/>
            </a:xfrm>
            <a:custGeom>
              <a:avLst/>
              <a:gdLst>
                <a:gd name="T0" fmla="*/ 7 w 96"/>
                <a:gd name="T1" fmla="*/ 105 h 134"/>
                <a:gd name="T2" fmla="*/ 12 w 96"/>
                <a:gd name="T3" fmla="*/ 107 h 134"/>
                <a:gd name="T4" fmla="*/ 14 w 96"/>
                <a:gd name="T5" fmla="*/ 109 h 134"/>
                <a:gd name="T6" fmla="*/ 14 w 96"/>
                <a:gd name="T7" fmla="*/ 114 h 134"/>
                <a:gd name="T8" fmla="*/ 14 w 96"/>
                <a:gd name="T9" fmla="*/ 116 h 134"/>
                <a:gd name="T10" fmla="*/ 17 w 96"/>
                <a:gd name="T11" fmla="*/ 121 h 134"/>
                <a:gd name="T12" fmla="*/ 23 w 96"/>
                <a:gd name="T13" fmla="*/ 130 h 134"/>
                <a:gd name="T14" fmla="*/ 23 w 96"/>
                <a:gd name="T15" fmla="*/ 132 h 134"/>
                <a:gd name="T16" fmla="*/ 23 w 96"/>
                <a:gd name="T17" fmla="*/ 132 h 134"/>
                <a:gd name="T18" fmla="*/ 33 w 96"/>
                <a:gd name="T19" fmla="*/ 134 h 134"/>
                <a:gd name="T20" fmla="*/ 42 w 96"/>
                <a:gd name="T21" fmla="*/ 132 h 134"/>
                <a:gd name="T22" fmla="*/ 51 w 96"/>
                <a:gd name="T23" fmla="*/ 126 h 134"/>
                <a:gd name="T24" fmla="*/ 67 w 96"/>
                <a:gd name="T25" fmla="*/ 126 h 134"/>
                <a:gd name="T26" fmla="*/ 74 w 96"/>
                <a:gd name="T27" fmla="*/ 126 h 134"/>
                <a:gd name="T28" fmla="*/ 88 w 96"/>
                <a:gd name="T29" fmla="*/ 119 h 134"/>
                <a:gd name="T30" fmla="*/ 92 w 96"/>
                <a:gd name="T31" fmla="*/ 112 h 134"/>
                <a:gd name="T32" fmla="*/ 96 w 96"/>
                <a:gd name="T33" fmla="*/ 110 h 134"/>
                <a:gd name="T34" fmla="*/ 90 w 96"/>
                <a:gd name="T35" fmla="*/ 102 h 134"/>
                <a:gd name="T36" fmla="*/ 81 w 96"/>
                <a:gd name="T37" fmla="*/ 98 h 134"/>
                <a:gd name="T38" fmla="*/ 80 w 96"/>
                <a:gd name="T39" fmla="*/ 94 h 134"/>
                <a:gd name="T40" fmla="*/ 76 w 96"/>
                <a:gd name="T41" fmla="*/ 86 h 134"/>
                <a:gd name="T42" fmla="*/ 69 w 96"/>
                <a:gd name="T43" fmla="*/ 75 h 134"/>
                <a:gd name="T44" fmla="*/ 64 w 96"/>
                <a:gd name="T45" fmla="*/ 64 h 134"/>
                <a:gd name="T46" fmla="*/ 55 w 96"/>
                <a:gd name="T47" fmla="*/ 55 h 134"/>
                <a:gd name="T48" fmla="*/ 49 w 96"/>
                <a:gd name="T49" fmla="*/ 52 h 134"/>
                <a:gd name="T50" fmla="*/ 42 w 96"/>
                <a:gd name="T51" fmla="*/ 48 h 134"/>
                <a:gd name="T52" fmla="*/ 51 w 96"/>
                <a:gd name="T53" fmla="*/ 39 h 134"/>
                <a:gd name="T54" fmla="*/ 55 w 96"/>
                <a:gd name="T55" fmla="*/ 32 h 134"/>
                <a:gd name="T56" fmla="*/ 49 w 96"/>
                <a:gd name="T57" fmla="*/ 22 h 134"/>
                <a:gd name="T58" fmla="*/ 35 w 96"/>
                <a:gd name="T59" fmla="*/ 29 h 134"/>
                <a:gd name="T60" fmla="*/ 32 w 96"/>
                <a:gd name="T61" fmla="*/ 27 h 134"/>
                <a:gd name="T62" fmla="*/ 28 w 96"/>
                <a:gd name="T63" fmla="*/ 13 h 134"/>
                <a:gd name="T64" fmla="*/ 28 w 96"/>
                <a:gd name="T65" fmla="*/ 0 h 134"/>
                <a:gd name="T66" fmla="*/ 26 w 96"/>
                <a:gd name="T67" fmla="*/ 4 h 134"/>
                <a:gd name="T68" fmla="*/ 17 w 96"/>
                <a:gd name="T69" fmla="*/ 11 h 134"/>
                <a:gd name="T70" fmla="*/ 10 w 96"/>
                <a:gd name="T71" fmla="*/ 20 h 134"/>
                <a:gd name="T72" fmla="*/ 0 w 96"/>
                <a:gd name="T73" fmla="*/ 32 h 134"/>
                <a:gd name="T74" fmla="*/ 3 w 96"/>
                <a:gd name="T75" fmla="*/ 46 h 134"/>
                <a:gd name="T76" fmla="*/ 3 w 96"/>
                <a:gd name="T77" fmla="*/ 55 h 134"/>
                <a:gd name="T78" fmla="*/ 10 w 96"/>
                <a:gd name="T79" fmla="*/ 59 h 134"/>
                <a:gd name="T80" fmla="*/ 16 w 96"/>
                <a:gd name="T81" fmla="*/ 68 h 134"/>
                <a:gd name="T82" fmla="*/ 14 w 96"/>
                <a:gd name="T83" fmla="*/ 77 h 134"/>
                <a:gd name="T84" fmla="*/ 10 w 96"/>
                <a:gd name="T85" fmla="*/ 78 h 134"/>
                <a:gd name="T86" fmla="*/ 7 w 96"/>
                <a:gd name="T87" fmla="*/ 86 h 134"/>
                <a:gd name="T88" fmla="*/ 3 w 96"/>
                <a:gd name="T89" fmla="*/ 94 h 134"/>
                <a:gd name="T90" fmla="*/ 7 w 96"/>
                <a:gd name="T91" fmla="*/ 98 h 134"/>
                <a:gd name="T92" fmla="*/ 7 w 96"/>
                <a:gd name="T93" fmla="*/ 102 h 134"/>
                <a:gd name="T94" fmla="*/ 7 w 96"/>
                <a:gd name="T95" fmla="*/ 10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" h="134">
                  <a:moveTo>
                    <a:pt x="7" y="102"/>
                  </a:moveTo>
                  <a:lnTo>
                    <a:pt x="7" y="102"/>
                  </a:lnTo>
                  <a:lnTo>
                    <a:pt x="7" y="105"/>
                  </a:lnTo>
                  <a:lnTo>
                    <a:pt x="7" y="107"/>
                  </a:lnTo>
                  <a:lnTo>
                    <a:pt x="10" y="107"/>
                  </a:lnTo>
                  <a:lnTo>
                    <a:pt x="12" y="107"/>
                  </a:lnTo>
                  <a:lnTo>
                    <a:pt x="12" y="107"/>
                  </a:lnTo>
                  <a:lnTo>
                    <a:pt x="14" y="109"/>
                  </a:lnTo>
                  <a:lnTo>
                    <a:pt x="14" y="109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4"/>
                  </a:lnTo>
                  <a:lnTo>
                    <a:pt x="14" y="116"/>
                  </a:lnTo>
                  <a:lnTo>
                    <a:pt x="14" y="116"/>
                  </a:lnTo>
                  <a:lnTo>
                    <a:pt x="14" y="116"/>
                  </a:lnTo>
                  <a:lnTo>
                    <a:pt x="14" y="116"/>
                  </a:lnTo>
                  <a:lnTo>
                    <a:pt x="16" y="118"/>
                  </a:lnTo>
                  <a:lnTo>
                    <a:pt x="17" y="121"/>
                  </a:lnTo>
                  <a:lnTo>
                    <a:pt x="17" y="121"/>
                  </a:lnTo>
                  <a:lnTo>
                    <a:pt x="19" y="126"/>
                  </a:lnTo>
                  <a:lnTo>
                    <a:pt x="23" y="130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8" y="134"/>
                  </a:lnTo>
                  <a:lnTo>
                    <a:pt x="28" y="134"/>
                  </a:lnTo>
                  <a:lnTo>
                    <a:pt x="33" y="134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42" y="132"/>
                  </a:lnTo>
                  <a:lnTo>
                    <a:pt x="44" y="130"/>
                  </a:lnTo>
                  <a:lnTo>
                    <a:pt x="48" y="128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6" y="123"/>
                  </a:lnTo>
                  <a:lnTo>
                    <a:pt x="67" y="126"/>
                  </a:lnTo>
                  <a:lnTo>
                    <a:pt x="67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83" y="121"/>
                  </a:lnTo>
                  <a:lnTo>
                    <a:pt x="83" y="121"/>
                  </a:lnTo>
                  <a:lnTo>
                    <a:pt x="88" y="119"/>
                  </a:lnTo>
                  <a:lnTo>
                    <a:pt x="92" y="116"/>
                  </a:lnTo>
                  <a:lnTo>
                    <a:pt x="92" y="114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2" y="105"/>
                  </a:lnTo>
                  <a:lnTo>
                    <a:pt x="90" y="102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1" y="98"/>
                  </a:lnTo>
                  <a:lnTo>
                    <a:pt x="80" y="98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1" y="93"/>
                  </a:lnTo>
                  <a:lnTo>
                    <a:pt x="80" y="91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2" y="80"/>
                  </a:lnTo>
                  <a:lnTo>
                    <a:pt x="69" y="75"/>
                  </a:lnTo>
                  <a:lnTo>
                    <a:pt x="67" y="7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2" y="59"/>
                  </a:lnTo>
                  <a:lnTo>
                    <a:pt x="58" y="57"/>
                  </a:lnTo>
                  <a:lnTo>
                    <a:pt x="55" y="55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49" y="52"/>
                  </a:lnTo>
                  <a:lnTo>
                    <a:pt x="44" y="52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51" y="39"/>
                  </a:lnTo>
                  <a:lnTo>
                    <a:pt x="55" y="38"/>
                  </a:lnTo>
                  <a:lnTo>
                    <a:pt x="55" y="36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1" y="29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30"/>
                  </a:lnTo>
                  <a:lnTo>
                    <a:pt x="33" y="29"/>
                  </a:lnTo>
                  <a:lnTo>
                    <a:pt x="32" y="27"/>
                  </a:lnTo>
                  <a:lnTo>
                    <a:pt x="28" y="18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26" y="7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4"/>
                  </a:lnTo>
                  <a:lnTo>
                    <a:pt x="23" y="6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2" y="16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7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1" y="38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10" y="59"/>
                  </a:lnTo>
                  <a:lnTo>
                    <a:pt x="12" y="61"/>
                  </a:lnTo>
                  <a:lnTo>
                    <a:pt x="14" y="64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5"/>
                  </a:lnTo>
                  <a:lnTo>
                    <a:pt x="14" y="77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0" y="78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3" y="91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7" name="Freeform 36"/>
            <p:cNvSpPr>
              <a:spLocks/>
            </p:cNvSpPr>
            <p:nvPr/>
          </p:nvSpPr>
          <p:spPr bwMode="auto">
            <a:xfrm>
              <a:off x="833567" y="2184756"/>
              <a:ext cx="127784" cy="101543"/>
            </a:xfrm>
            <a:custGeom>
              <a:avLst/>
              <a:gdLst>
                <a:gd name="T0" fmla="*/ 90 w 224"/>
                <a:gd name="T1" fmla="*/ 127 h 178"/>
                <a:gd name="T2" fmla="*/ 98 w 224"/>
                <a:gd name="T3" fmla="*/ 123 h 178"/>
                <a:gd name="T4" fmla="*/ 101 w 224"/>
                <a:gd name="T5" fmla="*/ 128 h 178"/>
                <a:gd name="T6" fmla="*/ 101 w 224"/>
                <a:gd name="T7" fmla="*/ 137 h 178"/>
                <a:gd name="T8" fmla="*/ 121 w 224"/>
                <a:gd name="T9" fmla="*/ 150 h 178"/>
                <a:gd name="T10" fmla="*/ 140 w 224"/>
                <a:gd name="T11" fmla="*/ 153 h 178"/>
                <a:gd name="T12" fmla="*/ 147 w 224"/>
                <a:gd name="T13" fmla="*/ 157 h 178"/>
                <a:gd name="T14" fmla="*/ 156 w 224"/>
                <a:gd name="T15" fmla="*/ 164 h 178"/>
                <a:gd name="T16" fmla="*/ 158 w 224"/>
                <a:gd name="T17" fmla="*/ 178 h 178"/>
                <a:gd name="T18" fmla="*/ 160 w 224"/>
                <a:gd name="T19" fmla="*/ 173 h 178"/>
                <a:gd name="T20" fmla="*/ 172 w 224"/>
                <a:gd name="T21" fmla="*/ 168 h 178"/>
                <a:gd name="T22" fmla="*/ 179 w 224"/>
                <a:gd name="T23" fmla="*/ 162 h 178"/>
                <a:gd name="T24" fmla="*/ 181 w 224"/>
                <a:gd name="T25" fmla="*/ 159 h 178"/>
                <a:gd name="T26" fmla="*/ 181 w 224"/>
                <a:gd name="T27" fmla="*/ 150 h 178"/>
                <a:gd name="T28" fmla="*/ 188 w 224"/>
                <a:gd name="T29" fmla="*/ 130 h 178"/>
                <a:gd name="T30" fmla="*/ 194 w 224"/>
                <a:gd name="T31" fmla="*/ 121 h 178"/>
                <a:gd name="T32" fmla="*/ 202 w 224"/>
                <a:gd name="T33" fmla="*/ 121 h 178"/>
                <a:gd name="T34" fmla="*/ 206 w 224"/>
                <a:gd name="T35" fmla="*/ 112 h 178"/>
                <a:gd name="T36" fmla="*/ 211 w 224"/>
                <a:gd name="T37" fmla="*/ 111 h 178"/>
                <a:gd name="T38" fmla="*/ 222 w 224"/>
                <a:gd name="T39" fmla="*/ 102 h 178"/>
                <a:gd name="T40" fmla="*/ 224 w 224"/>
                <a:gd name="T41" fmla="*/ 89 h 178"/>
                <a:gd name="T42" fmla="*/ 218 w 224"/>
                <a:gd name="T43" fmla="*/ 86 h 178"/>
                <a:gd name="T44" fmla="*/ 201 w 224"/>
                <a:gd name="T45" fmla="*/ 80 h 178"/>
                <a:gd name="T46" fmla="*/ 185 w 224"/>
                <a:gd name="T47" fmla="*/ 68 h 178"/>
                <a:gd name="T48" fmla="*/ 169 w 224"/>
                <a:gd name="T49" fmla="*/ 63 h 178"/>
                <a:gd name="T50" fmla="*/ 162 w 224"/>
                <a:gd name="T51" fmla="*/ 56 h 178"/>
                <a:gd name="T52" fmla="*/ 153 w 224"/>
                <a:gd name="T53" fmla="*/ 50 h 178"/>
                <a:gd name="T54" fmla="*/ 147 w 224"/>
                <a:gd name="T55" fmla="*/ 36 h 178"/>
                <a:gd name="T56" fmla="*/ 138 w 224"/>
                <a:gd name="T57" fmla="*/ 36 h 178"/>
                <a:gd name="T58" fmla="*/ 124 w 224"/>
                <a:gd name="T59" fmla="*/ 36 h 178"/>
                <a:gd name="T60" fmla="*/ 112 w 224"/>
                <a:gd name="T61" fmla="*/ 41 h 178"/>
                <a:gd name="T62" fmla="*/ 105 w 224"/>
                <a:gd name="T63" fmla="*/ 36 h 178"/>
                <a:gd name="T64" fmla="*/ 89 w 224"/>
                <a:gd name="T65" fmla="*/ 29 h 178"/>
                <a:gd name="T66" fmla="*/ 69 w 224"/>
                <a:gd name="T67" fmla="*/ 22 h 178"/>
                <a:gd name="T68" fmla="*/ 51 w 224"/>
                <a:gd name="T69" fmla="*/ 6 h 178"/>
                <a:gd name="T70" fmla="*/ 41 w 224"/>
                <a:gd name="T71" fmla="*/ 2 h 178"/>
                <a:gd name="T72" fmla="*/ 32 w 224"/>
                <a:gd name="T73" fmla="*/ 9 h 178"/>
                <a:gd name="T74" fmla="*/ 25 w 224"/>
                <a:gd name="T75" fmla="*/ 25 h 178"/>
                <a:gd name="T76" fmla="*/ 23 w 224"/>
                <a:gd name="T77" fmla="*/ 32 h 178"/>
                <a:gd name="T78" fmla="*/ 7 w 224"/>
                <a:gd name="T79" fmla="*/ 41 h 178"/>
                <a:gd name="T80" fmla="*/ 2 w 224"/>
                <a:gd name="T81" fmla="*/ 50 h 178"/>
                <a:gd name="T82" fmla="*/ 7 w 224"/>
                <a:gd name="T83" fmla="*/ 54 h 178"/>
                <a:gd name="T84" fmla="*/ 7 w 224"/>
                <a:gd name="T85" fmla="*/ 63 h 178"/>
                <a:gd name="T86" fmla="*/ 14 w 224"/>
                <a:gd name="T87" fmla="*/ 70 h 178"/>
                <a:gd name="T88" fmla="*/ 18 w 224"/>
                <a:gd name="T89" fmla="*/ 77 h 178"/>
                <a:gd name="T90" fmla="*/ 35 w 224"/>
                <a:gd name="T91" fmla="*/ 95 h 178"/>
                <a:gd name="T92" fmla="*/ 50 w 224"/>
                <a:gd name="T93" fmla="*/ 96 h 178"/>
                <a:gd name="T94" fmla="*/ 57 w 224"/>
                <a:gd name="T95" fmla="*/ 105 h 178"/>
                <a:gd name="T96" fmla="*/ 62 w 224"/>
                <a:gd name="T97" fmla="*/ 121 h 178"/>
                <a:gd name="T98" fmla="*/ 69 w 224"/>
                <a:gd name="T99" fmla="*/ 128 h 178"/>
                <a:gd name="T100" fmla="*/ 73 w 224"/>
                <a:gd name="T101" fmla="*/ 128 h 178"/>
                <a:gd name="T102" fmla="*/ 83 w 224"/>
                <a:gd name="T103" fmla="*/ 12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4" h="178">
                  <a:moveTo>
                    <a:pt x="83" y="127"/>
                  </a:moveTo>
                  <a:lnTo>
                    <a:pt x="83" y="127"/>
                  </a:lnTo>
                  <a:lnTo>
                    <a:pt x="89" y="127"/>
                  </a:lnTo>
                  <a:lnTo>
                    <a:pt x="90" y="127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6" y="125"/>
                  </a:lnTo>
                  <a:lnTo>
                    <a:pt x="98" y="123"/>
                  </a:lnTo>
                  <a:lnTo>
                    <a:pt x="99" y="123"/>
                  </a:lnTo>
                  <a:lnTo>
                    <a:pt x="101" y="125"/>
                  </a:lnTo>
                  <a:lnTo>
                    <a:pt x="101" y="125"/>
                  </a:lnTo>
                  <a:lnTo>
                    <a:pt x="101" y="128"/>
                  </a:lnTo>
                  <a:lnTo>
                    <a:pt x="99" y="132"/>
                  </a:lnTo>
                  <a:lnTo>
                    <a:pt x="99" y="134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12" y="144"/>
                  </a:lnTo>
                  <a:lnTo>
                    <a:pt x="117" y="148"/>
                  </a:lnTo>
                  <a:lnTo>
                    <a:pt x="121" y="150"/>
                  </a:lnTo>
                  <a:lnTo>
                    <a:pt x="121" y="150"/>
                  </a:lnTo>
                  <a:lnTo>
                    <a:pt x="130" y="150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40" y="153"/>
                  </a:lnTo>
                  <a:lnTo>
                    <a:pt x="144" y="155"/>
                  </a:lnTo>
                  <a:lnTo>
                    <a:pt x="144" y="157"/>
                  </a:lnTo>
                  <a:lnTo>
                    <a:pt x="147" y="157"/>
                  </a:lnTo>
                  <a:lnTo>
                    <a:pt x="147" y="157"/>
                  </a:lnTo>
                  <a:lnTo>
                    <a:pt x="153" y="159"/>
                  </a:lnTo>
                  <a:lnTo>
                    <a:pt x="156" y="162"/>
                  </a:lnTo>
                  <a:lnTo>
                    <a:pt x="156" y="164"/>
                  </a:lnTo>
                  <a:lnTo>
                    <a:pt x="156" y="164"/>
                  </a:lnTo>
                  <a:lnTo>
                    <a:pt x="158" y="171"/>
                  </a:lnTo>
                  <a:lnTo>
                    <a:pt x="158" y="176"/>
                  </a:lnTo>
                  <a:lnTo>
                    <a:pt x="158" y="176"/>
                  </a:lnTo>
                  <a:lnTo>
                    <a:pt x="158" y="178"/>
                  </a:lnTo>
                  <a:lnTo>
                    <a:pt x="158" y="178"/>
                  </a:lnTo>
                  <a:lnTo>
                    <a:pt x="158" y="178"/>
                  </a:lnTo>
                  <a:lnTo>
                    <a:pt x="160" y="173"/>
                  </a:lnTo>
                  <a:lnTo>
                    <a:pt x="160" y="173"/>
                  </a:lnTo>
                  <a:lnTo>
                    <a:pt x="165" y="169"/>
                  </a:lnTo>
                  <a:lnTo>
                    <a:pt x="165" y="169"/>
                  </a:lnTo>
                  <a:lnTo>
                    <a:pt x="169" y="168"/>
                  </a:lnTo>
                  <a:lnTo>
                    <a:pt x="172" y="168"/>
                  </a:lnTo>
                  <a:lnTo>
                    <a:pt x="172" y="168"/>
                  </a:lnTo>
                  <a:lnTo>
                    <a:pt x="178" y="168"/>
                  </a:lnTo>
                  <a:lnTo>
                    <a:pt x="178" y="166"/>
                  </a:lnTo>
                  <a:lnTo>
                    <a:pt x="179" y="162"/>
                  </a:lnTo>
                  <a:lnTo>
                    <a:pt x="181" y="162"/>
                  </a:lnTo>
                  <a:lnTo>
                    <a:pt x="181" y="162"/>
                  </a:lnTo>
                  <a:lnTo>
                    <a:pt x="181" y="159"/>
                  </a:lnTo>
                  <a:lnTo>
                    <a:pt x="181" y="159"/>
                  </a:lnTo>
                  <a:lnTo>
                    <a:pt x="181" y="155"/>
                  </a:lnTo>
                  <a:lnTo>
                    <a:pt x="181" y="153"/>
                  </a:lnTo>
                  <a:lnTo>
                    <a:pt x="181" y="150"/>
                  </a:lnTo>
                  <a:lnTo>
                    <a:pt x="181" y="150"/>
                  </a:lnTo>
                  <a:lnTo>
                    <a:pt x="183" y="148"/>
                  </a:lnTo>
                  <a:lnTo>
                    <a:pt x="185" y="143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28"/>
                  </a:lnTo>
                  <a:lnTo>
                    <a:pt x="190" y="125"/>
                  </a:lnTo>
                  <a:lnTo>
                    <a:pt x="194" y="121"/>
                  </a:lnTo>
                  <a:lnTo>
                    <a:pt x="194" y="121"/>
                  </a:lnTo>
                  <a:lnTo>
                    <a:pt x="197" y="121"/>
                  </a:lnTo>
                  <a:lnTo>
                    <a:pt x="197" y="121"/>
                  </a:lnTo>
                  <a:lnTo>
                    <a:pt x="202" y="121"/>
                  </a:lnTo>
                  <a:lnTo>
                    <a:pt x="202" y="121"/>
                  </a:lnTo>
                  <a:lnTo>
                    <a:pt x="204" y="121"/>
                  </a:lnTo>
                  <a:lnTo>
                    <a:pt x="206" y="121"/>
                  </a:lnTo>
                  <a:lnTo>
                    <a:pt x="206" y="116"/>
                  </a:lnTo>
                  <a:lnTo>
                    <a:pt x="206" y="112"/>
                  </a:lnTo>
                  <a:lnTo>
                    <a:pt x="206" y="112"/>
                  </a:lnTo>
                  <a:lnTo>
                    <a:pt x="206" y="111"/>
                  </a:lnTo>
                  <a:lnTo>
                    <a:pt x="206" y="111"/>
                  </a:lnTo>
                  <a:lnTo>
                    <a:pt x="211" y="111"/>
                  </a:lnTo>
                  <a:lnTo>
                    <a:pt x="218" y="109"/>
                  </a:lnTo>
                  <a:lnTo>
                    <a:pt x="218" y="109"/>
                  </a:lnTo>
                  <a:lnTo>
                    <a:pt x="220" y="105"/>
                  </a:lnTo>
                  <a:lnTo>
                    <a:pt x="222" y="102"/>
                  </a:lnTo>
                  <a:lnTo>
                    <a:pt x="222" y="102"/>
                  </a:lnTo>
                  <a:lnTo>
                    <a:pt x="222" y="93"/>
                  </a:lnTo>
                  <a:lnTo>
                    <a:pt x="222" y="93"/>
                  </a:lnTo>
                  <a:lnTo>
                    <a:pt x="224" y="89"/>
                  </a:lnTo>
                  <a:lnTo>
                    <a:pt x="224" y="88"/>
                  </a:lnTo>
                  <a:lnTo>
                    <a:pt x="222" y="88"/>
                  </a:lnTo>
                  <a:lnTo>
                    <a:pt x="222" y="88"/>
                  </a:lnTo>
                  <a:lnTo>
                    <a:pt x="218" y="86"/>
                  </a:lnTo>
                  <a:lnTo>
                    <a:pt x="210" y="84"/>
                  </a:lnTo>
                  <a:lnTo>
                    <a:pt x="204" y="82"/>
                  </a:lnTo>
                  <a:lnTo>
                    <a:pt x="201" y="80"/>
                  </a:lnTo>
                  <a:lnTo>
                    <a:pt x="201" y="80"/>
                  </a:lnTo>
                  <a:lnTo>
                    <a:pt x="197" y="75"/>
                  </a:lnTo>
                  <a:lnTo>
                    <a:pt x="197" y="75"/>
                  </a:lnTo>
                  <a:lnTo>
                    <a:pt x="188" y="72"/>
                  </a:lnTo>
                  <a:lnTo>
                    <a:pt x="185" y="68"/>
                  </a:lnTo>
                  <a:lnTo>
                    <a:pt x="181" y="66"/>
                  </a:lnTo>
                  <a:lnTo>
                    <a:pt x="181" y="66"/>
                  </a:lnTo>
                  <a:lnTo>
                    <a:pt x="172" y="64"/>
                  </a:lnTo>
                  <a:lnTo>
                    <a:pt x="169" y="63"/>
                  </a:lnTo>
                  <a:lnTo>
                    <a:pt x="165" y="61"/>
                  </a:lnTo>
                  <a:lnTo>
                    <a:pt x="165" y="61"/>
                  </a:lnTo>
                  <a:lnTo>
                    <a:pt x="163" y="59"/>
                  </a:lnTo>
                  <a:lnTo>
                    <a:pt x="162" y="56"/>
                  </a:lnTo>
                  <a:lnTo>
                    <a:pt x="158" y="56"/>
                  </a:lnTo>
                  <a:lnTo>
                    <a:pt x="158" y="56"/>
                  </a:lnTo>
                  <a:lnTo>
                    <a:pt x="156" y="52"/>
                  </a:lnTo>
                  <a:lnTo>
                    <a:pt x="153" y="50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49" y="36"/>
                  </a:lnTo>
                  <a:lnTo>
                    <a:pt x="147" y="36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0" y="34"/>
                  </a:lnTo>
                  <a:lnTo>
                    <a:pt x="138" y="36"/>
                  </a:lnTo>
                  <a:lnTo>
                    <a:pt x="137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24" y="36"/>
                  </a:lnTo>
                  <a:lnTo>
                    <a:pt x="121" y="36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2" y="41"/>
                  </a:lnTo>
                  <a:lnTo>
                    <a:pt x="108" y="41"/>
                  </a:lnTo>
                  <a:lnTo>
                    <a:pt x="106" y="41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99" y="32"/>
                  </a:lnTo>
                  <a:lnTo>
                    <a:pt x="96" y="32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0" y="27"/>
                  </a:lnTo>
                  <a:lnTo>
                    <a:pt x="76" y="25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58" y="11"/>
                  </a:lnTo>
                  <a:lnTo>
                    <a:pt x="55" y="9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28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5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3" y="32"/>
                  </a:lnTo>
                  <a:lnTo>
                    <a:pt x="19" y="34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41"/>
                  </a:lnTo>
                  <a:lnTo>
                    <a:pt x="3" y="43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7" y="54"/>
                  </a:lnTo>
                  <a:lnTo>
                    <a:pt x="9" y="56"/>
                  </a:lnTo>
                  <a:lnTo>
                    <a:pt x="9" y="61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9" y="66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6" y="73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23" y="88"/>
                  </a:lnTo>
                  <a:lnTo>
                    <a:pt x="28" y="91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42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50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7" y="102"/>
                  </a:lnTo>
                  <a:lnTo>
                    <a:pt x="57" y="105"/>
                  </a:lnTo>
                  <a:lnTo>
                    <a:pt x="58" y="107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62" y="121"/>
                  </a:lnTo>
                  <a:lnTo>
                    <a:pt x="62" y="121"/>
                  </a:lnTo>
                  <a:lnTo>
                    <a:pt x="66" y="125"/>
                  </a:lnTo>
                  <a:lnTo>
                    <a:pt x="67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3" y="128"/>
                  </a:lnTo>
                  <a:lnTo>
                    <a:pt x="78" y="128"/>
                  </a:lnTo>
                  <a:lnTo>
                    <a:pt x="83" y="127"/>
                  </a:lnTo>
                  <a:lnTo>
                    <a:pt x="83" y="127"/>
                  </a:lnTo>
                  <a:lnTo>
                    <a:pt x="83" y="127"/>
                  </a:lnTo>
                  <a:lnTo>
                    <a:pt x="83" y="127"/>
                  </a:lnTo>
                  <a:lnTo>
                    <a:pt x="83" y="12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8" name="Freeform 37"/>
            <p:cNvSpPr>
              <a:spLocks/>
            </p:cNvSpPr>
            <p:nvPr/>
          </p:nvSpPr>
          <p:spPr bwMode="auto">
            <a:xfrm>
              <a:off x="922560" y="2237809"/>
              <a:ext cx="67885" cy="65603"/>
            </a:xfrm>
            <a:custGeom>
              <a:avLst/>
              <a:gdLst>
                <a:gd name="T0" fmla="*/ 2 w 119"/>
                <a:gd name="T1" fmla="*/ 103 h 115"/>
                <a:gd name="T2" fmla="*/ 9 w 119"/>
                <a:gd name="T3" fmla="*/ 115 h 115"/>
                <a:gd name="T4" fmla="*/ 23 w 119"/>
                <a:gd name="T5" fmla="*/ 107 h 115"/>
                <a:gd name="T6" fmla="*/ 34 w 119"/>
                <a:gd name="T7" fmla="*/ 103 h 115"/>
                <a:gd name="T8" fmla="*/ 45 w 119"/>
                <a:gd name="T9" fmla="*/ 107 h 115"/>
                <a:gd name="T10" fmla="*/ 55 w 119"/>
                <a:gd name="T11" fmla="*/ 114 h 115"/>
                <a:gd name="T12" fmla="*/ 62 w 119"/>
                <a:gd name="T13" fmla="*/ 114 h 115"/>
                <a:gd name="T14" fmla="*/ 73 w 119"/>
                <a:gd name="T15" fmla="*/ 107 h 115"/>
                <a:gd name="T16" fmla="*/ 82 w 119"/>
                <a:gd name="T17" fmla="*/ 101 h 115"/>
                <a:gd name="T18" fmla="*/ 89 w 119"/>
                <a:gd name="T19" fmla="*/ 98 h 115"/>
                <a:gd name="T20" fmla="*/ 112 w 119"/>
                <a:gd name="T21" fmla="*/ 98 h 115"/>
                <a:gd name="T22" fmla="*/ 118 w 119"/>
                <a:gd name="T23" fmla="*/ 94 h 115"/>
                <a:gd name="T24" fmla="*/ 119 w 119"/>
                <a:gd name="T25" fmla="*/ 85 h 115"/>
                <a:gd name="T26" fmla="*/ 112 w 119"/>
                <a:gd name="T27" fmla="*/ 73 h 115"/>
                <a:gd name="T28" fmla="*/ 112 w 119"/>
                <a:gd name="T29" fmla="*/ 57 h 115"/>
                <a:gd name="T30" fmla="*/ 112 w 119"/>
                <a:gd name="T31" fmla="*/ 48 h 115"/>
                <a:gd name="T32" fmla="*/ 105 w 119"/>
                <a:gd name="T33" fmla="*/ 32 h 115"/>
                <a:gd name="T34" fmla="*/ 100 w 119"/>
                <a:gd name="T35" fmla="*/ 32 h 115"/>
                <a:gd name="T36" fmla="*/ 98 w 119"/>
                <a:gd name="T37" fmla="*/ 35 h 115"/>
                <a:gd name="T38" fmla="*/ 93 w 119"/>
                <a:gd name="T39" fmla="*/ 37 h 115"/>
                <a:gd name="T40" fmla="*/ 87 w 119"/>
                <a:gd name="T41" fmla="*/ 25 h 115"/>
                <a:gd name="T42" fmla="*/ 89 w 119"/>
                <a:gd name="T43" fmla="*/ 19 h 115"/>
                <a:gd name="T44" fmla="*/ 93 w 119"/>
                <a:gd name="T45" fmla="*/ 12 h 115"/>
                <a:gd name="T46" fmla="*/ 89 w 119"/>
                <a:gd name="T47" fmla="*/ 0 h 115"/>
                <a:gd name="T48" fmla="*/ 87 w 119"/>
                <a:gd name="T49" fmla="*/ 3 h 115"/>
                <a:gd name="T50" fmla="*/ 86 w 119"/>
                <a:gd name="T51" fmla="*/ 12 h 115"/>
                <a:gd name="T52" fmla="*/ 75 w 119"/>
                <a:gd name="T53" fmla="*/ 16 h 115"/>
                <a:gd name="T54" fmla="*/ 70 w 119"/>
                <a:gd name="T55" fmla="*/ 16 h 115"/>
                <a:gd name="T56" fmla="*/ 66 w 119"/>
                <a:gd name="T57" fmla="*/ 12 h 115"/>
                <a:gd name="T58" fmla="*/ 64 w 119"/>
                <a:gd name="T59" fmla="*/ 12 h 115"/>
                <a:gd name="T60" fmla="*/ 55 w 119"/>
                <a:gd name="T61" fmla="*/ 18 h 115"/>
                <a:gd name="T62" fmla="*/ 50 w 119"/>
                <a:gd name="T63" fmla="*/ 19 h 115"/>
                <a:gd name="T64" fmla="*/ 50 w 119"/>
                <a:gd name="T65" fmla="*/ 28 h 115"/>
                <a:gd name="T66" fmla="*/ 46 w 119"/>
                <a:gd name="T67" fmla="*/ 28 h 115"/>
                <a:gd name="T68" fmla="*/ 38 w 119"/>
                <a:gd name="T69" fmla="*/ 28 h 115"/>
                <a:gd name="T70" fmla="*/ 32 w 119"/>
                <a:gd name="T71" fmla="*/ 35 h 115"/>
                <a:gd name="T72" fmla="*/ 29 w 119"/>
                <a:gd name="T73" fmla="*/ 50 h 115"/>
                <a:gd name="T74" fmla="*/ 25 w 119"/>
                <a:gd name="T75" fmla="*/ 57 h 115"/>
                <a:gd name="T76" fmla="*/ 25 w 119"/>
                <a:gd name="T77" fmla="*/ 66 h 115"/>
                <a:gd name="T78" fmla="*/ 25 w 119"/>
                <a:gd name="T79" fmla="*/ 69 h 115"/>
                <a:gd name="T80" fmla="*/ 22 w 119"/>
                <a:gd name="T81" fmla="*/ 75 h 115"/>
                <a:gd name="T82" fmla="*/ 13 w 119"/>
                <a:gd name="T83" fmla="*/ 75 h 115"/>
                <a:gd name="T84" fmla="*/ 4 w 119"/>
                <a:gd name="T85" fmla="*/ 80 h 115"/>
                <a:gd name="T86" fmla="*/ 2 w 119"/>
                <a:gd name="T87" fmla="*/ 85 h 115"/>
                <a:gd name="T88" fmla="*/ 2 w 119"/>
                <a:gd name="T89" fmla="*/ 98 h 115"/>
                <a:gd name="T90" fmla="*/ 2 w 119"/>
                <a:gd name="T91" fmla="*/ 9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115">
                  <a:moveTo>
                    <a:pt x="2" y="98"/>
                  </a:moveTo>
                  <a:lnTo>
                    <a:pt x="2" y="98"/>
                  </a:lnTo>
                  <a:lnTo>
                    <a:pt x="2" y="103"/>
                  </a:lnTo>
                  <a:lnTo>
                    <a:pt x="6" y="112"/>
                  </a:lnTo>
                  <a:lnTo>
                    <a:pt x="7" y="114"/>
                  </a:lnTo>
                  <a:lnTo>
                    <a:pt x="9" y="115"/>
                  </a:lnTo>
                  <a:lnTo>
                    <a:pt x="9" y="114"/>
                  </a:lnTo>
                  <a:lnTo>
                    <a:pt x="9" y="114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30" y="103"/>
                  </a:lnTo>
                  <a:lnTo>
                    <a:pt x="34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45" y="107"/>
                  </a:lnTo>
                  <a:lnTo>
                    <a:pt x="48" y="112"/>
                  </a:lnTo>
                  <a:lnTo>
                    <a:pt x="54" y="114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3" y="107"/>
                  </a:lnTo>
                  <a:lnTo>
                    <a:pt x="78" y="103"/>
                  </a:lnTo>
                  <a:lnTo>
                    <a:pt x="78" y="103"/>
                  </a:lnTo>
                  <a:lnTo>
                    <a:pt x="82" y="101"/>
                  </a:lnTo>
                  <a:lnTo>
                    <a:pt x="86" y="99"/>
                  </a:lnTo>
                  <a:lnTo>
                    <a:pt x="86" y="98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4" y="96"/>
                  </a:lnTo>
                  <a:lnTo>
                    <a:pt x="116" y="96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9" y="85"/>
                  </a:lnTo>
                  <a:lnTo>
                    <a:pt x="119" y="85"/>
                  </a:lnTo>
                  <a:lnTo>
                    <a:pt x="116" y="80"/>
                  </a:lnTo>
                  <a:lnTo>
                    <a:pt x="112" y="73"/>
                  </a:lnTo>
                  <a:lnTo>
                    <a:pt x="112" y="73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2" y="57"/>
                  </a:lnTo>
                  <a:lnTo>
                    <a:pt x="112" y="51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3"/>
                  </a:lnTo>
                  <a:lnTo>
                    <a:pt x="109" y="39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3" y="30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8" y="35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1" y="32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7" y="23"/>
                  </a:lnTo>
                  <a:lnTo>
                    <a:pt x="89" y="19"/>
                  </a:lnTo>
                  <a:lnTo>
                    <a:pt x="91" y="16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3"/>
                  </a:lnTo>
                  <a:lnTo>
                    <a:pt x="91" y="2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9" y="2"/>
                  </a:lnTo>
                  <a:lnTo>
                    <a:pt x="87" y="3"/>
                  </a:lnTo>
                  <a:lnTo>
                    <a:pt x="86" y="7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1" y="16"/>
                  </a:lnTo>
                  <a:lnTo>
                    <a:pt x="70" y="16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6" y="12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4" y="1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55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23"/>
                  </a:lnTo>
                  <a:lnTo>
                    <a:pt x="50" y="28"/>
                  </a:lnTo>
                  <a:lnTo>
                    <a:pt x="48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32"/>
                  </a:lnTo>
                  <a:lnTo>
                    <a:pt x="32" y="35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29" y="50"/>
                  </a:lnTo>
                  <a:lnTo>
                    <a:pt x="27" y="55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60"/>
                  </a:lnTo>
                  <a:lnTo>
                    <a:pt x="25" y="62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2" y="73"/>
                  </a:lnTo>
                  <a:lnTo>
                    <a:pt x="22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3" y="75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0" y="92"/>
                  </a:lnTo>
                  <a:lnTo>
                    <a:pt x="2" y="96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9" name="Freeform 38"/>
            <p:cNvSpPr>
              <a:spLocks/>
            </p:cNvSpPr>
            <p:nvPr/>
          </p:nvSpPr>
          <p:spPr bwMode="auto">
            <a:xfrm>
              <a:off x="777662" y="2540726"/>
              <a:ext cx="61610" cy="104965"/>
            </a:xfrm>
            <a:custGeom>
              <a:avLst/>
              <a:gdLst>
                <a:gd name="T0" fmla="*/ 103 w 108"/>
                <a:gd name="T1" fmla="*/ 20 h 184"/>
                <a:gd name="T2" fmla="*/ 100 w 108"/>
                <a:gd name="T3" fmla="*/ 13 h 184"/>
                <a:gd name="T4" fmla="*/ 85 w 108"/>
                <a:gd name="T5" fmla="*/ 11 h 184"/>
                <a:gd name="T6" fmla="*/ 78 w 108"/>
                <a:gd name="T7" fmla="*/ 9 h 184"/>
                <a:gd name="T8" fmla="*/ 71 w 108"/>
                <a:gd name="T9" fmla="*/ 6 h 184"/>
                <a:gd name="T10" fmla="*/ 60 w 108"/>
                <a:gd name="T11" fmla="*/ 2 h 184"/>
                <a:gd name="T12" fmla="*/ 55 w 108"/>
                <a:gd name="T13" fmla="*/ 0 h 184"/>
                <a:gd name="T14" fmla="*/ 52 w 108"/>
                <a:gd name="T15" fmla="*/ 6 h 184"/>
                <a:gd name="T16" fmla="*/ 52 w 108"/>
                <a:gd name="T17" fmla="*/ 13 h 184"/>
                <a:gd name="T18" fmla="*/ 55 w 108"/>
                <a:gd name="T19" fmla="*/ 31 h 184"/>
                <a:gd name="T20" fmla="*/ 59 w 108"/>
                <a:gd name="T21" fmla="*/ 34 h 184"/>
                <a:gd name="T22" fmla="*/ 55 w 108"/>
                <a:gd name="T23" fmla="*/ 36 h 184"/>
                <a:gd name="T24" fmla="*/ 53 w 108"/>
                <a:gd name="T25" fmla="*/ 38 h 184"/>
                <a:gd name="T26" fmla="*/ 48 w 108"/>
                <a:gd name="T27" fmla="*/ 64 h 184"/>
                <a:gd name="T28" fmla="*/ 57 w 108"/>
                <a:gd name="T29" fmla="*/ 73 h 184"/>
                <a:gd name="T30" fmla="*/ 71 w 108"/>
                <a:gd name="T31" fmla="*/ 73 h 184"/>
                <a:gd name="T32" fmla="*/ 68 w 108"/>
                <a:gd name="T33" fmla="*/ 77 h 184"/>
                <a:gd name="T34" fmla="*/ 60 w 108"/>
                <a:gd name="T35" fmla="*/ 77 h 184"/>
                <a:gd name="T36" fmla="*/ 53 w 108"/>
                <a:gd name="T37" fmla="*/ 77 h 184"/>
                <a:gd name="T38" fmla="*/ 46 w 108"/>
                <a:gd name="T39" fmla="*/ 102 h 184"/>
                <a:gd name="T40" fmla="*/ 46 w 108"/>
                <a:gd name="T41" fmla="*/ 109 h 184"/>
                <a:gd name="T42" fmla="*/ 52 w 108"/>
                <a:gd name="T43" fmla="*/ 112 h 184"/>
                <a:gd name="T44" fmla="*/ 46 w 108"/>
                <a:gd name="T45" fmla="*/ 118 h 184"/>
                <a:gd name="T46" fmla="*/ 46 w 108"/>
                <a:gd name="T47" fmla="*/ 120 h 184"/>
                <a:gd name="T48" fmla="*/ 39 w 108"/>
                <a:gd name="T49" fmla="*/ 118 h 184"/>
                <a:gd name="T50" fmla="*/ 34 w 108"/>
                <a:gd name="T51" fmla="*/ 121 h 184"/>
                <a:gd name="T52" fmla="*/ 32 w 108"/>
                <a:gd name="T53" fmla="*/ 121 h 184"/>
                <a:gd name="T54" fmla="*/ 23 w 108"/>
                <a:gd name="T55" fmla="*/ 116 h 184"/>
                <a:gd name="T56" fmla="*/ 20 w 108"/>
                <a:gd name="T57" fmla="*/ 128 h 184"/>
                <a:gd name="T58" fmla="*/ 0 w 108"/>
                <a:gd name="T59" fmla="*/ 153 h 184"/>
                <a:gd name="T60" fmla="*/ 14 w 108"/>
                <a:gd name="T61" fmla="*/ 173 h 184"/>
                <a:gd name="T62" fmla="*/ 18 w 108"/>
                <a:gd name="T63" fmla="*/ 173 h 184"/>
                <a:gd name="T64" fmla="*/ 36 w 108"/>
                <a:gd name="T65" fmla="*/ 180 h 184"/>
                <a:gd name="T66" fmla="*/ 46 w 108"/>
                <a:gd name="T67" fmla="*/ 180 h 184"/>
                <a:gd name="T68" fmla="*/ 71 w 108"/>
                <a:gd name="T69" fmla="*/ 184 h 184"/>
                <a:gd name="T70" fmla="*/ 85 w 108"/>
                <a:gd name="T71" fmla="*/ 178 h 184"/>
                <a:gd name="T72" fmla="*/ 78 w 108"/>
                <a:gd name="T73" fmla="*/ 157 h 184"/>
                <a:gd name="T74" fmla="*/ 80 w 108"/>
                <a:gd name="T75" fmla="*/ 153 h 184"/>
                <a:gd name="T76" fmla="*/ 85 w 108"/>
                <a:gd name="T77" fmla="*/ 157 h 184"/>
                <a:gd name="T78" fmla="*/ 89 w 108"/>
                <a:gd name="T79" fmla="*/ 160 h 184"/>
                <a:gd name="T80" fmla="*/ 101 w 108"/>
                <a:gd name="T81" fmla="*/ 144 h 184"/>
                <a:gd name="T82" fmla="*/ 105 w 108"/>
                <a:gd name="T83" fmla="*/ 128 h 184"/>
                <a:gd name="T84" fmla="*/ 105 w 108"/>
                <a:gd name="T85" fmla="*/ 118 h 184"/>
                <a:gd name="T86" fmla="*/ 108 w 108"/>
                <a:gd name="T87" fmla="*/ 105 h 184"/>
                <a:gd name="T88" fmla="*/ 107 w 108"/>
                <a:gd name="T89" fmla="*/ 100 h 184"/>
                <a:gd name="T90" fmla="*/ 98 w 108"/>
                <a:gd name="T91" fmla="*/ 91 h 184"/>
                <a:gd name="T92" fmla="*/ 94 w 108"/>
                <a:gd name="T93" fmla="*/ 82 h 184"/>
                <a:gd name="T94" fmla="*/ 92 w 108"/>
                <a:gd name="T95" fmla="*/ 82 h 184"/>
                <a:gd name="T96" fmla="*/ 87 w 108"/>
                <a:gd name="T97" fmla="*/ 84 h 184"/>
                <a:gd name="T98" fmla="*/ 87 w 108"/>
                <a:gd name="T99" fmla="*/ 77 h 184"/>
                <a:gd name="T100" fmla="*/ 89 w 108"/>
                <a:gd name="T101" fmla="*/ 72 h 184"/>
                <a:gd name="T102" fmla="*/ 92 w 108"/>
                <a:gd name="T103" fmla="*/ 68 h 184"/>
                <a:gd name="T104" fmla="*/ 98 w 108"/>
                <a:gd name="T105" fmla="*/ 63 h 184"/>
                <a:gd name="T106" fmla="*/ 98 w 108"/>
                <a:gd name="T107" fmla="*/ 48 h 184"/>
                <a:gd name="T108" fmla="*/ 92 w 108"/>
                <a:gd name="T109" fmla="*/ 36 h 184"/>
                <a:gd name="T110" fmla="*/ 105 w 108"/>
                <a:gd name="T111" fmla="*/ 29 h 184"/>
                <a:gd name="T112" fmla="*/ 105 w 108"/>
                <a:gd name="T113" fmla="*/ 2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84">
                  <a:moveTo>
                    <a:pt x="105" y="29"/>
                  </a:moveTo>
                  <a:lnTo>
                    <a:pt x="105" y="29"/>
                  </a:lnTo>
                  <a:lnTo>
                    <a:pt x="103" y="20"/>
                  </a:lnTo>
                  <a:lnTo>
                    <a:pt x="101" y="16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96" y="9"/>
                  </a:lnTo>
                  <a:lnTo>
                    <a:pt x="94" y="9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2" y="9"/>
                  </a:lnTo>
                  <a:lnTo>
                    <a:pt x="78" y="9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1" y="6"/>
                  </a:lnTo>
                  <a:lnTo>
                    <a:pt x="68" y="6"/>
                  </a:lnTo>
                  <a:lnTo>
                    <a:pt x="66" y="6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55" y="0"/>
                  </a:lnTo>
                  <a:lnTo>
                    <a:pt x="53" y="2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3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5" y="31"/>
                  </a:lnTo>
                  <a:lnTo>
                    <a:pt x="57" y="32"/>
                  </a:lnTo>
                  <a:lnTo>
                    <a:pt x="59" y="32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6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2" y="50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57" y="73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71" y="73"/>
                  </a:lnTo>
                  <a:lnTo>
                    <a:pt x="71" y="75"/>
                  </a:lnTo>
                  <a:lnTo>
                    <a:pt x="71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4" y="77"/>
                  </a:lnTo>
                  <a:lnTo>
                    <a:pt x="60" y="77"/>
                  </a:lnTo>
                  <a:lnTo>
                    <a:pt x="55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2" y="80"/>
                  </a:lnTo>
                  <a:lnTo>
                    <a:pt x="48" y="89"/>
                  </a:lnTo>
                  <a:lnTo>
                    <a:pt x="46" y="102"/>
                  </a:lnTo>
                  <a:lnTo>
                    <a:pt x="46" y="102"/>
                  </a:lnTo>
                  <a:lnTo>
                    <a:pt x="46" y="105"/>
                  </a:lnTo>
                  <a:lnTo>
                    <a:pt x="46" y="109"/>
                  </a:lnTo>
                  <a:lnTo>
                    <a:pt x="52" y="111"/>
                  </a:lnTo>
                  <a:lnTo>
                    <a:pt x="52" y="111"/>
                  </a:lnTo>
                  <a:lnTo>
                    <a:pt x="52" y="112"/>
                  </a:lnTo>
                  <a:lnTo>
                    <a:pt x="52" y="114"/>
                  </a:lnTo>
                  <a:lnTo>
                    <a:pt x="48" y="116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4" y="120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37" y="118"/>
                  </a:lnTo>
                  <a:lnTo>
                    <a:pt x="36" y="120"/>
                  </a:lnTo>
                  <a:lnTo>
                    <a:pt x="34" y="121"/>
                  </a:lnTo>
                  <a:lnTo>
                    <a:pt x="34" y="121"/>
                  </a:lnTo>
                  <a:lnTo>
                    <a:pt x="34" y="121"/>
                  </a:lnTo>
                  <a:lnTo>
                    <a:pt x="32" y="121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3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20" y="128"/>
                  </a:lnTo>
                  <a:lnTo>
                    <a:pt x="18" y="132"/>
                  </a:lnTo>
                  <a:lnTo>
                    <a:pt x="25" y="141"/>
                  </a:lnTo>
                  <a:lnTo>
                    <a:pt x="0" y="153"/>
                  </a:lnTo>
                  <a:lnTo>
                    <a:pt x="14" y="162"/>
                  </a:lnTo>
                  <a:lnTo>
                    <a:pt x="14" y="173"/>
                  </a:lnTo>
                  <a:lnTo>
                    <a:pt x="14" y="173"/>
                  </a:lnTo>
                  <a:lnTo>
                    <a:pt x="14" y="173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21" y="175"/>
                  </a:lnTo>
                  <a:lnTo>
                    <a:pt x="30" y="176"/>
                  </a:lnTo>
                  <a:lnTo>
                    <a:pt x="36" y="180"/>
                  </a:lnTo>
                  <a:lnTo>
                    <a:pt x="39" y="180"/>
                  </a:lnTo>
                  <a:lnTo>
                    <a:pt x="39" y="180"/>
                  </a:lnTo>
                  <a:lnTo>
                    <a:pt x="46" y="180"/>
                  </a:lnTo>
                  <a:lnTo>
                    <a:pt x="55" y="182"/>
                  </a:lnTo>
                  <a:lnTo>
                    <a:pt x="71" y="184"/>
                  </a:lnTo>
                  <a:lnTo>
                    <a:pt x="71" y="184"/>
                  </a:lnTo>
                  <a:lnTo>
                    <a:pt x="76" y="184"/>
                  </a:lnTo>
                  <a:lnTo>
                    <a:pt x="82" y="182"/>
                  </a:lnTo>
                  <a:lnTo>
                    <a:pt x="85" y="178"/>
                  </a:lnTo>
                  <a:lnTo>
                    <a:pt x="85" y="178"/>
                  </a:lnTo>
                  <a:lnTo>
                    <a:pt x="82" y="166"/>
                  </a:lnTo>
                  <a:lnTo>
                    <a:pt x="78" y="157"/>
                  </a:lnTo>
                  <a:lnTo>
                    <a:pt x="78" y="153"/>
                  </a:lnTo>
                  <a:lnTo>
                    <a:pt x="80" y="153"/>
                  </a:lnTo>
                  <a:lnTo>
                    <a:pt x="80" y="153"/>
                  </a:lnTo>
                  <a:lnTo>
                    <a:pt x="82" y="153"/>
                  </a:lnTo>
                  <a:lnTo>
                    <a:pt x="82" y="153"/>
                  </a:lnTo>
                  <a:lnTo>
                    <a:pt x="85" y="157"/>
                  </a:lnTo>
                  <a:lnTo>
                    <a:pt x="87" y="159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8" y="162"/>
                  </a:lnTo>
                  <a:lnTo>
                    <a:pt x="98" y="162"/>
                  </a:lnTo>
                  <a:lnTo>
                    <a:pt x="101" y="144"/>
                  </a:lnTo>
                  <a:lnTo>
                    <a:pt x="105" y="134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1"/>
                  </a:lnTo>
                  <a:lnTo>
                    <a:pt x="105" y="120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7" y="111"/>
                  </a:lnTo>
                  <a:lnTo>
                    <a:pt x="108" y="105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96"/>
                  </a:lnTo>
                  <a:lnTo>
                    <a:pt x="100" y="95"/>
                  </a:lnTo>
                  <a:lnTo>
                    <a:pt x="98" y="91"/>
                  </a:lnTo>
                  <a:lnTo>
                    <a:pt x="98" y="91"/>
                  </a:lnTo>
                  <a:lnTo>
                    <a:pt x="96" y="84"/>
                  </a:lnTo>
                  <a:lnTo>
                    <a:pt x="94" y="82"/>
                  </a:lnTo>
                  <a:lnTo>
                    <a:pt x="94" y="82"/>
                  </a:lnTo>
                  <a:lnTo>
                    <a:pt x="94" y="82"/>
                  </a:lnTo>
                  <a:lnTo>
                    <a:pt x="92" y="82"/>
                  </a:lnTo>
                  <a:lnTo>
                    <a:pt x="89" y="84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0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9" y="75"/>
                  </a:lnTo>
                  <a:lnTo>
                    <a:pt x="89" y="75"/>
                  </a:lnTo>
                  <a:lnTo>
                    <a:pt x="89" y="72"/>
                  </a:lnTo>
                  <a:lnTo>
                    <a:pt x="89" y="70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8" y="63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98" y="48"/>
                  </a:lnTo>
                  <a:lnTo>
                    <a:pt x="94" y="40"/>
                  </a:lnTo>
                  <a:lnTo>
                    <a:pt x="92" y="38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105" y="31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2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0" name="Freeform 39"/>
            <p:cNvSpPr>
              <a:spLocks/>
            </p:cNvSpPr>
            <p:nvPr/>
          </p:nvSpPr>
          <p:spPr bwMode="auto">
            <a:xfrm>
              <a:off x="683535" y="2622302"/>
              <a:ext cx="78724" cy="113522"/>
            </a:xfrm>
            <a:custGeom>
              <a:avLst/>
              <a:gdLst>
                <a:gd name="T0" fmla="*/ 121 w 138"/>
                <a:gd name="T1" fmla="*/ 14 h 199"/>
                <a:gd name="T2" fmla="*/ 106 w 138"/>
                <a:gd name="T3" fmla="*/ 0 h 199"/>
                <a:gd name="T4" fmla="*/ 83 w 138"/>
                <a:gd name="T5" fmla="*/ 1 h 199"/>
                <a:gd name="T6" fmla="*/ 74 w 138"/>
                <a:gd name="T7" fmla="*/ 14 h 199"/>
                <a:gd name="T8" fmla="*/ 74 w 138"/>
                <a:gd name="T9" fmla="*/ 23 h 199"/>
                <a:gd name="T10" fmla="*/ 69 w 138"/>
                <a:gd name="T11" fmla="*/ 37 h 199"/>
                <a:gd name="T12" fmla="*/ 74 w 138"/>
                <a:gd name="T13" fmla="*/ 49 h 199"/>
                <a:gd name="T14" fmla="*/ 76 w 138"/>
                <a:gd name="T15" fmla="*/ 53 h 199"/>
                <a:gd name="T16" fmla="*/ 90 w 138"/>
                <a:gd name="T17" fmla="*/ 57 h 199"/>
                <a:gd name="T18" fmla="*/ 87 w 138"/>
                <a:gd name="T19" fmla="*/ 69 h 199"/>
                <a:gd name="T20" fmla="*/ 74 w 138"/>
                <a:gd name="T21" fmla="*/ 71 h 199"/>
                <a:gd name="T22" fmla="*/ 60 w 138"/>
                <a:gd name="T23" fmla="*/ 83 h 199"/>
                <a:gd name="T24" fmla="*/ 57 w 138"/>
                <a:gd name="T25" fmla="*/ 92 h 199"/>
                <a:gd name="T26" fmla="*/ 49 w 138"/>
                <a:gd name="T27" fmla="*/ 94 h 199"/>
                <a:gd name="T28" fmla="*/ 42 w 138"/>
                <a:gd name="T29" fmla="*/ 90 h 199"/>
                <a:gd name="T30" fmla="*/ 37 w 138"/>
                <a:gd name="T31" fmla="*/ 92 h 199"/>
                <a:gd name="T32" fmla="*/ 26 w 138"/>
                <a:gd name="T33" fmla="*/ 94 h 199"/>
                <a:gd name="T34" fmla="*/ 12 w 138"/>
                <a:gd name="T35" fmla="*/ 96 h 199"/>
                <a:gd name="T36" fmla="*/ 7 w 138"/>
                <a:gd name="T37" fmla="*/ 97 h 199"/>
                <a:gd name="T38" fmla="*/ 0 w 138"/>
                <a:gd name="T39" fmla="*/ 97 h 199"/>
                <a:gd name="T40" fmla="*/ 9 w 138"/>
                <a:gd name="T41" fmla="*/ 128 h 199"/>
                <a:gd name="T42" fmla="*/ 17 w 138"/>
                <a:gd name="T43" fmla="*/ 149 h 199"/>
                <a:gd name="T44" fmla="*/ 16 w 138"/>
                <a:gd name="T45" fmla="*/ 163 h 199"/>
                <a:gd name="T46" fmla="*/ 16 w 138"/>
                <a:gd name="T47" fmla="*/ 177 h 199"/>
                <a:gd name="T48" fmla="*/ 21 w 138"/>
                <a:gd name="T49" fmla="*/ 192 h 199"/>
                <a:gd name="T50" fmla="*/ 28 w 138"/>
                <a:gd name="T51" fmla="*/ 199 h 199"/>
                <a:gd name="T52" fmla="*/ 41 w 138"/>
                <a:gd name="T53" fmla="*/ 195 h 199"/>
                <a:gd name="T54" fmla="*/ 69 w 138"/>
                <a:gd name="T55" fmla="*/ 197 h 199"/>
                <a:gd name="T56" fmla="*/ 69 w 138"/>
                <a:gd name="T57" fmla="*/ 190 h 199"/>
                <a:gd name="T58" fmla="*/ 74 w 138"/>
                <a:gd name="T59" fmla="*/ 174 h 199"/>
                <a:gd name="T60" fmla="*/ 74 w 138"/>
                <a:gd name="T61" fmla="*/ 151 h 199"/>
                <a:gd name="T62" fmla="*/ 76 w 138"/>
                <a:gd name="T63" fmla="*/ 136 h 199"/>
                <a:gd name="T64" fmla="*/ 81 w 138"/>
                <a:gd name="T65" fmla="*/ 124 h 199"/>
                <a:gd name="T66" fmla="*/ 87 w 138"/>
                <a:gd name="T67" fmla="*/ 115 h 199"/>
                <a:gd name="T68" fmla="*/ 96 w 138"/>
                <a:gd name="T69" fmla="*/ 110 h 199"/>
                <a:gd name="T70" fmla="*/ 110 w 138"/>
                <a:gd name="T71" fmla="*/ 97 h 199"/>
                <a:gd name="T72" fmla="*/ 119 w 138"/>
                <a:gd name="T73" fmla="*/ 74 h 199"/>
                <a:gd name="T74" fmla="*/ 121 w 138"/>
                <a:gd name="T75" fmla="*/ 58 h 199"/>
                <a:gd name="T76" fmla="*/ 126 w 138"/>
                <a:gd name="T77" fmla="*/ 48 h 199"/>
                <a:gd name="T78" fmla="*/ 138 w 138"/>
                <a:gd name="T79" fmla="*/ 48 h 199"/>
                <a:gd name="T80" fmla="*/ 135 w 138"/>
                <a:gd name="T81" fmla="*/ 41 h 199"/>
                <a:gd name="T82" fmla="*/ 122 w 138"/>
                <a:gd name="T83" fmla="*/ 19 h 199"/>
                <a:gd name="T84" fmla="*/ 122 w 138"/>
                <a:gd name="T85" fmla="*/ 1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8" h="199">
                  <a:moveTo>
                    <a:pt x="122" y="19"/>
                  </a:moveTo>
                  <a:lnTo>
                    <a:pt x="122" y="19"/>
                  </a:lnTo>
                  <a:lnTo>
                    <a:pt x="121" y="14"/>
                  </a:lnTo>
                  <a:lnTo>
                    <a:pt x="117" y="7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99" y="3"/>
                  </a:lnTo>
                  <a:lnTo>
                    <a:pt x="87" y="7"/>
                  </a:lnTo>
                  <a:lnTo>
                    <a:pt x="83" y="1"/>
                  </a:lnTo>
                  <a:lnTo>
                    <a:pt x="76" y="7"/>
                  </a:lnTo>
                  <a:lnTo>
                    <a:pt x="81" y="14"/>
                  </a:lnTo>
                  <a:lnTo>
                    <a:pt x="74" y="14"/>
                  </a:lnTo>
                  <a:lnTo>
                    <a:pt x="67" y="10"/>
                  </a:lnTo>
                  <a:lnTo>
                    <a:pt x="64" y="10"/>
                  </a:lnTo>
                  <a:lnTo>
                    <a:pt x="74" y="23"/>
                  </a:lnTo>
                  <a:lnTo>
                    <a:pt x="64" y="30"/>
                  </a:lnTo>
                  <a:lnTo>
                    <a:pt x="67" y="30"/>
                  </a:lnTo>
                  <a:lnTo>
                    <a:pt x="69" y="37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4" y="49"/>
                  </a:lnTo>
                  <a:lnTo>
                    <a:pt x="74" y="51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83" y="55"/>
                  </a:lnTo>
                  <a:lnTo>
                    <a:pt x="87" y="53"/>
                  </a:lnTo>
                  <a:lnTo>
                    <a:pt x="90" y="57"/>
                  </a:lnTo>
                  <a:lnTo>
                    <a:pt x="87" y="64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0" y="69"/>
                  </a:lnTo>
                  <a:lnTo>
                    <a:pt x="76" y="69"/>
                  </a:lnTo>
                  <a:lnTo>
                    <a:pt x="74" y="71"/>
                  </a:lnTo>
                  <a:lnTo>
                    <a:pt x="74" y="71"/>
                  </a:lnTo>
                  <a:lnTo>
                    <a:pt x="64" y="78"/>
                  </a:lnTo>
                  <a:lnTo>
                    <a:pt x="60" y="83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7" y="92"/>
                  </a:lnTo>
                  <a:lnTo>
                    <a:pt x="55" y="94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1" y="90"/>
                  </a:lnTo>
                  <a:lnTo>
                    <a:pt x="37" y="92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26" y="94"/>
                  </a:lnTo>
                  <a:lnTo>
                    <a:pt x="19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9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3" y="97"/>
                  </a:lnTo>
                  <a:lnTo>
                    <a:pt x="1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3" y="113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16" y="138"/>
                  </a:lnTo>
                  <a:lnTo>
                    <a:pt x="17" y="149"/>
                  </a:lnTo>
                  <a:lnTo>
                    <a:pt x="17" y="149"/>
                  </a:lnTo>
                  <a:lnTo>
                    <a:pt x="17" y="154"/>
                  </a:lnTo>
                  <a:lnTo>
                    <a:pt x="16" y="163"/>
                  </a:lnTo>
                  <a:lnTo>
                    <a:pt x="14" y="170"/>
                  </a:lnTo>
                  <a:lnTo>
                    <a:pt x="14" y="176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7" y="184"/>
                  </a:lnTo>
                  <a:lnTo>
                    <a:pt x="21" y="192"/>
                  </a:lnTo>
                  <a:lnTo>
                    <a:pt x="26" y="197"/>
                  </a:lnTo>
                  <a:lnTo>
                    <a:pt x="26" y="19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197"/>
                  </a:lnTo>
                  <a:lnTo>
                    <a:pt x="41" y="195"/>
                  </a:lnTo>
                  <a:lnTo>
                    <a:pt x="41" y="195"/>
                  </a:lnTo>
                  <a:lnTo>
                    <a:pt x="55" y="197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0"/>
                  </a:lnTo>
                  <a:lnTo>
                    <a:pt x="69" y="190"/>
                  </a:lnTo>
                  <a:lnTo>
                    <a:pt x="71" y="183"/>
                  </a:lnTo>
                  <a:lnTo>
                    <a:pt x="71" y="177"/>
                  </a:lnTo>
                  <a:lnTo>
                    <a:pt x="74" y="174"/>
                  </a:lnTo>
                  <a:lnTo>
                    <a:pt x="74" y="168"/>
                  </a:lnTo>
                  <a:lnTo>
                    <a:pt x="74" y="168"/>
                  </a:lnTo>
                  <a:lnTo>
                    <a:pt x="74" y="151"/>
                  </a:lnTo>
                  <a:lnTo>
                    <a:pt x="76" y="142"/>
                  </a:lnTo>
                  <a:lnTo>
                    <a:pt x="76" y="138"/>
                  </a:lnTo>
                  <a:lnTo>
                    <a:pt x="76" y="136"/>
                  </a:lnTo>
                  <a:lnTo>
                    <a:pt x="76" y="136"/>
                  </a:lnTo>
                  <a:lnTo>
                    <a:pt x="80" y="133"/>
                  </a:lnTo>
                  <a:lnTo>
                    <a:pt x="81" y="124"/>
                  </a:lnTo>
                  <a:lnTo>
                    <a:pt x="83" y="119"/>
                  </a:lnTo>
                  <a:lnTo>
                    <a:pt x="87" y="117"/>
                  </a:lnTo>
                  <a:lnTo>
                    <a:pt x="87" y="115"/>
                  </a:lnTo>
                  <a:lnTo>
                    <a:pt x="87" y="115"/>
                  </a:lnTo>
                  <a:lnTo>
                    <a:pt x="90" y="113"/>
                  </a:lnTo>
                  <a:lnTo>
                    <a:pt x="96" y="110"/>
                  </a:lnTo>
                  <a:lnTo>
                    <a:pt x="105" y="101"/>
                  </a:lnTo>
                  <a:lnTo>
                    <a:pt x="105" y="101"/>
                  </a:lnTo>
                  <a:lnTo>
                    <a:pt x="110" y="97"/>
                  </a:lnTo>
                  <a:lnTo>
                    <a:pt x="113" y="90"/>
                  </a:lnTo>
                  <a:lnTo>
                    <a:pt x="117" y="80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67"/>
                  </a:lnTo>
                  <a:lnTo>
                    <a:pt x="121" y="58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31" y="48"/>
                  </a:lnTo>
                  <a:lnTo>
                    <a:pt x="138" y="48"/>
                  </a:lnTo>
                  <a:lnTo>
                    <a:pt x="138" y="48"/>
                  </a:lnTo>
                  <a:lnTo>
                    <a:pt x="137" y="42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29" y="30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1" name="Freeform 40"/>
            <p:cNvSpPr>
              <a:spLocks/>
            </p:cNvSpPr>
            <p:nvPr/>
          </p:nvSpPr>
          <p:spPr bwMode="auto">
            <a:xfrm>
              <a:off x="762259" y="2439754"/>
              <a:ext cx="122079" cy="118657"/>
            </a:xfrm>
            <a:custGeom>
              <a:avLst/>
              <a:gdLst>
                <a:gd name="T0" fmla="*/ 214 w 214"/>
                <a:gd name="T1" fmla="*/ 158 h 208"/>
                <a:gd name="T2" fmla="*/ 203 w 214"/>
                <a:gd name="T3" fmla="*/ 135 h 208"/>
                <a:gd name="T4" fmla="*/ 180 w 214"/>
                <a:gd name="T5" fmla="*/ 110 h 208"/>
                <a:gd name="T6" fmla="*/ 175 w 214"/>
                <a:gd name="T7" fmla="*/ 106 h 208"/>
                <a:gd name="T8" fmla="*/ 183 w 214"/>
                <a:gd name="T9" fmla="*/ 97 h 208"/>
                <a:gd name="T10" fmla="*/ 189 w 214"/>
                <a:gd name="T11" fmla="*/ 81 h 208"/>
                <a:gd name="T12" fmla="*/ 176 w 214"/>
                <a:gd name="T13" fmla="*/ 62 h 208"/>
                <a:gd name="T14" fmla="*/ 169 w 214"/>
                <a:gd name="T15" fmla="*/ 57 h 208"/>
                <a:gd name="T16" fmla="*/ 167 w 214"/>
                <a:gd name="T17" fmla="*/ 49 h 208"/>
                <a:gd name="T18" fmla="*/ 146 w 214"/>
                <a:gd name="T19" fmla="*/ 44 h 208"/>
                <a:gd name="T20" fmla="*/ 141 w 214"/>
                <a:gd name="T21" fmla="*/ 21 h 208"/>
                <a:gd name="T22" fmla="*/ 128 w 214"/>
                <a:gd name="T23" fmla="*/ 9 h 208"/>
                <a:gd name="T24" fmla="*/ 119 w 214"/>
                <a:gd name="T25" fmla="*/ 1 h 208"/>
                <a:gd name="T26" fmla="*/ 103 w 214"/>
                <a:gd name="T27" fmla="*/ 1 h 208"/>
                <a:gd name="T28" fmla="*/ 93 w 214"/>
                <a:gd name="T29" fmla="*/ 0 h 208"/>
                <a:gd name="T30" fmla="*/ 91 w 214"/>
                <a:gd name="T31" fmla="*/ 10 h 208"/>
                <a:gd name="T32" fmla="*/ 84 w 214"/>
                <a:gd name="T33" fmla="*/ 14 h 208"/>
                <a:gd name="T34" fmla="*/ 80 w 214"/>
                <a:gd name="T35" fmla="*/ 23 h 208"/>
                <a:gd name="T36" fmla="*/ 70 w 214"/>
                <a:gd name="T37" fmla="*/ 23 h 208"/>
                <a:gd name="T38" fmla="*/ 70 w 214"/>
                <a:gd name="T39" fmla="*/ 35 h 208"/>
                <a:gd name="T40" fmla="*/ 70 w 214"/>
                <a:gd name="T41" fmla="*/ 57 h 208"/>
                <a:gd name="T42" fmla="*/ 48 w 214"/>
                <a:gd name="T43" fmla="*/ 73 h 208"/>
                <a:gd name="T44" fmla="*/ 48 w 214"/>
                <a:gd name="T45" fmla="*/ 87 h 208"/>
                <a:gd name="T46" fmla="*/ 52 w 214"/>
                <a:gd name="T47" fmla="*/ 96 h 208"/>
                <a:gd name="T48" fmla="*/ 38 w 214"/>
                <a:gd name="T49" fmla="*/ 112 h 208"/>
                <a:gd name="T50" fmla="*/ 23 w 214"/>
                <a:gd name="T51" fmla="*/ 106 h 208"/>
                <a:gd name="T52" fmla="*/ 13 w 214"/>
                <a:gd name="T53" fmla="*/ 106 h 208"/>
                <a:gd name="T54" fmla="*/ 9 w 214"/>
                <a:gd name="T55" fmla="*/ 106 h 208"/>
                <a:gd name="T56" fmla="*/ 6 w 214"/>
                <a:gd name="T57" fmla="*/ 110 h 208"/>
                <a:gd name="T58" fmla="*/ 0 w 214"/>
                <a:gd name="T59" fmla="*/ 113 h 208"/>
                <a:gd name="T60" fmla="*/ 4 w 214"/>
                <a:gd name="T61" fmla="*/ 117 h 208"/>
                <a:gd name="T62" fmla="*/ 9 w 214"/>
                <a:gd name="T63" fmla="*/ 135 h 208"/>
                <a:gd name="T64" fmla="*/ 2 w 214"/>
                <a:gd name="T65" fmla="*/ 149 h 208"/>
                <a:gd name="T66" fmla="*/ 4 w 214"/>
                <a:gd name="T67" fmla="*/ 154 h 208"/>
                <a:gd name="T68" fmla="*/ 6 w 214"/>
                <a:gd name="T69" fmla="*/ 167 h 208"/>
                <a:gd name="T70" fmla="*/ 13 w 214"/>
                <a:gd name="T71" fmla="*/ 176 h 208"/>
                <a:gd name="T72" fmla="*/ 25 w 214"/>
                <a:gd name="T73" fmla="*/ 170 h 208"/>
                <a:gd name="T74" fmla="*/ 38 w 214"/>
                <a:gd name="T75" fmla="*/ 172 h 208"/>
                <a:gd name="T76" fmla="*/ 41 w 214"/>
                <a:gd name="T77" fmla="*/ 170 h 208"/>
                <a:gd name="T78" fmla="*/ 50 w 214"/>
                <a:gd name="T79" fmla="*/ 177 h 208"/>
                <a:gd name="T80" fmla="*/ 54 w 214"/>
                <a:gd name="T81" fmla="*/ 172 h 208"/>
                <a:gd name="T82" fmla="*/ 63 w 214"/>
                <a:gd name="T83" fmla="*/ 167 h 208"/>
                <a:gd name="T84" fmla="*/ 63 w 214"/>
                <a:gd name="T85" fmla="*/ 177 h 208"/>
                <a:gd name="T86" fmla="*/ 64 w 214"/>
                <a:gd name="T87" fmla="*/ 185 h 208"/>
                <a:gd name="T88" fmla="*/ 70 w 214"/>
                <a:gd name="T89" fmla="*/ 185 h 208"/>
                <a:gd name="T90" fmla="*/ 79 w 214"/>
                <a:gd name="T91" fmla="*/ 183 h 208"/>
                <a:gd name="T92" fmla="*/ 86 w 214"/>
                <a:gd name="T93" fmla="*/ 177 h 208"/>
                <a:gd name="T94" fmla="*/ 95 w 214"/>
                <a:gd name="T95" fmla="*/ 183 h 208"/>
                <a:gd name="T96" fmla="*/ 105 w 214"/>
                <a:gd name="T97" fmla="*/ 186 h 208"/>
                <a:gd name="T98" fmla="*/ 121 w 214"/>
                <a:gd name="T99" fmla="*/ 186 h 208"/>
                <a:gd name="T100" fmla="*/ 128 w 214"/>
                <a:gd name="T101" fmla="*/ 193 h 208"/>
                <a:gd name="T102" fmla="*/ 134 w 214"/>
                <a:gd name="T103" fmla="*/ 208 h 208"/>
                <a:gd name="T104" fmla="*/ 146 w 214"/>
                <a:gd name="T105" fmla="*/ 204 h 208"/>
                <a:gd name="T106" fmla="*/ 162 w 214"/>
                <a:gd name="T107" fmla="*/ 201 h 208"/>
                <a:gd name="T108" fmla="*/ 160 w 214"/>
                <a:gd name="T109" fmla="*/ 188 h 208"/>
                <a:gd name="T110" fmla="*/ 173 w 214"/>
                <a:gd name="T111" fmla="*/ 183 h 208"/>
                <a:gd name="T112" fmla="*/ 187 w 214"/>
                <a:gd name="T113" fmla="*/ 172 h 208"/>
                <a:gd name="T114" fmla="*/ 203 w 214"/>
                <a:gd name="T115" fmla="*/ 174 h 208"/>
                <a:gd name="T116" fmla="*/ 210 w 214"/>
                <a:gd name="T117" fmla="*/ 167 h 208"/>
                <a:gd name="T118" fmla="*/ 214 w 214"/>
                <a:gd name="T119" fmla="*/ 16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4" h="208">
                  <a:moveTo>
                    <a:pt x="214" y="160"/>
                  </a:moveTo>
                  <a:lnTo>
                    <a:pt x="214" y="160"/>
                  </a:lnTo>
                  <a:lnTo>
                    <a:pt x="214" y="160"/>
                  </a:lnTo>
                  <a:lnTo>
                    <a:pt x="214" y="158"/>
                  </a:lnTo>
                  <a:lnTo>
                    <a:pt x="214" y="154"/>
                  </a:lnTo>
                  <a:lnTo>
                    <a:pt x="210" y="149"/>
                  </a:lnTo>
                  <a:lnTo>
                    <a:pt x="210" y="135"/>
                  </a:lnTo>
                  <a:lnTo>
                    <a:pt x="203" y="135"/>
                  </a:lnTo>
                  <a:lnTo>
                    <a:pt x="192" y="129"/>
                  </a:lnTo>
                  <a:lnTo>
                    <a:pt x="196" y="122"/>
                  </a:lnTo>
                  <a:lnTo>
                    <a:pt x="189" y="113"/>
                  </a:lnTo>
                  <a:lnTo>
                    <a:pt x="180" y="110"/>
                  </a:lnTo>
                  <a:lnTo>
                    <a:pt x="180" y="110"/>
                  </a:lnTo>
                  <a:lnTo>
                    <a:pt x="176" y="110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6" y="105"/>
                  </a:lnTo>
                  <a:lnTo>
                    <a:pt x="176" y="105"/>
                  </a:lnTo>
                  <a:lnTo>
                    <a:pt x="182" y="103"/>
                  </a:lnTo>
                  <a:lnTo>
                    <a:pt x="183" y="97"/>
                  </a:lnTo>
                  <a:lnTo>
                    <a:pt x="187" y="92"/>
                  </a:lnTo>
                  <a:lnTo>
                    <a:pt x="187" y="92"/>
                  </a:lnTo>
                  <a:lnTo>
                    <a:pt x="189" y="87"/>
                  </a:lnTo>
                  <a:lnTo>
                    <a:pt x="189" y="81"/>
                  </a:lnTo>
                  <a:lnTo>
                    <a:pt x="187" y="74"/>
                  </a:lnTo>
                  <a:lnTo>
                    <a:pt x="183" y="69"/>
                  </a:lnTo>
                  <a:lnTo>
                    <a:pt x="183" y="69"/>
                  </a:lnTo>
                  <a:lnTo>
                    <a:pt x="176" y="62"/>
                  </a:lnTo>
                  <a:lnTo>
                    <a:pt x="175" y="62"/>
                  </a:lnTo>
                  <a:lnTo>
                    <a:pt x="171" y="58"/>
                  </a:lnTo>
                  <a:lnTo>
                    <a:pt x="171" y="58"/>
                  </a:lnTo>
                  <a:lnTo>
                    <a:pt x="169" y="57"/>
                  </a:lnTo>
                  <a:lnTo>
                    <a:pt x="167" y="57"/>
                  </a:lnTo>
                  <a:lnTo>
                    <a:pt x="166" y="55"/>
                  </a:lnTo>
                  <a:lnTo>
                    <a:pt x="167" y="49"/>
                  </a:lnTo>
                  <a:lnTo>
                    <a:pt x="167" y="49"/>
                  </a:lnTo>
                  <a:lnTo>
                    <a:pt x="157" y="48"/>
                  </a:lnTo>
                  <a:lnTo>
                    <a:pt x="150" y="46"/>
                  </a:lnTo>
                  <a:lnTo>
                    <a:pt x="148" y="46"/>
                  </a:lnTo>
                  <a:lnTo>
                    <a:pt x="146" y="44"/>
                  </a:lnTo>
                  <a:lnTo>
                    <a:pt x="146" y="44"/>
                  </a:lnTo>
                  <a:lnTo>
                    <a:pt x="144" y="23"/>
                  </a:lnTo>
                  <a:lnTo>
                    <a:pt x="144" y="23"/>
                  </a:lnTo>
                  <a:lnTo>
                    <a:pt x="141" y="21"/>
                  </a:lnTo>
                  <a:lnTo>
                    <a:pt x="134" y="14"/>
                  </a:lnTo>
                  <a:lnTo>
                    <a:pt x="134" y="14"/>
                  </a:lnTo>
                  <a:lnTo>
                    <a:pt x="132" y="10"/>
                  </a:lnTo>
                  <a:lnTo>
                    <a:pt x="128" y="9"/>
                  </a:lnTo>
                  <a:lnTo>
                    <a:pt x="127" y="5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19" y="1"/>
                  </a:lnTo>
                  <a:lnTo>
                    <a:pt x="116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3" y="1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5"/>
                  </a:lnTo>
                  <a:lnTo>
                    <a:pt x="93" y="9"/>
                  </a:lnTo>
                  <a:lnTo>
                    <a:pt x="93" y="10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89" y="12"/>
                  </a:lnTo>
                  <a:lnTo>
                    <a:pt x="86" y="14"/>
                  </a:lnTo>
                  <a:lnTo>
                    <a:pt x="84" y="14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21"/>
                  </a:lnTo>
                  <a:lnTo>
                    <a:pt x="80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1" y="23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8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1" y="48"/>
                  </a:lnTo>
                  <a:lnTo>
                    <a:pt x="71" y="53"/>
                  </a:lnTo>
                  <a:lnTo>
                    <a:pt x="71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57" y="65"/>
                  </a:lnTo>
                  <a:lnTo>
                    <a:pt x="50" y="69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81"/>
                  </a:lnTo>
                  <a:lnTo>
                    <a:pt x="48" y="87"/>
                  </a:lnTo>
                  <a:lnTo>
                    <a:pt x="48" y="87"/>
                  </a:lnTo>
                  <a:lnTo>
                    <a:pt x="50" y="90"/>
                  </a:lnTo>
                  <a:lnTo>
                    <a:pt x="50" y="92"/>
                  </a:lnTo>
                  <a:lnTo>
                    <a:pt x="52" y="96"/>
                  </a:lnTo>
                  <a:lnTo>
                    <a:pt x="52" y="97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1" y="110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0" y="105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3" y="106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9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2" y="112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4" y="117"/>
                  </a:lnTo>
                  <a:lnTo>
                    <a:pt x="6" y="122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9" y="135"/>
                  </a:lnTo>
                  <a:lnTo>
                    <a:pt x="7" y="138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2" y="149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4" y="154"/>
                  </a:lnTo>
                  <a:lnTo>
                    <a:pt x="4" y="158"/>
                  </a:lnTo>
                  <a:lnTo>
                    <a:pt x="4" y="165"/>
                  </a:lnTo>
                  <a:lnTo>
                    <a:pt x="4" y="165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11" y="172"/>
                  </a:lnTo>
                  <a:lnTo>
                    <a:pt x="16" y="176"/>
                  </a:lnTo>
                  <a:lnTo>
                    <a:pt x="13" y="176"/>
                  </a:lnTo>
                  <a:lnTo>
                    <a:pt x="13" y="176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5" y="170"/>
                  </a:lnTo>
                  <a:lnTo>
                    <a:pt x="27" y="170"/>
                  </a:lnTo>
                  <a:lnTo>
                    <a:pt x="32" y="170"/>
                  </a:lnTo>
                  <a:lnTo>
                    <a:pt x="32" y="170"/>
                  </a:lnTo>
                  <a:lnTo>
                    <a:pt x="38" y="172"/>
                  </a:lnTo>
                  <a:lnTo>
                    <a:pt x="39" y="170"/>
                  </a:lnTo>
                  <a:lnTo>
                    <a:pt x="41" y="170"/>
                  </a:lnTo>
                  <a:lnTo>
                    <a:pt x="41" y="170"/>
                  </a:lnTo>
                  <a:lnTo>
                    <a:pt x="41" y="170"/>
                  </a:lnTo>
                  <a:lnTo>
                    <a:pt x="47" y="174"/>
                  </a:lnTo>
                  <a:lnTo>
                    <a:pt x="48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2" y="177"/>
                  </a:lnTo>
                  <a:lnTo>
                    <a:pt x="54" y="176"/>
                  </a:lnTo>
                  <a:lnTo>
                    <a:pt x="54" y="172"/>
                  </a:lnTo>
                  <a:lnTo>
                    <a:pt x="54" y="172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4" y="169"/>
                  </a:lnTo>
                  <a:lnTo>
                    <a:pt x="64" y="170"/>
                  </a:lnTo>
                  <a:lnTo>
                    <a:pt x="64" y="174"/>
                  </a:lnTo>
                  <a:lnTo>
                    <a:pt x="63" y="177"/>
                  </a:lnTo>
                  <a:lnTo>
                    <a:pt x="63" y="177"/>
                  </a:lnTo>
                  <a:lnTo>
                    <a:pt x="61" y="179"/>
                  </a:lnTo>
                  <a:lnTo>
                    <a:pt x="61" y="183"/>
                  </a:lnTo>
                  <a:lnTo>
                    <a:pt x="64" y="185"/>
                  </a:lnTo>
                  <a:lnTo>
                    <a:pt x="64" y="185"/>
                  </a:lnTo>
                  <a:lnTo>
                    <a:pt x="64" y="185"/>
                  </a:lnTo>
                  <a:lnTo>
                    <a:pt x="66" y="186"/>
                  </a:lnTo>
                  <a:lnTo>
                    <a:pt x="70" y="185"/>
                  </a:lnTo>
                  <a:lnTo>
                    <a:pt x="73" y="185"/>
                  </a:lnTo>
                  <a:lnTo>
                    <a:pt x="73" y="183"/>
                  </a:lnTo>
                  <a:lnTo>
                    <a:pt x="7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80" y="179"/>
                  </a:lnTo>
                  <a:lnTo>
                    <a:pt x="82" y="177"/>
                  </a:lnTo>
                  <a:lnTo>
                    <a:pt x="86" y="177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93" y="183"/>
                  </a:lnTo>
                  <a:lnTo>
                    <a:pt x="95" y="183"/>
                  </a:lnTo>
                  <a:lnTo>
                    <a:pt x="98" y="183"/>
                  </a:lnTo>
                  <a:lnTo>
                    <a:pt x="102" y="183"/>
                  </a:lnTo>
                  <a:lnTo>
                    <a:pt x="102" y="183"/>
                  </a:lnTo>
                  <a:lnTo>
                    <a:pt x="105" y="186"/>
                  </a:lnTo>
                  <a:lnTo>
                    <a:pt x="109" y="186"/>
                  </a:lnTo>
                  <a:lnTo>
                    <a:pt x="112" y="188"/>
                  </a:lnTo>
                  <a:lnTo>
                    <a:pt x="112" y="188"/>
                  </a:lnTo>
                  <a:lnTo>
                    <a:pt x="121" y="186"/>
                  </a:lnTo>
                  <a:lnTo>
                    <a:pt x="123" y="186"/>
                  </a:lnTo>
                  <a:lnTo>
                    <a:pt x="127" y="190"/>
                  </a:lnTo>
                  <a:lnTo>
                    <a:pt x="127" y="190"/>
                  </a:lnTo>
                  <a:lnTo>
                    <a:pt x="128" y="193"/>
                  </a:lnTo>
                  <a:lnTo>
                    <a:pt x="130" y="197"/>
                  </a:lnTo>
                  <a:lnTo>
                    <a:pt x="132" y="206"/>
                  </a:lnTo>
                  <a:lnTo>
                    <a:pt x="132" y="206"/>
                  </a:lnTo>
                  <a:lnTo>
                    <a:pt x="134" y="208"/>
                  </a:lnTo>
                  <a:lnTo>
                    <a:pt x="134" y="208"/>
                  </a:lnTo>
                  <a:lnTo>
                    <a:pt x="143" y="206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53" y="206"/>
                  </a:lnTo>
                  <a:lnTo>
                    <a:pt x="157" y="206"/>
                  </a:lnTo>
                  <a:lnTo>
                    <a:pt x="162" y="201"/>
                  </a:lnTo>
                  <a:lnTo>
                    <a:pt x="162" y="201"/>
                  </a:lnTo>
                  <a:lnTo>
                    <a:pt x="164" y="199"/>
                  </a:lnTo>
                  <a:lnTo>
                    <a:pt x="164" y="197"/>
                  </a:lnTo>
                  <a:lnTo>
                    <a:pt x="164" y="192"/>
                  </a:lnTo>
                  <a:lnTo>
                    <a:pt x="160" y="188"/>
                  </a:lnTo>
                  <a:lnTo>
                    <a:pt x="160" y="188"/>
                  </a:lnTo>
                  <a:lnTo>
                    <a:pt x="167" y="186"/>
                  </a:lnTo>
                  <a:lnTo>
                    <a:pt x="169" y="185"/>
                  </a:lnTo>
                  <a:lnTo>
                    <a:pt x="173" y="183"/>
                  </a:lnTo>
                  <a:lnTo>
                    <a:pt x="173" y="183"/>
                  </a:lnTo>
                  <a:lnTo>
                    <a:pt x="180" y="176"/>
                  </a:lnTo>
                  <a:lnTo>
                    <a:pt x="183" y="174"/>
                  </a:lnTo>
                  <a:lnTo>
                    <a:pt x="187" y="172"/>
                  </a:lnTo>
                  <a:lnTo>
                    <a:pt x="187" y="172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7" y="170"/>
                  </a:lnTo>
                  <a:lnTo>
                    <a:pt x="210" y="167"/>
                  </a:lnTo>
                  <a:lnTo>
                    <a:pt x="210" y="167"/>
                  </a:lnTo>
                  <a:lnTo>
                    <a:pt x="214" y="165"/>
                  </a:lnTo>
                  <a:lnTo>
                    <a:pt x="214" y="165"/>
                  </a:lnTo>
                  <a:lnTo>
                    <a:pt x="214" y="160"/>
                  </a:lnTo>
                  <a:lnTo>
                    <a:pt x="214" y="160"/>
                  </a:lnTo>
                  <a:lnTo>
                    <a:pt x="214" y="160"/>
                  </a:lnTo>
                  <a:lnTo>
                    <a:pt x="214" y="160"/>
                  </a:lnTo>
                  <a:lnTo>
                    <a:pt x="214" y="16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2" name="Freeform 41"/>
            <p:cNvSpPr>
              <a:spLocks/>
            </p:cNvSpPr>
            <p:nvPr/>
          </p:nvSpPr>
          <p:spPr bwMode="auto">
            <a:xfrm>
              <a:off x="844406" y="2432338"/>
              <a:ext cx="118086" cy="128925"/>
            </a:xfrm>
            <a:custGeom>
              <a:avLst/>
              <a:gdLst>
                <a:gd name="T0" fmla="*/ 207 w 207"/>
                <a:gd name="T1" fmla="*/ 190 h 226"/>
                <a:gd name="T2" fmla="*/ 199 w 207"/>
                <a:gd name="T3" fmla="*/ 183 h 226"/>
                <a:gd name="T4" fmla="*/ 199 w 207"/>
                <a:gd name="T5" fmla="*/ 171 h 226"/>
                <a:gd name="T6" fmla="*/ 194 w 207"/>
                <a:gd name="T7" fmla="*/ 158 h 226"/>
                <a:gd name="T8" fmla="*/ 183 w 207"/>
                <a:gd name="T9" fmla="*/ 135 h 226"/>
                <a:gd name="T10" fmla="*/ 183 w 207"/>
                <a:gd name="T11" fmla="*/ 121 h 226"/>
                <a:gd name="T12" fmla="*/ 182 w 207"/>
                <a:gd name="T13" fmla="*/ 110 h 226"/>
                <a:gd name="T14" fmla="*/ 183 w 207"/>
                <a:gd name="T15" fmla="*/ 105 h 226"/>
                <a:gd name="T16" fmla="*/ 169 w 207"/>
                <a:gd name="T17" fmla="*/ 100 h 226"/>
                <a:gd name="T18" fmla="*/ 153 w 207"/>
                <a:gd name="T19" fmla="*/ 96 h 226"/>
                <a:gd name="T20" fmla="*/ 146 w 207"/>
                <a:gd name="T21" fmla="*/ 84 h 226"/>
                <a:gd name="T22" fmla="*/ 143 w 207"/>
                <a:gd name="T23" fmla="*/ 80 h 226"/>
                <a:gd name="T24" fmla="*/ 134 w 207"/>
                <a:gd name="T25" fmla="*/ 68 h 226"/>
                <a:gd name="T26" fmla="*/ 121 w 207"/>
                <a:gd name="T27" fmla="*/ 70 h 226"/>
                <a:gd name="T28" fmla="*/ 114 w 207"/>
                <a:gd name="T29" fmla="*/ 64 h 226"/>
                <a:gd name="T30" fmla="*/ 111 w 207"/>
                <a:gd name="T31" fmla="*/ 59 h 226"/>
                <a:gd name="T32" fmla="*/ 93 w 207"/>
                <a:gd name="T33" fmla="*/ 46 h 226"/>
                <a:gd name="T34" fmla="*/ 91 w 207"/>
                <a:gd name="T35" fmla="*/ 36 h 226"/>
                <a:gd name="T36" fmla="*/ 84 w 207"/>
                <a:gd name="T37" fmla="*/ 30 h 226"/>
                <a:gd name="T38" fmla="*/ 73 w 207"/>
                <a:gd name="T39" fmla="*/ 27 h 226"/>
                <a:gd name="T40" fmla="*/ 63 w 207"/>
                <a:gd name="T41" fmla="*/ 14 h 226"/>
                <a:gd name="T42" fmla="*/ 57 w 207"/>
                <a:gd name="T43" fmla="*/ 4 h 226"/>
                <a:gd name="T44" fmla="*/ 47 w 207"/>
                <a:gd name="T45" fmla="*/ 0 h 226"/>
                <a:gd name="T46" fmla="*/ 16 w 207"/>
                <a:gd name="T47" fmla="*/ 13 h 226"/>
                <a:gd name="T48" fmla="*/ 9 w 207"/>
                <a:gd name="T49" fmla="*/ 9 h 226"/>
                <a:gd name="T50" fmla="*/ 7 w 207"/>
                <a:gd name="T51" fmla="*/ 27 h 226"/>
                <a:gd name="T52" fmla="*/ 2 w 207"/>
                <a:gd name="T53" fmla="*/ 36 h 226"/>
                <a:gd name="T54" fmla="*/ 2 w 207"/>
                <a:gd name="T55" fmla="*/ 57 h 226"/>
                <a:gd name="T56" fmla="*/ 13 w 207"/>
                <a:gd name="T57" fmla="*/ 61 h 226"/>
                <a:gd name="T58" fmla="*/ 23 w 207"/>
                <a:gd name="T59" fmla="*/ 70 h 226"/>
                <a:gd name="T60" fmla="*/ 31 w 207"/>
                <a:gd name="T61" fmla="*/ 75 h 226"/>
                <a:gd name="T62" fmla="*/ 43 w 207"/>
                <a:gd name="T63" fmla="*/ 87 h 226"/>
                <a:gd name="T64" fmla="*/ 43 w 207"/>
                <a:gd name="T65" fmla="*/ 105 h 226"/>
                <a:gd name="T66" fmla="*/ 32 w 207"/>
                <a:gd name="T67" fmla="*/ 118 h 226"/>
                <a:gd name="T68" fmla="*/ 36 w 207"/>
                <a:gd name="T69" fmla="*/ 123 h 226"/>
                <a:gd name="T70" fmla="*/ 59 w 207"/>
                <a:gd name="T71" fmla="*/ 148 h 226"/>
                <a:gd name="T72" fmla="*/ 70 w 207"/>
                <a:gd name="T73" fmla="*/ 167 h 226"/>
                <a:gd name="T74" fmla="*/ 70 w 207"/>
                <a:gd name="T75" fmla="*/ 173 h 226"/>
                <a:gd name="T76" fmla="*/ 77 w 207"/>
                <a:gd name="T77" fmla="*/ 178 h 226"/>
                <a:gd name="T78" fmla="*/ 80 w 207"/>
                <a:gd name="T79" fmla="*/ 187 h 226"/>
                <a:gd name="T80" fmla="*/ 73 w 207"/>
                <a:gd name="T81" fmla="*/ 210 h 226"/>
                <a:gd name="T82" fmla="*/ 79 w 207"/>
                <a:gd name="T83" fmla="*/ 222 h 226"/>
                <a:gd name="T84" fmla="*/ 89 w 207"/>
                <a:gd name="T85" fmla="*/ 226 h 226"/>
                <a:gd name="T86" fmla="*/ 93 w 207"/>
                <a:gd name="T87" fmla="*/ 224 h 226"/>
                <a:gd name="T88" fmla="*/ 107 w 207"/>
                <a:gd name="T89" fmla="*/ 203 h 226"/>
                <a:gd name="T90" fmla="*/ 114 w 207"/>
                <a:gd name="T91" fmla="*/ 201 h 226"/>
                <a:gd name="T92" fmla="*/ 127 w 207"/>
                <a:gd name="T93" fmla="*/ 205 h 226"/>
                <a:gd name="T94" fmla="*/ 134 w 207"/>
                <a:gd name="T95" fmla="*/ 206 h 226"/>
                <a:gd name="T96" fmla="*/ 146 w 207"/>
                <a:gd name="T97" fmla="*/ 199 h 226"/>
                <a:gd name="T98" fmla="*/ 167 w 207"/>
                <a:gd name="T99" fmla="*/ 206 h 226"/>
                <a:gd name="T100" fmla="*/ 189 w 207"/>
                <a:gd name="T101" fmla="*/ 206 h 226"/>
                <a:gd name="T102" fmla="*/ 194 w 207"/>
                <a:gd name="T103" fmla="*/ 206 h 226"/>
                <a:gd name="T104" fmla="*/ 196 w 207"/>
                <a:gd name="T105" fmla="*/ 206 h 226"/>
                <a:gd name="T106" fmla="*/ 205 w 207"/>
                <a:gd name="T107" fmla="*/ 19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7" h="226">
                  <a:moveTo>
                    <a:pt x="205" y="198"/>
                  </a:moveTo>
                  <a:lnTo>
                    <a:pt x="205" y="198"/>
                  </a:lnTo>
                  <a:lnTo>
                    <a:pt x="207" y="196"/>
                  </a:lnTo>
                  <a:lnTo>
                    <a:pt x="207" y="190"/>
                  </a:lnTo>
                  <a:lnTo>
                    <a:pt x="203" y="189"/>
                  </a:lnTo>
                  <a:lnTo>
                    <a:pt x="203" y="189"/>
                  </a:lnTo>
                  <a:lnTo>
                    <a:pt x="201" y="187"/>
                  </a:lnTo>
                  <a:lnTo>
                    <a:pt x="199" y="183"/>
                  </a:lnTo>
                  <a:lnTo>
                    <a:pt x="199" y="180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71"/>
                  </a:lnTo>
                  <a:lnTo>
                    <a:pt x="196" y="167"/>
                  </a:lnTo>
                  <a:lnTo>
                    <a:pt x="194" y="162"/>
                  </a:lnTo>
                  <a:lnTo>
                    <a:pt x="194" y="158"/>
                  </a:lnTo>
                  <a:lnTo>
                    <a:pt x="194" y="158"/>
                  </a:lnTo>
                  <a:lnTo>
                    <a:pt x="192" y="150"/>
                  </a:lnTo>
                  <a:lnTo>
                    <a:pt x="191" y="144"/>
                  </a:lnTo>
                  <a:lnTo>
                    <a:pt x="183" y="135"/>
                  </a:lnTo>
                  <a:lnTo>
                    <a:pt x="183" y="135"/>
                  </a:lnTo>
                  <a:lnTo>
                    <a:pt x="183" y="130"/>
                  </a:lnTo>
                  <a:lnTo>
                    <a:pt x="183" y="123"/>
                  </a:lnTo>
                  <a:lnTo>
                    <a:pt x="183" y="123"/>
                  </a:lnTo>
                  <a:lnTo>
                    <a:pt x="183" y="121"/>
                  </a:lnTo>
                  <a:lnTo>
                    <a:pt x="183" y="119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0"/>
                  </a:lnTo>
                  <a:lnTo>
                    <a:pt x="183" y="107"/>
                  </a:lnTo>
                  <a:lnTo>
                    <a:pt x="183" y="107"/>
                  </a:lnTo>
                  <a:lnTo>
                    <a:pt x="183" y="105"/>
                  </a:lnTo>
                  <a:lnTo>
                    <a:pt x="183" y="105"/>
                  </a:lnTo>
                  <a:lnTo>
                    <a:pt x="182" y="105"/>
                  </a:lnTo>
                  <a:lnTo>
                    <a:pt x="182" y="105"/>
                  </a:lnTo>
                  <a:lnTo>
                    <a:pt x="175" y="102"/>
                  </a:lnTo>
                  <a:lnTo>
                    <a:pt x="169" y="100"/>
                  </a:lnTo>
                  <a:lnTo>
                    <a:pt x="169" y="100"/>
                  </a:lnTo>
                  <a:lnTo>
                    <a:pt x="159" y="98"/>
                  </a:lnTo>
                  <a:lnTo>
                    <a:pt x="159" y="98"/>
                  </a:lnTo>
                  <a:lnTo>
                    <a:pt x="153" y="96"/>
                  </a:lnTo>
                  <a:lnTo>
                    <a:pt x="150" y="91"/>
                  </a:lnTo>
                  <a:lnTo>
                    <a:pt x="148" y="87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3" y="80"/>
                  </a:lnTo>
                  <a:lnTo>
                    <a:pt x="143" y="80"/>
                  </a:lnTo>
                  <a:lnTo>
                    <a:pt x="143" y="80"/>
                  </a:lnTo>
                  <a:lnTo>
                    <a:pt x="139" y="75"/>
                  </a:lnTo>
                  <a:lnTo>
                    <a:pt x="139" y="70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1" y="70"/>
                  </a:lnTo>
                  <a:lnTo>
                    <a:pt x="118" y="70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4"/>
                  </a:lnTo>
                  <a:lnTo>
                    <a:pt x="114" y="61"/>
                  </a:lnTo>
                  <a:lnTo>
                    <a:pt x="114" y="59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05" y="55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3" y="46"/>
                  </a:lnTo>
                  <a:lnTo>
                    <a:pt x="93" y="45"/>
                  </a:lnTo>
                  <a:lnTo>
                    <a:pt x="91" y="39"/>
                  </a:lnTo>
                  <a:lnTo>
                    <a:pt x="91" y="39"/>
                  </a:lnTo>
                  <a:lnTo>
                    <a:pt x="91" y="36"/>
                  </a:lnTo>
                  <a:lnTo>
                    <a:pt x="89" y="34"/>
                  </a:lnTo>
                  <a:lnTo>
                    <a:pt x="87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3" y="30"/>
                  </a:lnTo>
                  <a:lnTo>
                    <a:pt x="73" y="27"/>
                  </a:lnTo>
                  <a:lnTo>
                    <a:pt x="73" y="27"/>
                  </a:lnTo>
                  <a:lnTo>
                    <a:pt x="70" y="23"/>
                  </a:lnTo>
                  <a:lnTo>
                    <a:pt x="70" y="20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1" y="7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39" y="2"/>
                  </a:lnTo>
                  <a:lnTo>
                    <a:pt x="31" y="6"/>
                  </a:lnTo>
                  <a:lnTo>
                    <a:pt x="23" y="9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1" y="13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23"/>
                  </a:lnTo>
                  <a:lnTo>
                    <a:pt x="7" y="27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13" y="61"/>
                  </a:lnTo>
                  <a:lnTo>
                    <a:pt x="23" y="62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3" y="70"/>
                  </a:lnTo>
                  <a:lnTo>
                    <a:pt x="25" y="70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31" y="75"/>
                  </a:lnTo>
                  <a:lnTo>
                    <a:pt x="32" y="75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43" y="87"/>
                  </a:lnTo>
                  <a:lnTo>
                    <a:pt x="45" y="94"/>
                  </a:lnTo>
                  <a:lnTo>
                    <a:pt x="45" y="100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39" y="110"/>
                  </a:lnTo>
                  <a:lnTo>
                    <a:pt x="38" y="116"/>
                  </a:lnTo>
                  <a:lnTo>
                    <a:pt x="32" y="118"/>
                  </a:lnTo>
                  <a:lnTo>
                    <a:pt x="32" y="118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2" y="123"/>
                  </a:lnTo>
                  <a:lnTo>
                    <a:pt x="36" y="123"/>
                  </a:lnTo>
                  <a:lnTo>
                    <a:pt x="45" y="126"/>
                  </a:lnTo>
                  <a:lnTo>
                    <a:pt x="52" y="135"/>
                  </a:lnTo>
                  <a:lnTo>
                    <a:pt x="48" y="142"/>
                  </a:lnTo>
                  <a:lnTo>
                    <a:pt x="59" y="148"/>
                  </a:lnTo>
                  <a:lnTo>
                    <a:pt x="66" y="148"/>
                  </a:lnTo>
                  <a:lnTo>
                    <a:pt x="66" y="162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71"/>
                  </a:lnTo>
                  <a:lnTo>
                    <a:pt x="70" y="173"/>
                  </a:lnTo>
                  <a:lnTo>
                    <a:pt x="70" y="173"/>
                  </a:lnTo>
                  <a:lnTo>
                    <a:pt x="70" y="173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1" y="178"/>
                  </a:lnTo>
                  <a:lnTo>
                    <a:pt x="77" y="178"/>
                  </a:lnTo>
                  <a:lnTo>
                    <a:pt x="77" y="178"/>
                  </a:lnTo>
                  <a:lnTo>
                    <a:pt x="79" y="180"/>
                  </a:lnTo>
                  <a:lnTo>
                    <a:pt x="80" y="183"/>
                  </a:lnTo>
                  <a:lnTo>
                    <a:pt x="80" y="187"/>
                  </a:lnTo>
                  <a:lnTo>
                    <a:pt x="80" y="192"/>
                  </a:lnTo>
                  <a:lnTo>
                    <a:pt x="80" y="192"/>
                  </a:lnTo>
                  <a:lnTo>
                    <a:pt x="77" y="205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73" y="214"/>
                  </a:lnTo>
                  <a:lnTo>
                    <a:pt x="79" y="221"/>
                  </a:lnTo>
                  <a:lnTo>
                    <a:pt x="79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4" y="224"/>
                  </a:lnTo>
                  <a:lnTo>
                    <a:pt x="89" y="226"/>
                  </a:lnTo>
                  <a:lnTo>
                    <a:pt x="93" y="226"/>
                  </a:lnTo>
                  <a:lnTo>
                    <a:pt x="93" y="226"/>
                  </a:lnTo>
                  <a:lnTo>
                    <a:pt x="93" y="224"/>
                  </a:lnTo>
                  <a:lnTo>
                    <a:pt x="93" y="224"/>
                  </a:lnTo>
                  <a:lnTo>
                    <a:pt x="95" y="221"/>
                  </a:lnTo>
                  <a:lnTo>
                    <a:pt x="100" y="214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9" y="199"/>
                  </a:lnTo>
                  <a:lnTo>
                    <a:pt x="109" y="199"/>
                  </a:lnTo>
                  <a:lnTo>
                    <a:pt x="111" y="199"/>
                  </a:lnTo>
                  <a:lnTo>
                    <a:pt x="114" y="201"/>
                  </a:lnTo>
                  <a:lnTo>
                    <a:pt x="119" y="203"/>
                  </a:lnTo>
                  <a:lnTo>
                    <a:pt x="119" y="203"/>
                  </a:lnTo>
                  <a:lnTo>
                    <a:pt x="123" y="203"/>
                  </a:lnTo>
                  <a:lnTo>
                    <a:pt x="127" y="205"/>
                  </a:lnTo>
                  <a:lnTo>
                    <a:pt x="132" y="206"/>
                  </a:lnTo>
                  <a:lnTo>
                    <a:pt x="132" y="206"/>
                  </a:lnTo>
                  <a:lnTo>
                    <a:pt x="134" y="206"/>
                  </a:lnTo>
                  <a:lnTo>
                    <a:pt x="134" y="206"/>
                  </a:lnTo>
                  <a:lnTo>
                    <a:pt x="139" y="203"/>
                  </a:lnTo>
                  <a:lnTo>
                    <a:pt x="139" y="201"/>
                  </a:lnTo>
                  <a:lnTo>
                    <a:pt x="143" y="199"/>
                  </a:lnTo>
                  <a:lnTo>
                    <a:pt x="146" y="199"/>
                  </a:lnTo>
                  <a:lnTo>
                    <a:pt x="146" y="199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67" y="206"/>
                  </a:lnTo>
                  <a:lnTo>
                    <a:pt x="167" y="206"/>
                  </a:lnTo>
                  <a:lnTo>
                    <a:pt x="173" y="206"/>
                  </a:lnTo>
                  <a:lnTo>
                    <a:pt x="180" y="206"/>
                  </a:lnTo>
                  <a:lnTo>
                    <a:pt x="189" y="206"/>
                  </a:lnTo>
                  <a:lnTo>
                    <a:pt x="189" y="206"/>
                  </a:lnTo>
                  <a:lnTo>
                    <a:pt x="191" y="205"/>
                  </a:lnTo>
                  <a:lnTo>
                    <a:pt x="192" y="206"/>
                  </a:lnTo>
                  <a:lnTo>
                    <a:pt x="194" y="206"/>
                  </a:lnTo>
                  <a:lnTo>
                    <a:pt x="196" y="206"/>
                  </a:lnTo>
                  <a:lnTo>
                    <a:pt x="196" y="206"/>
                  </a:lnTo>
                  <a:lnTo>
                    <a:pt x="196" y="206"/>
                  </a:lnTo>
                  <a:lnTo>
                    <a:pt x="196" y="206"/>
                  </a:lnTo>
                  <a:lnTo>
                    <a:pt x="201" y="205"/>
                  </a:lnTo>
                  <a:lnTo>
                    <a:pt x="201" y="205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42"/>
            <p:cNvSpPr>
              <a:spLocks noEditPoints="1"/>
            </p:cNvSpPr>
            <p:nvPr/>
          </p:nvSpPr>
          <p:spPr bwMode="auto">
            <a:xfrm>
              <a:off x="625348" y="2460861"/>
              <a:ext cx="82147" cy="111811"/>
            </a:xfrm>
            <a:custGeom>
              <a:avLst/>
              <a:gdLst>
                <a:gd name="T0" fmla="*/ 64 w 144"/>
                <a:gd name="T1" fmla="*/ 194 h 196"/>
                <a:gd name="T2" fmla="*/ 79 w 144"/>
                <a:gd name="T3" fmla="*/ 196 h 196"/>
                <a:gd name="T4" fmla="*/ 86 w 144"/>
                <a:gd name="T5" fmla="*/ 190 h 196"/>
                <a:gd name="T6" fmla="*/ 91 w 144"/>
                <a:gd name="T7" fmla="*/ 174 h 196"/>
                <a:gd name="T8" fmla="*/ 103 w 144"/>
                <a:gd name="T9" fmla="*/ 172 h 196"/>
                <a:gd name="T10" fmla="*/ 105 w 144"/>
                <a:gd name="T11" fmla="*/ 158 h 196"/>
                <a:gd name="T12" fmla="*/ 105 w 144"/>
                <a:gd name="T13" fmla="*/ 142 h 196"/>
                <a:gd name="T14" fmla="*/ 116 w 144"/>
                <a:gd name="T15" fmla="*/ 128 h 196"/>
                <a:gd name="T16" fmla="*/ 125 w 144"/>
                <a:gd name="T17" fmla="*/ 130 h 196"/>
                <a:gd name="T18" fmla="*/ 132 w 144"/>
                <a:gd name="T19" fmla="*/ 130 h 196"/>
                <a:gd name="T20" fmla="*/ 141 w 144"/>
                <a:gd name="T21" fmla="*/ 130 h 196"/>
                <a:gd name="T22" fmla="*/ 141 w 144"/>
                <a:gd name="T23" fmla="*/ 117 h 196"/>
                <a:gd name="T24" fmla="*/ 141 w 144"/>
                <a:gd name="T25" fmla="*/ 110 h 196"/>
                <a:gd name="T26" fmla="*/ 144 w 144"/>
                <a:gd name="T27" fmla="*/ 105 h 196"/>
                <a:gd name="T28" fmla="*/ 132 w 144"/>
                <a:gd name="T29" fmla="*/ 92 h 196"/>
                <a:gd name="T30" fmla="*/ 135 w 144"/>
                <a:gd name="T31" fmla="*/ 76 h 196"/>
                <a:gd name="T32" fmla="*/ 141 w 144"/>
                <a:gd name="T33" fmla="*/ 69 h 196"/>
                <a:gd name="T34" fmla="*/ 144 w 144"/>
                <a:gd name="T35" fmla="*/ 57 h 196"/>
                <a:gd name="T36" fmla="*/ 125 w 144"/>
                <a:gd name="T37" fmla="*/ 44 h 196"/>
                <a:gd name="T38" fmla="*/ 114 w 144"/>
                <a:gd name="T39" fmla="*/ 34 h 196"/>
                <a:gd name="T40" fmla="*/ 109 w 144"/>
                <a:gd name="T41" fmla="*/ 14 h 196"/>
                <a:gd name="T42" fmla="*/ 105 w 144"/>
                <a:gd name="T43" fmla="*/ 21 h 196"/>
                <a:gd name="T44" fmla="*/ 100 w 144"/>
                <a:gd name="T45" fmla="*/ 16 h 196"/>
                <a:gd name="T46" fmla="*/ 87 w 144"/>
                <a:gd name="T47" fmla="*/ 5 h 196"/>
                <a:gd name="T48" fmla="*/ 82 w 144"/>
                <a:gd name="T49" fmla="*/ 14 h 196"/>
                <a:gd name="T50" fmla="*/ 84 w 144"/>
                <a:gd name="T51" fmla="*/ 30 h 196"/>
                <a:gd name="T52" fmla="*/ 86 w 144"/>
                <a:gd name="T53" fmla="*/ 39 h 196"/>
                <a:gd name="T54" fmla="*/ 64 w 144"/>
                <a:gd name="T55" fmla="*/ 27 h 196"/>
                <a:gd name="T56" fmla="*/ 45 w 144"/>
                <a:gd name="T57" fmla="*/ 28 h 196"/>
                <a:gd name="T58" fmla="*/ 36 w 144"/>
                <a:gd name="T59" fmla="*/ 32 h 196"/>
                <a:gd name="T60" fmla="*/ 20 w 144"/>
                <a:gd name="T61" fmla="*/ 25 h 196"/>
                <a:gd name="T62" fmla="*/ 13 w 144"/>
                <a:gd name="T63" fmla="*/ 11 h 196"/>
                <a:gd name="T64" fmla="*/ 2 w 144"/>
                <a:gd name="T65" fmla="*/ 11 h 196"/>
                <a:gd name="T66" fmla="*/ 0 w 144"/>
                <a:gd name="T67" fmla="*/ 46 h 196"/>
                <a:gd name="T68" fmla="*/ 4 w 144"/>
                <a:gd name="T69" fmla="*/ 62 h 196"/>
                <a:gd name="T70" fmla="*/ 9 w 144"/>
                <a:gd name="T71" fmla="*/ 100 h 196"/>
                <a:gd name="T72" fmla="*/ 9 w 144"/>
                <a:gd name="T73" fmla="*/ 135 h 196"/>
                <a:gd name="T74" fmla="*/ 4 w 144"/>
                <a:gd name="T75" fmla="*/ 164 h 196"/>
                <a:gd name="T76" fmla="*/ 6 w 144"/>
                <a:gd name="T77" fmla="*/ 171 h 196"/>
                <a:gd name="T78" fmla="*/ 16 w 144"/>
                <a:gd name="T79" fmla="*/ 174 h 196"/>
                <a:gd name="T80" fmla="*/ 25 w 144"/>
                <a:gd name="T81" fmla="*/ 190 h 196"/>
                <a:gd name="T82" fmla="*/ 48 w 144"/>
                <a:gd name="T83" fmla="*/ 180 h 196"/>
                <a:gd name="T84" fmla="*/ 57 w 144"/>
                <a:gd name="T85" fmla="*/ 176 h 196"/>
                <a:gd name="T86" fmla="*/ 25 w 144"/>
                <a:gd name="T87" fmla="*/ 169 h 196"/>
                <a:gd name="T88" fmla="*/ 20 w 144"/>
                <a:gd name="T89" fmla="*/ 149 h 196"/>
                <a:gd name="T90" fmla="*/ 29 w 144"/>
                <a:gd name="T91" fmla="*/ 142 h 196"/>
                <a:gd name="T92" fmla="*/ 34 w 144"/>
                <a:gd name="T93" fmla="*/ 148 h 196"/>
                <a:gd name="T94" fmla="*/ 39 w 144"/>
                <a:gd name="T95" fmla="*/ 142 h 196"/>
                <a:gd name="T96" fmla="*/ 50 w 144"/>
                <a:gd name="T97" fmla="*/ 133 h 196"/>
                <a:gd name="T98" fmla="*/ 61 w 144"/>
                <a:gd name="T99" fmla="*/ 126 h 196"/>
                <a:gd name="T100" fmla="*/ 64 w 144"/>
                <a:gd name="T101" fmla="*/ 116 h 196"/>
                <a:gd name="T102" fmla="*/ 57 w 144"/>
                <a:gd name="T103" fmla="*/ 110 h 196"/>
                <a:gd name="T104" fmla="*/ 43 w 144"/>
                <a:gd name="T105" fmla="*/ 105 h 196"/>
                <a:gd name="T106" fmla="*/ 36 w 144"/>
                <a:gd name="T107" fmla="*/ 82 h 196"/>
                <a:gd name="T108" fmla="*/ 45 w 144"/>
                <a:gd name="T109" fmla="*/ 87 h 196"/>
                <a:gd name="T110" fmla="*/ 50 w 144"/>
                <a:gd name="T111" fmla="*/ 101 h 196"/>
                <a:gd name="T112" fmla="*/ 64 w 144"/>
                <a:gd name="T113" fmla="*/ 100 h 196"/>
                <a:gd name="T114" fmla="*/ 77 w 144"/>
                <a:gd name="T115" fmla="*/ 121 h 196"/>
                <a:gd name="T116" fmla="*/ 73 w 144"/>
                <a:gd name="T117" fmla="*/ 148 h 196"/>
                <a:gd name="T118" fmla="*/ 64 w 144"/>
                <a:gd name="T119" fmla="*/ 142 h 196"/>
                <a:gd name="T120" fmla="*/ 50 w 144"/>
                <a:gd name="T121" fmla="*/ 156 h 196"/>
                <a:gd name="T122" fmla="*/ 32 w 144"/>
                <a:gd name="T123" fmla="*/ 169 h 196"/>
                <a:gd name="T124" fmla="*/ 25 w 144"/>
                <a:gd name="T125" fmla="*/ 171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" h="196">
                  <a:moveTo>
                    <a:pt x="57" y="176"/>
                  </a:moveTo>
                  <a:lnTo>
                    <a:pt x="57" y="176"/>
                  </a:lnTo>
                  <a:lnTo>
                    <a:pt x="59" y="180"/>
                  </a:lnTo>
                  <a:lnTo>
                    <a:pt x="61" y="183"/>
                  </a:lnTo>
                  <a:lnTo>
                    <a:pt x="64" y="194"/>
                  </a:lnTo>
                  <a:lnTo>
                    <a:pt x="64" y="194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80" y="196"/>
                  </a:lnTo>
                  <a:lnTo>
                    <a:pt x="80" y="196"/>
                  </a:lnTo>
                  <a:lnTo>
                    <a:pt x="82" y="194"/>
                  </a:lnTo>
                  <a:lnTo>
                    <a:pt x="82" y="188"/>
                  </a:lnTo>
                  <a:lnTo>
                    <a:pt x="86" y="190"/>
                  </a:lnTo>
                  <a:lnTo>
                    <a:pt x="91" y="188"/>
                  </a:lnTo>
                  <a:lnTo>
                    <a:pt x="89" y="187"/>
                  </a:lnTo>
                  <a:lnTo>
                    <a:pt x="89" y="187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102" y="172"/>
                  </a:lnTo>
                  <a:lnTo>
                    <a:pt x="102" y="172"/>
                  </a:lnTo>
                  <a:lnTo>
                    <a:pt x="103" y="172"/>
                  </a:lnTo>
                  <a:lnTo>
                    <a:pt x="105" y="172"/>
                  </a:lnTo>
                  <a:lnTo>
                    <a:pt x="105" y="169"/>
                  </a:lnTo>
                  <a:lnTo>
                    <a:pt x="105" y="160"/>
                  </a:lnTo>
                  <a:lnTo>
                    <a:pt x="105" y="160"/>
                  </a:lnTo>
                  <a:lnTo>
                    <a:pt x="105" y="158"/>
                  </a:lnTo>
                  <a:lnTo>
                    <a:pt x="107" y="155"/>
                  </a:lnTo>
                  <a:lnTo>
                    <a:pt x="109" y="153"/>
                  </a:lnTo>
                  <a:lnTo>
                    <a:pt x="103" y="146"/>
                  </a:lnTo>
                  <a:lnTo>
                    <a:pt x="103" y="146"/>
                  </a:lnTo>
                  <a:lnTo>
                    <a:pt x="105" y="142"/>
                  </a:lnTo>
                  <a:lnTo>
                    <a:pt x="107" y="137"/>
                  </a:lnTo>
                  <a:lnTo>
                    <a:pt x="107" y="137"/>
                  </a:lnTo>
                  <a:lnTo>
                    <a:pt x="109" y="133"/>
                  </a:lnTo>
                  <a:lnTo>
                    <a:pt x="114" y="130"/>
                  </a:lnTo>
                  <a:lnTo>
                    <a:pt x="116" y="128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21" y="123"/>
                  </a:lnTo>
                  <a:lnTo>
                    <a:pt x="123" y="128"/>
                  </a:lnTo>
                  <a:lnTo>
                    <a:pt x="125" y="130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32" y="130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37" y="128"/>
                  </a:lnTo>
                  <a:lnTo>
                    <a:pt x="141" y="130"/>
                  </a:lnTo>
                  <a:lnTo>
                    <a:pt x="141" y="130"/>
                  </a:lnTo>
                  <a:lnTo>
                    <a:pt x="143" y="132"/>
                  </a:lnTo>
                  <a:lnTo>
                    <a:pt x="143" y="132"/>
                  </a:lnTo>
                  <a:lnTo>
                    <a:pt x="141" y="128"/>
                  </a:lnTo>
                  <a:lnTo>
                    <a:pt x="141" y="123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6"/>
                  </a:lnTo>
                  <a:lnTo>
                    <a:pt x="141" y="114"/>
                  </a:lnTo>
                  <a:lnTo>
                    <a:pt x="141" y="112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4" y="108"/>
                  </a:lnTo>
                  <a:lnTo>
                    <a:pt x="144" y="107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3" y="105"/>
                  </a:lnTo>
                  <a:lnTo>
                    <a:pt x="141" y="100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2" y="92"/>
                  </a:lnTo>
                  <a:lnTo>
                    <a:pt x="130" y="89"/>
                  </a:lnTo>
                  <a:lnTo>
                    <a:pt x="130" y="8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5" y="76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7" y="71"/>
                  </a:lnTo>
                  <a:lnTo>
                    <a:pt x="141" y="69"/>
                  </a:lnTo>
                  <a:lnTo>
                    <a:pt x="141" y="69"/>
                  </a:lnTo>
                  <a:lnTo>
                    <a:pt x="143" y="68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37" y="50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5" y="44"/>
                  </a:lnTo>
                  <a:lnTo>
                    <a:pt x="121" y="44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4" y="36"/>
                  </a:lnTo>
                  <a:lnTo>
                    <a:pt x="114" y="34"/>
                  </a:lnTo>
                  <a:lnTo>
                    <a:pt x="119" y="3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4" y="16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5" y="16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5" y="25"/>
                  </a:lnTo>
                  <a:lnTo>
                    <a:pt x="105" y="25"/>
                  </a:lnTo>
                  <a:lnTo>
                    <a:pt x="105" y="25"/>
                  </a:lnTo>
                  <a:lnTo>
                    <a:pt x="103" y="20"/>
                  </a:lnTo>
                  <a:lnTo>
                    <a:pt x="100" y="16"/>
                  </a:lnTo>
                  <a:lnTo>
                    <a:pt x="98" y="11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1" y="7"/>
                  </a:lnTo>
                  <a:lnTo>
                    <a:pt x="87" y="5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4" y="7"/>
                  </a:lnTo>
                  <a:lnTo>
                    <a:pt x="82" y="9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4" y="18"/>
                  </a:lnTo>
                  <a:lnTo>
                    <a:pt x="84" y="25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7" y="36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2" y="37"/>
                  </a:lnTo>
                  <a:lnTo>
                    <a:pt x="77" y="32"/>
                  </a:lnTo>
                  <a:lnTo>
                    <a:pt x="70" y="28"/>
                  </a:lnTo>
                  <a:lnTo>
                    <a:pt x="66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59" y="27"/>
                  </a:lnTo>
                  <a:lnTo>
                    <a:pt x="55" y="28"/>
                  </a:lnTo>
                  <a:lnTo>
                    <a:pt x="50" y="30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3" y="28"/>
                  </a:lnTo>
                  <a:lnTo>
                    <a:pt x="41" y="30"/>
                  </a:lnTo>
                  <a:lnTo>
                    <a:pt x="39" y="30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4" y="32"/>
                  </a:lnTo>
                  <a:lnTo>
                    <a:pt x="27" y="30"/>
                  </a:lnTo>
                  <a:lnTo>
                    <a:pt x="23" y="28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7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6"/>
                  </a:lnTo>
                  <a:lnTo>
                    <a:pt x="2" y="21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4" y="62"/>
                  </a:lnTo>
                  <a:lnTo>
                    <a:pt x="4" y="6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6" y="89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3" y="105"/>
                  </a:lnTo>
                  <a:lnTo>
                    <a:pt x="13" y="110"/>
                  </a:lnTo>
                  <a:lnTo>
                    <a:pt x="13" y="121"/>
                  </a:lnTo>
                  <a:lnTo>
                    <a:pt x="9" y="135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55"/>
                  </a:lnTo>
                  <a:lnTo>
                    <a:pt x="6" y="160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9"/>
                  </a:lnTo>
                  <a:lnTo>
                    <a:pt x="4" y="171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7" y="171"/>
                  </a:lnTo>
                  <a:lnTo>
                    <a:pt x="13" y="171"/>
                  </a:lnTo>
                  <a:lnTo>
                    <a:pt x="15" y="172"/>
                  </a:lnTo>
                  <a:lnTo>
                    <a:pt x="15" y="172"/>
                  </a:lnTo>
                  <a:lnTo>
                    <a:pt x="16" y="174"/>
                  </a:lnTo>
                  <a:lnTo>
                    <a:pt x="20" y="180"/>
                  </a:lnTo>
                  <a:lnTo>
                    <a:pt x="25" y="190"/>
                  </a:lnTo>
                  <a:lnTo>
                    <a:pt x="25" y="190"/>
                  </a:lnTo>
                  <a:lnTo>
                    <a:pt x="25" y="190"/>
                  </a:lnTo>
                  <a:lnTo>
                    <a:pt x="25" y="190"/>
                  </a:lnTo>
                  <a:lnTo>
                    <a:pt x="36" y="183"/>
                  </a:lnTo>
                  <a:lnTo>
                    <a:pt x="39" y="181"/>
                  </a:lnTo>
                  <a:lnTo>
                    <a:pt x="45" y="181"/>
                  </a:lnTo>
                  <a:lnTo>
                    <a:pt x="45" y="181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5" y="178"/>
                  </a:lnTo>
                  <a:lnTo>
                    <a:pt x="57" y="176"/>
                  </a:lnTo>
                  <a:lnTo>
                    <a:pt x="57" y="176"/>
                  </a:lnTo>
                  <a:lnTo>
                    <a:pt x="57" y="176"/>
                  </a:lnTo>
                  <a:lnTo>
                    <a:pt x="57" y="176"/>
                  </a:lnTo>
                  <a:lnTo>
                    <a:pt x="57" y="176"/>
                  </a:lnTo>
                  <a:close/>
                  <a:moveTo>
                    <a:pt x="25" y="171"/>
                  </a:moveTo>
                  <a:lnTo>
                    <a:pt x="25" y="171"/>
                  </a:lnTo>
                  <a:lnTo>
                    <a:pt x="25" y="169"/>
                  </a:lnTo>
                  <a:lnTo>
                    <a:pt x="25" y="164"/>
                  </a:lnTo>
                  <a:lnTo>
                    <a:pt x="25" y="160"/>
                  </a:lnTo>
                  <a:lnTo>
                    <a:pt x="23" y="156"/>
                  </a:lnTo>
                  <a:lnTo>
                    <a:pt x="23" y="156"/>
                  </a:lnTo>
                  <a:lnTo>
                    <a:pt x="20" y="149"/>
                  </a:lnTo>
                  <a:lnTo>
                    <a:pt x="20" y="148"/>
                  </a:lnTo>
                  <a:lnTo>
                    <a:pt x="22" y="146"/>
                  </a:lnTo>
                  <a:lnTo>
                    <a:pt x="22" y="146"/>
                  </a:lnTo>
                  <a:lnTo>
                    <a:pt x="25" y="146"/>
                  </a:lnTo>
                  <a:lnTo>
                    <a:pt x="29" y="142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4" y="148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8" y="149"/>
                  </a:lnTo>
                  <a:lnTo>
                    <a:pt x="38" y="149"/>
                  </a:lnTo>
                  <a:lnTo>
                    <a:pt x="39" y="142"/>
                  </a:lnTo>
                  <a:lnTo>
                    <a:pt x="41" y="140"/>
                  </a:lnTo>
                  <a:lnTo>
                    <a:pt x="45" y="137"/>
                  </a:lnTo>
                  <a:lnTo>
                    <a:pt x="45" y="137"/>
                  </a:lnTo>
                  <a:lnTo>
                    <a:pt x="47" y="133"/>
                  </a:lnTo>
                  <a:lnTo>
                    <a:pt x="50" y="133"/>
                  </a:lnTo>
                  <a:lnTo>
                    <a:pt x="55" y="133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0"/>
                  </a:lnTo>
                  <a:lnTo>
                    <a:pt x="61" y="126"/>
                  </a:lnTo>
                  <a:lnTo>
                    <a:pt x="64" y="121"/>
                  </a:lnTo>
                  <a:lnTo>
                    <a:pt x="64" y="121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4" y="116"/>
                  </a:lnTo>
                  <a:lnTo>
                    <a:pt x="64" y="116"/>
                  </a:lnTo>
                  <a:lnTo>
                    <a:pt x="61" y="108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7" y="110"/>
                  </a:lnTo>
                  <a:lnTo>
                    <a:pt x="54" y="114"/>
                  </a:lnTo>
                  <a:lnTo>
                    <a:pt x="54" y="116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3" y="105"/>
                  </a:lnTo>
                  <a:lnTo>
                    <a:pt x="39" y="98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6" y="85"/>
                  </a:lnTo>
                  <a:lnTo>
                    <a:pt x="36" y="82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9" y="80"/>
                  </a:lnTo>
                  <a:lnTo>
                    <a:pt x="41" y="82"/>
                  </a:lnTo>
                  <a:lnTo>
                    <a:pt x="45" y="87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5" y="96"/>
                  </a:lnTo>
                  <a:lnTo>
                    <a:pt x="48" y="98"/>
                  </a:lnTo>
                  <a:lnTo>
                    <a:pt x="50" y="101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9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75" y="116"/>
                  </a:lnTo>
                  <a:lnTo>
                    <a:pt x="77" y="121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7" y="139"/>
                  </a:lnTo>
                  <a:lnTo>
                    <a:pt x="73" y="148"/>
                  </a:lnTo>
                  <a:lnTo>
                    <a:pt x="73" y="148"/>
                  </a:lnTo>
                  <a:lnTo>
                    <a:pt x="73" y="148"/>
                  </a:lnTo>
                  <a:lnTo>
                    <a:pt x="70" y="148"/>
                  </a:lnTo>
                  <a:lnTo>
                    <a:pt x="68" y="146"/>
                  </a:lnTo>
                  <a:lnTo>
                    <a:pt x="66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59" y="149"/>
                  </a:lnTo>
                  <a:lnTo>
                    <a:pt x="55" y="153"/>
                  </a:lnTo>
                  <a:lnTo>
                    <a:pt x="50" y="156"/>
                  </a:lnTo>
                  <a:lnTo>
                    <a:pt x="50" y="156"/>
                  </a:lnTo>
                  <a:lnTo>
                    <a:pt x="45" y="158"/>
                  </a:lnTo>
                  <a:lnTo>
                    <a:pt x="39" y="162"/>
                  </a:lnTo>
                  <a:lnTo>
                    <a:pt x="39" y="162"/>
                  </a:lnTo>
                  <a:lnTo>
                    <a:pt x="32" y="169"/>
                  </a:lnTo>
                  <a:lnTo>
                    <a:pt x="25" y="171"/>
                  </a:lnTo>
                  <a:lnTo>
                    <a:pt x="25" y="171"/>
                  </a:lnTo>
                  <a:lnTo>
                    <a:pt x="25" y="171"/>
                  </a:lnTo>
                  <a:lnTo>
                    <a:pt x="25" y="171"/>
                  </a:lnTo>
                  <a:lnTo>
                    <a:pt x="25" y="17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43"/>
            <p:cNvSpPr>
              <a:spLocks/>
            </p:cNvSpPr>
            <p:nvPr/>
          </p:nvSpPr>
          <p:spPr bwMode="auto">
            <a:xfrm>
              <a:off x="664139" y="2622302"/>
              <a:ext cx="41644" cy="30235"/>
            </a:xfrm>
            <a:custGeom>
              <a:avLst/>
              <a:gdLst>
                <a:gd name="T0" fmla="*/ 37 w 73"/>
                <a:gd name="T1" fmla="*/ 51 h 53"/>
                <a:gd name="T2" fmla="*/ 46 w 73"/>
                <a:gd name="T3" fmla="*/ 51 h 53"/>
                <a:gd name="T4" fmla="*/ 48 w 73"/>
                <a:gd name="T5" fmla="*/ 49 h 53"/>
                <a:gd name="T6" fmla="*/ 48 w 73"/>
                <a:gd name="T7" fmla="*/ 41 h 53"/>
                <a:gd name="T8" fmla="*/ 46 w 73"/>
                <a:gd name="T9" fmla="*/ 32 h 53"/>
                <a:gd name="T10" fmla="*/ 48 w 73"/>
                <a:gd name="T11" fmla="*/ 28 h 53"/>
                <a:gd name="T12" fmla="*/ 55 w 73"/>
                <a:gd name="T13" fmla="*/ 26 h 53"/>
                <a:gd name="T14" fmla="*/ 59 w 73"/>
                <a:gd name="T15" fmla="*/ 26 h 53"/>
                <a:gd name="T16" fmla="*/ 62 w 73"/>
                <a:gd name="T17" fmla="*/ 26 h 53"/>
                <a:gd name="T18" fmla="*/ 64 w 73"/>
                <a:gd name="T19" fmla="*/ 26 h 53"/>
                <a:gd name="T20" fmla="*/ 73 w 73"/>
                <a:gd name="T21" fmla="*/ 17 h 53"/>
                <a:gd name="T22" fmla="*/ 69 w 73"/>
                <a:gd name="T23" fmla="*/ 10 h 53"/>
                <a:gd name="T24" fmla="*/ 62 w 73"/>
                <a:gd name="T25" fmla="*/ 1 h 53"/>
                <a:gd name="T26" fmla="*/ 60 w 73"/>
                <a:gd name="T27" fmla="*/ 1 h 53"/>
                <a:gd name="T28" fmla="*/ 60 w 73"/>
                <a:gd name="T29" fmla="*/ 0 h 53"/>
                <a:gd name="T30" fmla="*/ 55 w 73"/>
                <a:gd name="T31" fmla="*/ 3 h 53"/>
                <a:gd name="T32" fmla="*/ 55 w 73"/>
                <a:gd name="T33" fmla="*/ 9 h 53"/>
                <a:gd name="T34" fmla="*/ 53 w 73"/>
                <a:gd name="T35" fmla="*/ 16 h 53"/>
                <a:gd name="T36" fmla="*/ 50 w 73"/>
                <a:gd name="T37" fmla="*/ 17 h 53"/>
                <a:gd name="T38" fmla="*/ 41 w 73"/>
                <a:gd name="T39" fmla="*/ 14 h 53"/>
                <a:gd name="T40" fmla="*/ 32 w 73"/>
                <a:gd name="T41" fmla="*/ 9 h 53"/>
                <a:gd name="T42" fmla="*/ 27 w 73"/>
                <a:gd name="T43" fmla="*/ 7 h 53"/>
                <a:gd name="T44" fmla="*/ 14 w 73"/>
                <a:gd name="T45" fmla="*/ 9 h 53"/>
                <a:gd name="T46" fmla="*/ 5 w 73"/>
                <a:gd name="T47" fmla="*/ 10 h 53"/>
                <a:gd name="T48" fmla="*/ 9 w 73"/>
                <a:gd name="T49" fmla="*/ 23 h 53"/>
                <a:gd name="T50" fmla="*/ 5 w 73"/>
                <a:gd name="T51" fmla="*/ 26 h 53"/>
                <a:gd name="T52" fmla="*/ 0 w 73"/>
                <a:gd name="T53" fmla="*/ 28 h 53"/>
                <a:gd name="T54" fmla="*/ 2 w 73"/>
                <a:gd name="T55" fmla="*/ 33 h 53"/>
                <a:gd name="T56" fmla="*/ 9 w 73"/>
                <a:gd name="T57" fmla="*/ 37 h 53"/>
                <a:gd name="T58" fmla="*/ 12 w 73"/>
                <a:gd name="T59" fmla="*/ 39 h 53"/>
                <a:gd name="T60" fmla="*/ 19 w 73"/>
                <a:gd name="T61" fmla="*/ 44 h 53"/>
                <a:gd name="T62" fmla="*/ 21 w 73"/>
                <a:gd name="T63" fmla="*/ 48 h 53"/>
                <a:gd name="T64" fmla="*/ 30 w 73"/>
                <a:gd name="T65" fmla="*/ 51 h 53"/>
                <a:gd name="T66" fmla="*/ 34 w 73"/>
                <a:gd name="T67" fmla="*/ 51 h 53"/>
                <a:gd name="T68" fmla="*/ 37 w 73"/>
                <a:gd name="T69" fmla="*/ 51 h 53"/>
                <a:gd name="T70" fmla="*/ 37 w 73"/>
                <a:gd name="T71" fmla="*/ 5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" h="53">
                  <a:moveTo>
                    <a:pt x="37" y="51"/>
                  </a:moveTo>
                  <a:lnTo>
                    <a:pt x="37" y="51"/>
                  </a:lnTo>
                  <a:lnTo>
                    <a:pt x="41" y="53"/>
                  </a:lnTo>
                  <a:lnTo>
                    <a:pt x="46" y="51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4"/>
                  </a:lnTo>
                  <a:lnTo>
                    <a:pt x="48" y="41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0"/>
                  </a:lnTo>
                  <a:lnTo>
                    <a:pt x="48" y="28"/>
                  </a:lnTo>
                  <a:lnTo>
                    <a:pt x="51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9" y="26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9" y="21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69" y="10"/>
                  </a:lnTo>
                  <a:lnTo>
                    <a:pt x="67" y="7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0" y="1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7" y="1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9"/>
                  </a:lnTo>
                  <a:lnTo>
                    <a:pt x="55" y="14"/>
                  </a:lnTo>
                  <a:lnTo>
                    <a:pt x="53" y="16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41" y="14"/>
                  </a:lnTo>
                  <a:lnTo>
                    <a:pt x="37" y="10"/>
                  </a:lnTo>
                  <a:lnTo>
                    <a:pt x="32" y="9"/>
                  </a:lnTo>
                  <a:lnTo>
                    <a:pt x="28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14" y="9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9" y="17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5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3"/>
                  </a:lnTo>
                  <a:lnTo>
                    <a:pt x="5" y="35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12" y="39"/>
                  </a:lnTo>
                  <a:lnTo>
                    <a:pt x="16" y="42"/>
                  </a:lnTo>
                  <a:lnTo>
                    <a:pt x="19" y="44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8" y="49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4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44"/>
            <p:cNvSpPr>
              <a:spLocks/>
            </p:cNvSpPr>
            <p:nvPr/>
          </p:nvSpPr>
          <p:spPr bwMode="auto">
            <a:xfrm>
              <a:off x="768534" y="2372439"/>
              <a:ext cx="81006" cy="82147"/>
            </a:xfrm>
            <a:custGeom>
              <a:avLst/>
              <a:gdLst>
                <a:gd name="T0" fmla="*/ 21 w 142"/>
                <a:gd name="T1" fmla="*/ 141 h 144"/>
                <a:gd name="T2" fmla="*/ 30 w 142"/>
                <a:gd name="T3" fmla="*/ 144 h 144"/>
                <a:gd name="T4" fmla="*/ 46 w 142"/>
                <a:gd name="T5" fmla="*/ 141 h 144"/>
                <a:gd name="T6" fmla="*/ 55 w 142"/>
                <a:gd name="T7" fmla="*/ 141 h 144"/>
                <a:gd name="T8" fmla="*/ 60 w 142"/>
                <a:gd name="T9" fmla="*/ 141 h 144"/>
                <a:gd name="T10" fmla="*/ 69 w 142"/>
                <a:gd name="T11" fmla="*/ 141 h 144"/>
                <a:gd name="T12" fmla="*/ 71 w 142"/>
                <a:gd name="T13" fmla="*/ 135 h 144"/>
                <a:gd name="T14" fmla="*/ 78 w 142"/>
                <a:gd name="T15" fmla="*/ 130 h 144"/>
                <a:gd name="T16" fmla="*/ 82 w 142"/>
                <a:gd name="T17" fmla="*/ 128 h 144"/>
                <a:gd name="T18" fmla="*/ 82 w 142"/>
                <a:gd name="T19" fmla="*/ 118 h 144"/>
                <a:gd name="T20" fmla="*/ 87 w 142"/>
                <a:gd name="T21" fmla="*/ 118 h 144"/>
                <a:gd name="T22" fmla="*/ 98 w 142"/>
                <a:gd name="T23" fmla="*/ 119 h 144"/>
                <a:gd name="T24" fmla="*/ 112 w 142"/>
                <a:gd name="T25" fmla="*/ 121 h 144"/>
                <a:gd name="T26" fmla="*/ 117 w 142"/>
                <a:gd name="T27" fmla="*/ 127 h 144"/>
                <a:gd name="T28" fmla="*/ 123 w 142"/>
                <a:gd name="T29" fmla="*/ 132 h 144"/>
                <a:gd name="T30" fmla="*/ 133 w 142"/>
                <a:gd name="T31" fmla="*/ 141 h 144"/>
                <a:gd name="T32" fmla="*/ 135 w 142"/>
                <a:gd name="T33" fmla="*/ 141 h 144"/>
                <a:gd name="T34" fmla="*/ 140 w 142"/>
                <a:gd name="T35" fmla="*/ 132 h 144"/>
                <a:gd name="T36" fmla="*/ 140 w 142"/>
                <a:gd name="T37" fmla="*/ 123 h 144"/>
                <a:gd name="T38" fmla="*/ 139 w 142"/>
                <a:gd name="T39" fmla="*/ 112 h 144"/>
                <a:gd name="T40" fmla="*/ 135 w 142"/>
                <a:gd name="T41" fmla="*/ 105 h 144"/>
                <a:gd name="T42" fmla="*/ 132 w 142"/>
                <a:gd name="T43" fmla="*/ 100 h 144"/>
                <a:gd name="T44" fmla="*/ 124 w 142"/>
                <a:gd name="T45" fmla="*/ 87 h 144"/>
                <a:gd name="T46" fmla="*/ 114 w 142"/>
                <a:gd name="T47" fmla="*/ 77 h 144"/>
                <a:gd name="T48" fmla="*/ 116 w 142"/>
                <a:gd name="T49" fmla="*/ 61 h 144"/>
                <a:gd name="T50" fmla="*/ 114 w 142"/>
                <a:gd name="T51" fmla="*/ 57 h 144"/>
                <a:gd name="T52" fmla="*/ 101 w 142"/>
                <a:gd name="T53" fmla="*/ 45 h 144"/>
                <a:gd name="T54" fmla="*/ 96 w 142"/>
                <a:gd name="T55" fmla="*/ 31 h 144"/>
                <a:gd name="T56" fmla="*/ 91 w 142"/>
                <a:gd name="T57" fmla="*/ 23 h 144"/>
                <a:gd name="T58" fmla="*/ 87 w 142"/>
                <a:gd name="T59" fmla="*/ 22 h 144"/>
                <a:gd name="T60" fmla="*/ 87 w 142"/>
                <a:gd name="T61" fmla="*/ 7 h 144"/>
                <a:gd name="T62" fmla="*/ 82 w 142"/>
                <a:gd name="T63" fmla="*/ 4 h 144"/>
                <a:gd name="T64" fmla="*/ 71 w 142"/>
                <a:gd name="T65" fmla="*/ 0 h 144"/>
                <a:gd name="T66" fmla="*/ 69 w 142"/>
                <a:gd name="T67" fmla="*/ 0 h 144"/>
                <a:gd name="T68" fmla="*/ 68 w 142"/>
                <a:gd name="T69" fmla="*/ 11 h 144"/>
                <a:gd name="T70" fmla="*/ 59 w 142"/>
                <a:gd name="T71" fmla="*/ 11 h 144"/>
                <a:gd name="T72" fmla="*/ 46 w 142"/>
                <a:gd name="T73" fmla="*/ 23 h 144"/>
                <a:gd name="T74" fmla="*/ 43 w 142"/>
                <a:gd name="T75" fmla="*/ 27 h 144"/>
                <a:gd name="T76" fmla="*/ 43 w 142"/>
                <a:gd name="T77" fmla="*/ 31 h 144"/>
                <a:gd name="T78" fmla="*/ 36 w 142"/>
                <a:gd name="T79" fmla="*/ 31 h 144"/>
                <a:gd name="T80" fmla="*/ 36 w 142"/>
                <a:gd name="T81" fmla="*/ 38 h 144"/>
                <a:gd name="T82" fmla="*/ 41 w 142"/>
                <a:gd name="T83" fmla="*/ 41 h 144"/>
                <a:gd name="T84" fmla="*/ 36 w 142"/>
                <a:gd name="T85" fmla="*/ 47 h 144"/>
                <a:gd name="T86" fmla="*/ 30 w 142"/>
                <a:gd name="T87" fmla="*/ 54 h 144"/>
                <a:gd name="T88" fmla="*/ 28 w 142"/>
                <a:gd name="T89" fmla="*/ 64 h 144"/>
                <a:gd name="T90" fmla="*/ 23 w 142"/>
                <a:gd name="T91" fmla="*/ 70 h 144"/>
                <a:gd name="T92" fmla="*/ 16 w 142"/>
                <a:gd name="T93" fmla="*/ 77 h 144"/>
                <a:gd name="T94" fmla="*/ 14 w 142"/>
                <a:gd name="T95" fmla="*/ 87 h 144"/>
                <a:gd name="T96" fmla="*/ 0 w 142"/>
                <a:gd name="T97" fmla="*/ 91 h 144"/>
                <a:gd name="T98" fmla="*/ 0 w 142"/>
                <a:gd name="T99" fmla="*/ 93 h 144"/>
                <a:gd name="T100" fmla="*/ 2 w 142"/>
                <a:gd name="T101" fmla="*/ 105 h 144"/>
                <a:gd name="T102" fmla="*/ 2 w 142"/>
                <a:gd name="T103" fmla="*/ 112 h 144"/>
                <a:gd name="T104" fmla="*/ 5 w 142"/>
                <a:gd name="T105" fmla="*/ 118 h 144"/>
                <a:gd name="T106" fmla="*/ 11 w 142"/>
                <a:gd name="T107" fmla="*/ 125 h 144"/>
                <a:gd name="T108" fmla="*/ 9 w 142"/>
                <a:gd name="T109" fmla="*/ 127 h 144"/>
                <a:gd name="T110" fmla="*/ 16 w 142"/>
                <a:gd name="T111" fmla="*/ 132 h 144"/>
                <a:gd name="T112" fmla="*/ 18 w 142"/>
                <a:gd name="T113" fmla="*/ 13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2" h="144">
                  <a:moveTo>
                    <a:pt x="18" y="135"/>
                  </a:moveTo>
                  <a:lnTo>
                    <a:pt x="18" y="135"/>
                  </a:lnTo>
                  <a:lnTo>
                    <a:pt x="21" y="141"/>
                  </a:lnTo>
                  <a:lnTo>
                    <a:pt x="27" y="143"/>
                  </a:lnTo>
                  <a:lnTo>
                    <a:pt x="27" y="143"/>
                  </a:lnTo>
                  <a:lnTo>
                    <a:pt x="30" y="144"/>
                  </a:lnTo>
                  <a:lnTo>
                    <a:pt x="34" y="144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50" y="141"/>
                  </a:lnTo>
                  <a:lnTo>
                    <a:pt x="53" y="141"/>
                  </a:lnTo>
                  <a:lnTo>
                    <a:pt x="55" y="141"/>
                  </a:lnTo>
                  <a:lnTo>
                    <a:pt x="59" y="141"/>
                  </a:lnTo>
                  <a:lnTo>
                    <a:pt x="60" y="141"/>
                  </a:lnTo>
                  <a:lnTo>
                    <a:pt x="60" y="141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9" y="141"/>
                  </a:lnTo>
                  <a:lnTo>
                    <a:pt x="71" y="139"/>
                  </a:lnTo>
                  <a:lnTo>
                    <a:pt x="71" y="135"/>
                  </a:lnTo>
                  <a:lnTo>
                    <a:pt x="71" y="135"/>
                  </a:lnTo>
                  <a:lnTo>
                    <a:pt x="73" y="132"/>
                  </a:lnTo>
                  <a:lnTo>
                    <a:pt x="75" y="132"/>
                  </a:lnTo>
                  <a:lnTo>
                    <a:pt x="78" y="130"/>
                  </a:lnTo>
                  <a:lnTo>
                    <a:pt x="80" y="128"/>
                  </a:lnTo>
                  <a:lnTo>
                    <a:pt x="80" y="128"/>
                  </a:lnTo>
                  <a:lnTo>
                    <a:pt x="82" y="128"/>
                  </a:lnTo>
                  <a:lnTo>
                    <a:pt x="82" y="127"/>
                  </a:lnTo>
                  <a:lnTo>
                    <a:pt x="82" y="123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7" y="118"/>
                  </a:lnTo>
                  <a:lnTo>
                    <a:pt x="87" y="118"/>
                  </a:lnTo>
                  <a:lnTo>
                    <a:pt x="92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105" y="119"/>
                  </a:lnTo>
                  <a:lnTo>
                    <a:pt x="108" y="119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6" y="123"/>
                  </a:lnTo>
                  <a:lnTo>
                    <a:pt x="117" y="127"/>
                  </a:lnTo>
                  <a:lnTo>
                    <a:pt x="121" y="128"/>
                  </a:lnTo>
                  <a:lnTo>
                    <a:pt x="123" y="132"/>
                  </a:lnTo>
                  <a:lnTo>
                    <a:pt x="123" y="132"/>
                  </a:lnTo>
                  <a:lnTo>
                    <a:pt x="130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5" y="141"/>
                  </a:lnTo>
                  <a:lnTo>
                    <a:pt x="135" y="141"/>
                  </a:lnTo>
                  <a:lnTo>
                    <a:pt x="135" y="141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0" y="132"/>
                  </a:lnTo>
                  <a:lnTo>
                    <a:pt x="142" y="128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39" y="112"/>
                  </a:lnTo>
                  <a:lnTo>
                    <a:pt x="137" y="109"/>
                  </a:lnTo>
                  <a:lnTo>
                    <a:pt x="137" y="109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2" y="103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0" y="93"/>
                  </a:lnTo>
                  <a:lnTo>
                    <a:pt x="124" y="87"/>
                  </a:lnTo>
                  <a:lnTo>
                    <a:pt x="124" y="87"/>
                  </a:lnTo>
                  <a:lnTo>
                    <a:pt x="121" y="80"/>
                  </a:lnTo>
                  <a:lnTo>
                    <a:pt x="114" y="77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1" y="45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6" y="31"/>
                  </a:lnTo>
                  <a:lnTo>
                    <a:pt x="94" y="27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87" y="22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7"/>
                  </a:lnTo>
                  <a:lnTo>
                    <a:pt x="84" y="7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76" y="2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6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4" y="11"/>
                  </a:lnTo>
                  <a:lnTo>
                    <a:pt x="62" y="11"/>
                  </a:lnTo>
                  <a:lnTo>
                    <a:pt x="59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3" y="27"/>
                  </a:lnTo>
                  <a:lnTo>
                    <a:pt x="43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36" y="31"/>
                  </a:lnTo>
                  <a:lnTo>
                    <a:pt x="36" y="32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9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36" y="47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54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28" y="64"/>
                  </a:lnTo>
                  <a:lnTo>
                    <a:pt x="27" y="68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0" y="71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4" y="80"/>
                  </a:lnTo>
                  <a:lnTo>
                    <a:pt x="14" y="84"/>
                  </a:lnTo>
                  <a:lnTo>
                    <a:pt x="14" y="87"/>
                  </a:lnTo>
                  <a:lnTo>
                    <a:pt x="11" y="89"/>
                  </a:lnTo>
                  <a:lnTo>
                    <a:pt x="11" y="89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100"/>
                  </a:lnTo>
                  <a:lnTo>
                    <a:pt x="2" y="105"/>
                  </a:lnTo>
                  <a:lnTo>
                    <a:pt x="2" y="105"/>
                  </a:lnTo>
                  <a:lnTo>
                    <a:pt x="2" y="107"/>
                  </a:lnTo>
                  <a:lnTo>
                    <a:pt x="2" y="109"/>
                  </a:lnTo>
                  <a:lnTo>
                    <a:pt x="2" y="112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5" y="118"/>
                  </a:lnTo>
                  <a:lnTo>
                    <a:pt x="7" y="119"/>
                  </a:lnTo>
                  <a:lnTo>
                    <a:pt x="11" y="123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14" y="128"/>
                  </a:lnTo>
                  <a:lnTo>
                    <a:pt x="16" y="130"/>
                  </a:lnTo>
                  <a:lnTo>
                    <a:pt x="16" y="132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746286" y="2313681"/>
              <a:ext cx="61610" cy="76442"/>
            </a:xfrm>
            <a:custGeom>
              <a:avLst/>
              <a:gdLst>
                <a:gd name="T0" fmla="*/ 18 w 108"/>
                <a:gd name="T1" fmla="*/ 68 h 134"/>
                <a:gd name="T2" fmla="*/ 30 w 108"/>
                <a:gd name="T3" fmla="*/ 71 h 134"/>
                <a:gd name="T4" fmla="*/ 35 w 108"/>
                <a:gd name="T5" fmla="*/ 82 h 134"/>
                <a:gd name="T6" fmla="*/ 39 w 108"/>
                <a:gd name="T7" fmla="*/ 87 h 134"/>
                <a:gd name="T8" fmla="*/ 48 w 108"/>
                <a:gd name="T9" fmla="*/ 91 h 134"/>
                <a:gd name="T10" fmla="*/ 66 w 108"/>
                <a:gd name="T11" fmla="*/ 100 h 134"/>
                <a:gd name="T12" fmla="*/ 75 w 108"/>
                <a:gd name="T13" fmla="*/ 107 h 134"/>
                <a:gd name="T14" fmla="*/ 80 w 108"/>
                <a:gd name="T15" fmla="*/ 114 h 134"/>
                <a:gd name="T16" fmla="*/ 82 w 108"/>
                <a:gd name="T17" fmla="*/ 134 h 134"/>
                <a:gd name="T18" fmla="*/ 85 w 108"/>
                <a:gd name="T19" fmla="*/ 126 h 134"/>
                <a:gd name="T20" fmla="*/ 94 w 108"/>
                <a:gd name="T21" fmla="*/ 114 h 134"/>
                <a:gd name="T22" fmla="*/ 101 w 108"/>
                <a:gd name="T23" fmla="*/ 114 h 134"/>
                <a:gd name="T24" fmla="*/ 107 w 108"/>
                <a:gd name="T25" fmla="*/ 114 h 134"/>
                <a:gd name="T26" fmla="*/ 108 w 108"/>
                <a:gd name="T27" fmla="*/ 103 h 134"/>
                <a:gd name="T28" fmla="*/ 101 w 108"/>
                <a:gd name="T29" fmla="*/ 102 h 134"/>
                <a:gd name="T30" fmla="*/ 98 w 108"/>
                <a:gd name="T31" fmla="*/ 93 h 134"/>
                <a:gd name="T32" fmla="*/ 98 w 108"/>
                <a:gd name="T33" fmla="*/ 87 h 134"/>
                <a:gd name="T34" fmla="*/ 94 w 108"/>
                <a:gd name="T35" fmla="*/ 82 h 134"/>
                <a:gd name="T36" fmla="*/ 92 w 108"/>
                <a:gd name="T37" fmla="*/ 73 h 134"/>
                <a:gd name="T38" fmla="*/ 87 w 108"/>
                <a:gd name="T39" fmla="*/ 54 h 134"/>
                <a:gd name="T40" fmla="*/ 87 w 108"/>
                <a:gd name="T41" fmla="*/ 43 h 134"/>
                <a:gd name="T42" fmla="*/ 85 w 108"/>
                <a:gd name="T43" fmla="*/ 38 h 134"/>
                <a:gd name="T44" fmla="*/ 75 w 108"/>
                <a:gd name="T45" fmla="*/ 29 h 134"/>
                <a:gd name="T46" fmla="*/ 75 w 108"/>
                <a:gd name="T47" fmla="*/ 23 h 134"/>
                <a:gd name="T48" fmla="*/ 76 w 108"/>
                <a:gd name="T49" fmla="*/ 20 h 134"/>
                <a:gd name="T50" fmla="*/ 66 w 108"/>
                <a:gd name="T51" fmla="*/ 7 h 134"/>
                <a:gd name="T52" fmla="*/ 59 w 108"/>
                <a:gd name="T53" fmla="*/ 7 h 134"/>
                <a:gd name="T54" fmla="*/ 55 w 108"/>
                <a:gd name="T55" fmla="*/ 7 h 134"/>
                <a:gd name="T56" fmla="*/ 53 w 108"/>
                <a:gd name="T57" fmla="*/ 4 h 134"/>
                <a:gd name="T58" fmla="*/ 51 w 108"/>
                <a:gd name="T59" fmla="*/ 4 h 134"/>
                <a:gd name="T60" fmla="*/ 44 w 108"/>
                <a:gd name="T61" fmla="*/ 6 h 134"/>
                <a:gd name="T62" fmla="*/ 35 w 108"/>
                <a:gd name="T63" fmla="*/ 0 h 134"/>
                <a:gd name="T64" fmla="*/ 32 w 108"/>
                <a:gd name="T65" fmla="*/ 0 h 134"/>
                <a:gd name="T66" fmla="*/ 32 w 108"/>
                <a:gd name="T67" fmla="*/ 6 h 134"/>
                <a:gd name="T68" fmla="*/ 30 w 108"/>
                <a:gd name="T69" fmla="*/ 9 h 134"/>
                <a:gd name="T70" fmla="*/ 21 w 108"/>
                <a:gd name="T71" fmla="*/ 7 h 134"/>
                <a:gd name="T72" fmla="*/ 14 w 108"/>
                <a:gd name="T73" fmla="*/ 11 h 134"/>
                <a:gd name="T74" fmla="*/ 11 w 108"/>
                <a:gd name="T75" fmla="*/ 16 h 134"/>
                <a:gd name="T76" fmla="*/ 3 w 108"/>
                <a:gd name="T77" fmla="*/ 16 h 134"/>
                <a:gd name="T78" fmla="*/ 3 w 108"/>
                <a:gd name="T79" fmla="*/ 22 h 134"/>
                <a:gd name="T80" fmla="*/ 9 w 108"/>
                <a:gd name="T81" fmla="*/ 30 h 134"/>
                <a:gd name="T82" fmla="*/ 9 w 108"/>
                <a:gd name="T83" fmla="*/ 34 h 134"/>
                <a:gd name="T84" fmla="*/ 16 w 108"/>
                <a:gd name="T85" fmla="*/ 43 h 134"/>
                <a:gd name="T86" fmla="*/ 12 w 108"/>
                <a:gd name="T87" fmla="*/ 50 h 134"/>
                <a:gd name="T88" fmla="*/ 12 w 108"/>
                <a:gd name="T89" fmla="*/ 54 h 134"/>
                <a:gd name="T90" fmla="*/ 12 w 108"/>
                <a:gd name="T91" fmla="*/ 59 h 134"/>
                <a:gd name="T92" fmla="*/ 11 w 108"/>
                <a:gd name="T93" fmla="*/ 61 h 134"/>
                <a:gd name="T94" fmla="*/ 12 w 108"/>
                <a:gd name="T95" fmla="*/ 6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8" h="134">
                  <a:moveTo>
                    <a:pt x="12" y="68"/>
                  </a:moveTo>
                  <a:lnTo>
                    <a:pt x="12" y="68"/>
                  </a:lnTo>
                  <a:lnTo>
                    <a:pt x="18" y="68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2" y="73"/>
                  </a:lnTo>
                  <a:lnTo>
                    <a:pt x="34" y="78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7" y="86"/>
                  </a:lnTo>
                  <a:lnTo>
                    <a:pt x="39" y="87"/>
                  </a:lnTo>
                  <a:lnTo>
                    <a:pt x="44" y="89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53" y="91"/>
                  </a:lnTo>
                  <a:lnTo>
                    <a:pt x="59" y="94"/>
                  </a:lnTo>
                  <a:lnTo>
                    <a:pt x="66" y="100"/>
                  </a:lnTo>
                  <a:lnTo>
                    <a:pt x="69" y="103"/>
                  </a:lnTo>
                  <a:lnTo>
                    <a:pt x="69" y="103"/>
                  </a:lnTo>
                  <a:lnTo>
                    <a:pt x="75" y="107"/>
                  </a:lnTo>
                  <a:lnTo>
                    <a:pt x="78" y="110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80" y="132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2"/>
                  </a:lnTo>
                  <a:lnTo>
                    <a:pt x="82" y="130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8" y="114"/>
                  </a:lnTo>
                  <a:lnTo>
                    <a:pt x="101" y="114"/>
                  </a:lnTo>
                  <a:lnTo>
                    <a:pt x="103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8" y="109"/>
                  </a:lnTo>
                  <a:lnTo>
                    <a:pt x="108" y="103"/>
                  </a:lnTo>
                  <a:lnTo>
                    <a:pt x="108" y="103"/>
                  </a:lnTo>
                  <a:lnTo>
                    <a:pt x="107" y="103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99" y="100"/>
                  </a:lnTo>
                  <a:lnTo>
                    <a:pt x="99" y="98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94" y="82"/>
                  </a:lnTo>
                  <a:lnTo>
                    <a:pt x="92" y="80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2" y="68"/>
                  </a:lnTo>
                  <a:lnTo>
                    <a:pt x="91" y="62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46"/>
                  </a:lnTo>
                  <a:lnTo>
                    <a:pt x="87" y="43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5" y="38"/>
                  </a:lnTo>
                  <a:lnTo>
                    <a:pt x="80" y="34"/>
                  </a:lnTo>
                  <a:lnTo>
                    <a:pt x="76" y="32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3" y="27"/>
                  </a:lnTo>
                  <a:lnTo>
                    <a:pt x="75" y="23"/>
                  </a:lnTo>
                  <a:lnTo>
                    <a:pt x="75" y="22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5" y="16"/>
                  </a:lnTo>
                  <a:lnTo>
                    <a:pt x="71" y="11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2" y="7"/>
                  </a:lnTo>
                  <a:lnTo>
                    <a:pt x="59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48" y="7"/>
                  </a:lnTo>
                  <a:lnTo>
                    <a:pt x="46" y="7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1" y="2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27" y="9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3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7" y="29"/>
                  </a:lnTo>
                  <a:lnTo>
                    <a:pt x="9" y="30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12" y="38"/>
                  </a:lnTo>
                  <a:lnTo>
                    <a:pt x="16" y="39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6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7"/>
                  </a:lnTo>
                  <a:lnTo>
                    <a:pt x="12" y="59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2" y="6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740011" y="2348479"/>
              <a:ext cx="53053" cy="75872"/>
            </a:xfrm>
            <a:custGeom>
              <a:avLst/>
              <a:gdLst>
                <a:gd name="T0" fmla="*/ 70 w 93"/>
                <a:gd name="T1" fmla="*/ 113 h 133"/>
                <a:gd name="T2" fmla="*/ 77 w 93"/>
                <a:gd name="T3" fmla="*/ 110 h 133"/>
                <a:gd name="T4" fmla="*/ 80 w 93"/>
                <a:gd name="T5" fmla="*/ 103 h 133"/>
                <a:gd name="T6" fmla="*/ 82 w 93"/>
                <a:gd name="T7" fmla="*/ 90 h 133"/>
                <a:gd name="T8" fmla="*/ 91 w 93"/>
                <a:gd name="T9" fmla="*/ 87 h 133"/>
                <a:gd name="T10" fmla="*/ 87 w 93"/>
                <a:gd name="T11" fmla="*/ 81 h 133"/>
                <a:gd name="T12" fmla="*/ 86 w 93"/>
                <a:gd name="T13" fmla="*/ 74 h 133"/>
                <a:gd name="T14" fmla="*/ 91 w 93"/>
                <a:gd name="T15" fmla="*/ 73 h 133"/>
                <a:gd name="T16" fmla="*/ 91 w 93"/>
                <a:gd name="T17" fmla="*/ 71 h 133"/>
                <a:gd name="T18" fmla="*/ 89 w 93"/>
                <a:gd name="T19" fmla="*/ 49 h 133"/>
                <a:gd name="T20" fmla="*/ 80 w 93"/>
                <a:gd name="T21" fmla="*/ 42 h 133"/>
                <a:gd name="T22" fmla="*/ 64 w 93"/>
                <a:gd name="T23" fmla="*/ 30 h 133"/>
                <a:gd name="T24" fmla="*/ 55 w 93"/>
                <a:gd name="T25" fmla="*/ 28 h 133"/>
                <a:gd name="T26" fmla="*/ 46 w 93"/>
                <a:gd name="T27" fmla="*/ 21 h 133"/>
                <a:gd name="T28" fmla="*/ 43 w 93"/>
                <a:gd name="T29" fmla="*/ 12 h 133"/>
                <a:gd name="T30" fmla="*/ 38 w 93"/>
                <a:gd name="T31" fmla="*/ 10 h 133"/>
                <a:gd name="T32" fmla="*/ 23 w 93"/>
                <a:gd name="T33" fmla="*/ 1 h 133"/>
                <a:gd name="T34" fmla="*/ 20 w 93"/>
                <a:gd name="T35" fmla="*/ 1 h 133"/>
                <a:gd name="T36" fmla="*/ 18 w 93"/>
                <a:gd name="T37" fmla="*/ 7 h 133"/>
                <a:gd name="T38" fmla="*/ 7 w 93"/>
                <a:gd name="T39" fmla="*/ 7 h 133"/>
                <a:gd name="T40" fmla="*/ 4 w 93"/>
                <a:gd name="T41" fmla="*/ 10 h 133"/>
                <a:gd name="T42" fmla="*/ 0 w 93"/>
                <a:gd name="T43" fmla="*/ 19 h 133"/>
                <a:gd name="T44" fmla="*/ 2 w 93"/>
                <a:gd name="T45" fmla="*/ 25 h 133"/>
                <a:gd name="T46" fmla="*/ 7 w 93"/>
                <a:gd name="T47" fmla="*/ 26 h 133"/>
                <a:gd name="T48" fmla="*/ 14 w 93"/>
                <a:gd name="T49" fmla="*/ 33 h 133"/>
                <a:gd name="T50" fmla="*/ 11 w 93"/>
                <a:gd name="T51" fmla="*/ 44 h 133"/>
                <a:gd name="T52" fmla="*/ 14 w 93"/>
                <a:gd name="T53" fmla="*/ 49 h 133"/>
                <a:gd name="T54" fmla="*/ 18 w 93"/>
                <a:gd name="T55" fmla="*/ 55 h 133"/>
                <a:gd name="T56" fmla="*/ 30 w 93"/>
                <a:gd name="T57" fmla="*/ 65 h 133"/>
                <a:gd name="T58" fmla="*/ 39 w 93"/>
                <a:gd name="T59" fmla="*/ 67 h 133"/>
                <a:gd name="T60" fmla="*/ 39 w 93"/>
                <a:gd name="T61" fmla="*/ 73 h 133"/>
                <a:gd name="T62" fmla="*/ 36 w 93"/>
                <a:gd name="T63" fmla="*/ 81 h 133"/>
                <a:gd name="T64" fmla="*/ 30 w 93"/>
                <a:gd name="T65" fmla="*/ 83 h 133"/>
                <a:gd name="T66" fmla="*/ 30 w 93"/>
                <a:gd name="T67" fmla="*/ 96 h 133"/>
                <a:gd name="T68" fmla="*/ 32 w 93"/>
                <a:gd name="T69" fmla="*/ 103 h 133"/>
                <a:gd name="T70" fmla="*/ 38 w 93"/>
                <a:gd name="T71" fmla="*/ 103 h 133"/>
                <a:gd name="T72" fmla="*/ 41 w 93"/>
                <a:gd name="T73" fmla="*/ 103 h 133"/>
                <a:gd name="T74" fmla="*/ 41 w 93"/>
                <a:gd name="T75" fmla="*/ 110 h 133"/>
                <a:gd name="T76" fmla="*/ 43 w 93"/>
                <a:gd name="T77" fmla="*/ 112 h 133"/>
                <a:gd name="T78" fmla="*/ 45 w 93"/>
                <a:gd name="T79" fmla="*/ 119 h 133"/>
                <a:gd name="T80" fmla="*/ 45 w 93"/>
                <a:gd name="T81" fmla="*/ 128 h 133"/>
                <a:gd name="T82" fmla="*/ 48 w 93"/>
                <a:gd name="T83" fmla="*/ 131 h 133"/>
                <a:gd name="T84" fmla="*/ 50 w 93"/>
                <a:gd name="T85" fmla="*/ 133 h 133"/>
                <a:gd name="T86" fmla="*/ 64 w 93"/>
                <a:gd name="T87" fmla="*/ 129 h 133"/>
                <a:gd name="T88" fmla="*/ 66 w 93"/>
                <a:gd name="T89" fmla="*/ 119 h 133"/>
                <a:gd name="T90" fmla="*/ 66 w 93"/>
                <a:gd name="T91" fmla="*/ 11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3" h="133">
                  <a:moveTo>
                    <a:pt x="66" y="119"/>
                  </a:moveTo>
                  <a:lnTo>
                    <a:pt x="66" y="119"/>
                  </a:lnTo>
                  <a:lnTo>
                    <a:pt x="70" y="113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7" y="110"/>
                  </a:lnTo>
                  <a:lnTo>
                    <a:pt x="78" y="106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96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6" y="89"/>
                  </a:lnTo>
                  <a:lnTo>
                    <a:pt x="91" y="87"/>
                  </a:lnTo>
                  <a:lnTo>
                    <a:pt x="91" y="87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87" y="81"/>
                  </a:lnTo>
                  <a:lnTo>
                    <a:pt x="86" y="80"/>
                  </a:lnTo>
                  <a:lnTo>
                    <a:pt x="86" y="80"/>
                  </a:lnTo>
                  <a:lnTo>
                    <a:pt x="86" y="74"/>
                  </a:lnTo>
                  <a:lnTo>
                    <a:pt x="86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3" y="73"/>
                  </a:lnTo>
                  <a:lnTo>
                    <a:pt x="91" y="71"/>
                  </a:lnTo>
                  <a:lnTo>
                    <a:pt x="91" y="71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89" y="49"/>
                  </a:lnTo>
                  <a:lnTo>
                    <a:pt x="86" y="46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7" y="39"/>
                  </a:lnTo>
                  <a:lnTo>
                    <a:pt x="70" y="33"/>
                  </a:lnTo>
                  <a:lnTo>
                    <a:pt x="64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5" y="28"/>
                  </a:lnTo>
                  <a:lnTo>
                    <a:pt x="50" y="26"/>
                  </a:lnTo>
                  <a:lnTo>
                    <a:pt x="48" y="25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5" y="17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29" y="7"/>
                  </a:lnTo>
                  <a:lnTo>
                    <a:pt x="23" y="7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1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4" y="10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7" y="26"/>
                  </a:lnTo>
                  <a:lnTo>
                    <a:pt x="11" y="30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1" y="41"/>
                  </a:lnTo>
                  <a:lnTo>
                    <a:pt x="11" y="42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4" y="46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53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23" y="60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8" y="65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9" y="69"/>
                  </a:lnTo>
                  <a:lnTo>
                    <a:pt x="39" y="73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6" y="81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101"/>
                  </a:lnTo>
                  <a:lnTo>
                    <a:pt x="30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6" y="103"/>
                  </a:lnTo>
                  <a:lnTo>
                    <a:pt x="38" y="103"/>
                  </a:lnTo>
                  <a:lnTo>
                    <a:pt x="39" y="101"/>
                  </a:lnTo>
                  <a:lnTo>
                    <a:pt x="41" y="103"/>
                  </a:lnTo>
                  <a:lnTo>
                    <a:pt x="41" y="103"/>
                  </a:lnTo>
                  <a:lnTo>
                    <a:pt x="41" y="105"/>
                  </a:lnTo>
                  <a:lnTo>
                    <a:pt x="41" y="106"/>
                  </a:lnTo>
                  <a:lnTo>
                    <a:pt x="41" y="110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3" y="112"/>
                  </a:lnTo>
                  <a:lnTo>
                    <a:pt x="43" y="113"/>
                  </a:lnTo>
                  <a:lnTo>
                    <a:pt x="45" y="113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24"/>
                  </a:lnTo>
                  <a:lnTo>
                    <a:pt x="45" y="128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8" y="131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50" y="133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4" y="129"/>
                  </a:lnTo>
                  <a:lnTo>
                    <a:pt x="64" y="126"/>
                  </a:lnTo>
                  <a:lnTo>
                    <a:pt x="64" y="122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6" y="119"/>
                  </a:lnTo>
                  <a:lnTo>
                    <a:pt x="66" y="11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47"/>
            <p:cNvSpPr>
              <a:spLocks/>
            </p:cNvSpPr>
            <p:nvPr/>
          </p:nvSpPr>
          <p:spPr bwMode="auto">
            <a:xfrm>
              <a:off x="639609" y="2561262"/>
              <a:ext cx="46778" cy="43355"/>
            </a:xfrm>
            <a:custGeom>
              <a:avLst/>
              <a:gdLst>
                <a:gd name="T0" fmla="*/ 62 w 82"/>
                <a:gd name="T1" fmla="*/ 66 h 76"/>
                <a:gd name="T2" fmla="*/ 64 w 82"/>
                <a:gd name="T3" fmla="*/ 60 h 76"/>
                <a:gd name="T4" fmla="*/ 66 w 82"/>
                <a:gd name="T5" fmla="*/ 57 h 76"/>
                <a:gd name="T6" fmla="*/ 62 w 82"/>
                <a:gd name="T7" fmla="*/ 48 h 76"/>
                <a:gd name="T8" fmla="*/ 62 w 82"/>
                <a:gd name="T9" fmla="*/ 43 h 76"/>
                <a:gd name="T10" fmla="*/ 66 w 82"/>
                <a:gd name="T11" fmla="*/ 41 h 76"/>
                <a:gd name="T12" fmla="*/ 78 w 82"/>
                <a:gd name="T13" fmla="*/ 43 h 76"/>
                <a:gd name="T14" fmla="*/ 80 w 82"/>
                <a:gd name="T15" fmla="*/ 41 h 76"/>
                <a:gd name="T16" fmla="*/ 80 w 82"/>
                <a:gd name="T17" fmla="*/ 39 h 76"/>
                <a:gd name="T18" fmla="*/ 77 w 82"/>
                <a:gd name="T19" fmla="*/ 37 h 76"/>
                <a:gd name="T20" fmla="*/ 73 w 82"/>
                <a:gd name="T21" fmla="*/ 36 h 76"/>
                <a:gd name="T22" fmla="*/ 73 w 82"/>
                <a:gd name="T23" fmla="*/ 28 h 76"/>
                <a:gd name="T24" fmla="*/ 71 w 82"/>
                <a:gd name="T25" fmla="*/ 23 h 76"/>
                <a:gd name="T26" fmla="*/ 71 w 82"/>
                <a:gd name="T27" fmla="*/ 23 h 76"/>
                <a:gd name="T28" fmla="*/ 70 w 82"/>
                <a:gd name="T29" fmla="*/ 20 h 76"/>
                <a:gd name="T30" fmla="*/ 66 w 82"/>
                <a:gd name="T31" fmla="*/ 12 h 76"/>
                <a:gd name="T32" fmla="*/ 57 w 82"/>
                <a:gd name="T33" fmla="*/ 12 h 76"/>
                <a:gd name="T34" fmla="*/ 57 w 82"/>
                <a:gd name="T35" fmla="*/ 18 h 76"/>
                <a:gd name="T36" fmla="*/ 55 w 82"/>
                <a:gd name="T37" fmla="*/ 20 h 76"/>
                <a:gd name="T38" fmla="*/ 54 w 82"/>
                <a:gd name="T39" fmla="*/ 20 h 76"/>
                <a:gd name="T40" fmla="*/ 39 w 82"/>
                <a:gd name="T41" fmla="*/ 20 h 76"/>
                <a:gd name="T42" fmla="*/ 39 w 82"/>
                <a:gd name="T43" fmla="*/ 18 h 76"/>
                <a:gd name="T44" fmla="*/ 34 w 82"/>
                <a:gd name="T45" fmla="*/ 4 h 76"/>
                <a:gd name="T46" fmla="*/ 32 w 82"/>
                <a:gd name="T47" fmla="*/ 0 h 76"/>
                <a:gd name="T48" fmla="*/ 29 w 82"/>
                <a:gd name="T49" fmla="*/ 4 h 76"/>
                <a:gd name="T50" fmla="*/ 20 w 82"/>
                <a:gd name="T51" fmla="*/ 5 h 76"/>
                <a:gd name="T52" fmla="*/ 14 w 82"/>
                <a:gd name="T53" fmla="*/ 5 h 76"/>
                <a:gd name="T54" fmla="*/ 0 w 82"/>
                <a:gd name="T55" fmla="*/ 14 h 76"/>
                <a:gd name="T56" fmla="*/ 2 w 82"/>
                <a:gd name="T57" fmla="*/ 20 h 76"/>
                <a:gd name="T58" fmla="*/ 2 w 82"/>
                <a:gd name="T59" fmla="*/ 23 h 76"/>
                <a:gd name="T60" fmla="*/ 11 w 82"/>
                <a:gd name="T61" fmla="*/ 37 h 76"/>
                <a:gd name="T62" fmla="*/ 11 w 82"/>
                <a:gd name="T63" fmla="*/ 41 h 76"/>
                <a:gd name="T64" fmla="*/ 11 w 82"/>
                <a:gd name="T65" fmla="*/ 48 h 76"/>
                <a:gd name="T66" fmla="*/ 13 w 82"/>
                <a:gd name="T67" fmla="*/ 53 h 76"/>
                <a:gd name="T68" fmla="*/ 22 w 82"/>
                <a:gd name="T69" fmla="*/ 64 h 76"/>
                <a:gd name="T70" fmla="*/ 23 w 82"/>
                <a:gd name="T71" fmla="*/ 66 h 76"/>
                <a:gd name="T72" fmla="*/ 32 w 82"/>
                <a:gd name="T73" fmla="*/ 75 h 76"/>
                <a:gd name="T74" fmla="*/ 34 w 82"/>
                <a:gd name="T75" fmla="*/ 76 h 76"/>
                <a:gd name="T76" fmla="*/ 41 w 82"/>
                <a:gd name="T77" fmla="*/ 68 h 76"/>
                <a:gd name="T78" fmla="*/ 50 w 82"/>
                <a:gd name="T79" fmla="*/ 66 h 76"/>
                <a:gd name="T80" fmla="*/ 62 w 82"/>
                <a:gd name="T81" fmla="*/ 66 h 76"/>
                <a:gd name="T82" fmla="*/ 62 w 82"/>
                <a:gd name="T83" fmla="*/ 66 h 76"/>
                <a:gd name="T84" fmla="*/ 62 w 82"/>
                <a:gd name="T85" fmla="*/ 6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2" h="76">
                  <a:moveTo>
                    <a:pt x="62" y="66"/>
                  </a:moveTo>
                  <a:lnTo>
                    <a:pt x="62" y="66"/>
                  </a:lnTo>
                  <a:lnTo>
                    <a:pt x="62" y="62"/>
                  </a:lnTo>
                  <a:lnTo>
                    <a:pt x="64" y="60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4" y="53"/>
                  </a:lnTo>
                  <a:lnTo>
                    <a:pt x="62" y="48"/>
                  </a:lnTo>
                  <a:lnTo>
                    <a:pt x="62" y="44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6" y="41"/>
                  </a:lnTo>
                  <a:lnTo>
                    <a:pt x="73" y="43"/>
                  </a:lnTo>
                  <a:lnTo>
                    <a:pt x="78" y="43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2" y="41"/>
                  </a:lnTo>
                  <a:lnTo>
                    <a:pt x="80" y="39"/>
                  </a:lnTo>
                  <a:lnTo>
                    <a:pt x="80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3" y="36"/>
                  </a:lnTo>
                  <a:lnTo>
                    <a:pt x="73" y="34"/>
                  </a:lnTo>
                  <a:lnTo>
                    <a:pt x="73" y="28"/>
                  </a:lnTo>
                  <a:lnTo>
                    <a:pt x="73" y="25"/>
                  </a:lnTo>
                  <a:lnTo>
                    <a:pt x="71" y="23"/>
                  </a:lnTo>
                  <a:lnTo>
                    <a:pt x="71" y="23"/>
                  </a:lnTo>
                  <a:lnTo>
                    <a:pt x="71" y="23"/>
                  </a:lnTo>
                  <a:lnTo>
                    <a:pt x="70" y="21"/>
                  </a:lnTo>
                  <a:lnTo>
                    <a:pt x="70" y="20"/>
                  </a:lnTo>
                  <a:lnTo>
                    <a:pt x="71" y="18"/>
                  </a:lnTo>
                  <a:lnTo>
                    <a:pt x="66" y="12"/>
                  </a:lnTo>
                  <a:lnTo>
                    <a:pt x="61" y="14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7" y="18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43" y="20"/>
                  </a:lnTo>
                  <a:lnTo>
                    <a:pt x="39" y="20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2"/>
                  </a:lnTo>
                  <a:lnTo>
                    <a:pt x="29" y="4"/>
                  </a:lnTo>
                  <a:lnTo>
                    <a:pt x="23" y="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4" y="5"/>
                  </a:lnTo>
                  <a:lnTo>
                    <a:pt x="11" y="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9" y="32"/>
                  </a:lnTo>
                  <a:lnTo>
                    <a:pt x="11" y="37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6"/>
                  </a:lnTo>
                  <a:lnTo>
                    <a:pt x="11" y="48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8" y="60"/>
                  </a:lnTo>
                  <a:lnTo>
                    <a:pt x="22" y="64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9" y="68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41" y="68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5" y="66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2" y="6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48"/>
            <p:cNvSpPr>
              <a:spLocks/>
            </p:cNvSpPr>
            <p:nvPr/>
          </p:nvSpPr>
          <p:spPr bwMode="auto">
            <a:xfrm>
              <a:off x="690381" y="2444888"/>
              <a:ext cx="112381" cy="124361"/>
            </a:xfrm>
            <a:custGeom>
              <a:avLst/>
              <a:gdLst>
                <a:gd name="T0" fmla="*/ 4 w 197"/>
                <a:gd name="T1" fmla="*/ 69 h 218"/>
                <a:gd name="T2" fmla="*/ 14 w 197"/>
                <a:gd name="T3" fmla="*/ 72 h 218"/>
                <a:gd name="T4" fmla="*/ 30 w 197"/>
                <a:gd name="T5" fmla="*/ 94 h 218"/>
                <a:gd name="T6" fmla="*/ 23 w 197"/>
                <a:gd name="T7" fmla="*/ 101 h 218"/>
                <a:gd name="T8" fmla="*/ 16 w 197"/>
                <a:gd name="T9" fmla="*/ 115 h 218"/>
                <a:gd name="T10" fmla="*/ 27 w 197"/>
                <a:gd name="T11" fmla="*/ 128 h 218"/>
                <a:gd name="T12" fmla="*/ 30 w 197"/>
                <a:gd name="T13" fmla="*/ 136 h 218"/>
                <a:gd name="T14" fmla="*/ 27 w 197"/>
                <a:gd name="T15" fmla="*/ 144 h 218"/>
                <a:gd name="T16" fmla="*/ 29 w 197"/>
                <a:gd name="T17" fmla="*/ 160 h 218"/>
                <a:gd name="T18" fmla="*/ 52 w 197"/>
                <a:gd name="T19" fmla="*/ 161 h 218"/>
                <a:gd name="T20" fmla="*/ 73 w 197"/>
                <a:gd name="T21" fmla="*/ 170 h 218"/>
                <a:gd name="T22" fmla="*/ 84 w 197"/>
                <a:gd name="T23" fmla="*/ 184 h 218"/>
                <a:gd name="T24" fmla="*/ 91 w 197"/>
                <a:gd name="T25" fmla="*/ 211 h 218"/>
                <a:gd name="T26" fmla="*/ 107 w 197"/>
                <a:gd name="T27" fmla="*/ 211 h 218"/>
                <a:gd name="T28" fmla="*/ 132 w 197"/>
                <a:gd name="T29" fmla="*/ 204 h 218"/>
                <a:gd name="T30" fmla="*/ 157 w 197"/>
                <a:gd name="T31" fmla="*/ 184 h 218"/>
                <a:gd name="T32" fmla="*/ 153 w 197"/>
                <a:gd name="T33" fmla="*/ 179 h 218"/>
                <a:gd name="T34" fmla="*/ 139 w 197"/>
                <a:gd name="T35" fmla="*/ 181 h 218"/>
                <a:gd name="T36" fmla="*/ 137 w 197"/>
                <a:gd name="T37" fmla="*/ 163 h 218"/>
                <a:gd name="T38" fmla="*/ 130 w 197"/>
                <a:gd name="T39" fmla="*/ 149 h 218"/>
                <a:gd name="T40" fmla="*/ 128 w 197"/>
                <a:gd name="T41" fmla="*/ 140 h 218"/>
                <a:gd name="T42" fmla="*/ 135 w 197"/>
                <a:gd name="T43" fmla="*/ 119 h 218"/>
                <a:gd name="T44" fmla="*/ 128 w 197"/>
                <a:gd name="T45" fmla="*/ 104 h 218"/>
                <a:gd name="T46" fmla="*/ 130 w 197"/>
                <a:gd name="T47" fmla="*/ 103 h 218"/>
                <a:gd name="T48" fmla="*/ 135 w 197"/>
                <a:gd name="T49" fmla="*/ 97 h 218"/>
                <a:gd name="T50" fmla="*/ 142 w 197"/>
                <a:gd name="T51" fmla="*/ 94 h 218"/>
                <a:gd name="T52" fmla="*/ 157 w 197"/>
                <a:gd name="T53" fmla="*/ 101 h 218"/>
                <a:gd name="T54" fmla="*/ 178 w 197"/>
                <a:gd name="T55" fmla="*/ 88 h 218"/>
                <a:gd name="T56" fmla="*/ 174 w 197"/>
                <a:gd name="T57" fmla="*/ 78 h 218"/>
                <a:gd name="T58" fmla="*/ 176 w 197"/>
                <a:gd name="T59" fmla="*/ 60 h 218"/>
                <a:gd name="T60" fmla="*/ 197 w 197"/>
                <a:gd name="T61" fmla="*/ 44 h 218"/>
                <a:gd name="T62" fmla="*/ 196 w 197"/>
                <a:gd name="T63" fmla="*/ 14 h 218"/>
                <a:gd name="T64" fmla="*/ 183 w 197"/>
                <a:gd name="T65" fmla="*/ 14 h 218"/>
                <a:gd name="T66" fmla="*/ 164 w 197"/>
                <a:gd name="T67" fmla="*/ 16 h 218"/>
                <a:gd name="T68" fmla="*/ 153 w 197"/>
                <a:gd name="T69" fmla="*/ 3 h 218"/>
                <a:gd name="T70" fmla="*/ 139 w 197"/>
                <a:gd name="T71" fmla="*/ 1 h 218"/>
                <a:gd name="T72" fmla="*/ 132 w 197"/>
                <a:gd name="T73" fmla="*/ 12 h 218"/>
                <a:gd name="T74" fmla="*/ 112 w 197"/>
                <a:gd name="T75" fmla="*/ 16 h 218"/>
                <a:gd name="T76" fmla="*/ 117 w 197"/>
                <a:gd name="T77" fmla="*/ 19 h 218"/>
                <a:gd name="T78" fmla="*/ 105 w 197"/>
                <a:gd name="T79" fmla="*/ 17 h 218"/>
                <a:gd name="T80" fmla="*/ 96 w 197"/>
                <a:gd name="T81" fmla="*/ 28 h 218"/>
                <a:gd name="T82" fmla="*/ 91 w 197"/>
                <a:gd name="T83" fmla="*/ 33 h 218"/>
                <a:gd name="T84" fmla="*/ 91 w 197"/>
                <a:gd name="T85" fmla="*/ 40 h 218"/>
                <a:gd name="T86" fmla="*/ 85 w 197"/>
                <a:gd name="T87" fmla="*/ 40 h 218"/>
                <a:gd name="T88" fmla="*/ 68 w 197"/>
                <a:gd name="T89" fmla="*/ 46 h 218"/>
                <a:gd name="T90" fmla="*/ 53 w 197"/>
                <a:gd name="T91" fmla="*/ 32 h 218"/>
                <a:gd name="T92" fmla="*/ 41 w 197"/>
                <a:gd name="T93" fmla="*/ 21 h 218"/>
                <a:gd name="T94" fmla="*/ 30 w 197"/>
                <a:gd name="T95" fmla="*/ 17 h 218"/>
                <a:gd name="T96" fmla="*/ 14 w 197"/>
                <a:gd name="T97" fmla="*/ 19 h 218"/>
                <a:gd name="T98" fmla="*/ 4 w 197"/>
                <a:gd name="T99" fmla="*/ 28 h 218"/>
                <a:gd name="T100" fmla="*/ 23 w 197"/>
                <a:gd name="T101" fmla="*/ 44 h 218"/>
                <a:gd name="T102" fmla="*/ 27 w 197"/>
                <a:gd name="T103" fmla="*/ 58 h 218"/>
                <a:gd name="T104" fmla="*/ 5 w 197"/>
                <a:gd name="T105" fmla="*/ 48 h 218"/>
                <a:gd name="T106" fmla="*/ 0 w 197"/>
                <a:gd name="T107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218">
                  <a:moveTo>
                    <a:pt x="0" y="62"/>
                  </a:moveTo>
                  <a:lnTo>
                    <a:pt x="0" y="62"/>
                  </a:lnTo>
                  <a:lnTo>
                    <a:pt x="0" y="64"/>
                  </a:lnTo>
                  <a:lnTo>
                    <a:pt x="4" y="69"/>
                  </a:lnTo>
                  <a:lnTo>
                    <a:pt x="4" y="69"/>
                  </a:lnTo>
                  <a:lnTo>
                    <a:pt x="7" y="72"/>
                  </a:lnTo>
                  <a:lnTo>
                    <a:pt x="11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23" y="78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8"/>
                  </a:lnTo>
                  <a:lnTo>
                    <a:pt x="30" y="94"/>
                  </a:lnTo>
                  <a:lnTo>
                    <a:pt x="29" y="96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3" y="99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8" y="120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7" y="128"/>
                  </a:lnTo>
                  <a:lnTo>
                    <a:pt x="29" y="133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30" y="135"/>
                  </a:lnTo>
                  <a:lnTo>
                    <a:pt x="30" y="136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7" y="145"/>
                  </a:lnTo>
                  <a:lnTo>
                    <a:pt x="27" y="145"/>
                  </a:lnTo>
                  <a:lnTo>
                    <a:pt x="27" y="151"/>
                  </a:lnTo>
                  <a:lnTo>
                    <a:pt x="27" y="156"/>
                  </a:lnTo>
                  <a:lnTo>
                    <a:pt x="29" y="160"/>
                  </a:lnTo>
                  <a:lnTo>
                    <a:pt x="29" y="160"/>
                  </a:lnTo>
                  <a:lnTo>
                    <a:pt x="34" y="161"/>
                  </a:lnTo>
                  <a:lnTo>
                    <a:pt x="36" y="163"/>
                  </a:lnTo>
                  <a:lnTo>
                    <a:pt x="45" y="158"/>
                  </a:lnTo>
                  <a:lnTo>
                    <a:pt x="52" y="161"/>
                  </a:lnTo>
                  <a:lnTo>
                    <a:pt x="59" y="165"/>
                  </a:lnTo>
                  <a:lnTo>
                    <a:pt x="68" y="156"/>
                  </a:lnTo>
                  <a:lnTo>
                    <a:pt x="68" y="156"/>
                  </a:lnTo>
                  <a:lnTo>
                    <a:pt x="69" y="160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5" y="176"/>
                  </a:lnTo>
                  <a:lnTo>
                    <a:pt x="78" y="179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4" y="197"/>
                  </a:lnTo>
                  <a:lnTo>
                    <a:pt x="87" y="202"/>
                  </a:lnTo>
                  <a:lnTo>
                    <a:pt x="87" y="208"/>
                  </a:lnTo>
                  <a:lnTo>
                    <a:pt x="87" y="208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6" y="211"/>
                  </a:lnTo>
                  <a:lnTo>
                    <a:pt x="101" y="211"/>
                  </a:lnTo>
                  <a:lnTo>
                    <a:pt x="101" y="218"/>
                  </a:lnTo>
                  <a:lnTo>
                    <a:pt x="107" y="211"/>
                  </a:lnTo>
                  <a:lnTo>
                    <a:pt x="112" y="204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32" y="204"/>
                  </a:lnTo>
                  <a:lnTo>
                    <a:pt x="132" y="204"/>
                  </a:lnTo>
                  <a:lnTo>
                    <a:pt x="132" y="202"/>
                  </a:lnTo>
                  <a:lnTo>
                    <a:pt x="135" y="200"/>
                  </a:lnTo>
                  <a:lnTo>
                    <a:pt x="146" y="197"/>
                  </a:lnTo>
                  <a:lnTo>
                    <a:pt x="157" y="184"/>
                  </a:lnTo>
                  <a:lnTo>
                    <a:pt x="157" y="184"/>
                  </a:lnTo>
                  <a:lnTo>
                    <a:pt x="158" y="184"/>
                  </a:lnTo>
                  <a:lnTo>
                    <a:pt x="158" y="181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3" y="179"/>
                  </a:lnTo>
                  <a:lnTo>
                    <a:pt x="148" y="181"/>
                  </a:lnTo>
                  <a:lnTo>
                    <a:pt x="148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39" y="181"/>
                  </a:lnTo>
                  <a:lnTo>
                    <a:pt x="137" y="177"/>
                  </a:lnTo>
                  <a:lnTo>
                    <a:pt x="139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37" y="163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0" y="156"/>
                  </a:lnTo>
                  <a:lnTo>
                    <a:pt x="130" y="156"/>
                  </a:lnTo>
                  <a:lnTo>
                    <a:pt x="130" y="149"/>
                  </a:lnTo>
                  <a:lnTo>
                    <a:pt x="130" y="145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0"/>
                  </a:lnTo>
                  <a:lnTo>
                    <a:pt x="132" y="135"/>
                  </a:lnTo>
                  <a:lnTo>
                    <a:pt x="132" y="135"/>
                  </a:lnTo>
                  <a:lnTo>
                    <a:pt x="133" y="129"/>
                  </a:lnTo>
                  <a:lnTo>
                    <a:pt x="135" y="126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2" y="113"/>
                  </a:lnTo>
                  <a:lnTo>
                    <a:pt x="130" y="108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6" y="104"/>
                  </a:lnTo>
                  <a:lnTo>
                    <a:pt x="126" y="104"/>
                  </a:lnTo>
                  <a:lnTo>
                    <a:pt x="128" y="103"/>
                  </a:lnTo>
                  <a:lnTo>
                    <a:pt x="130" y="103"/>
                  </a:lnTo>
                  <a:lnTo>
                    <a:pt x="130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5" y="97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9" y="99"/>
                  </a:lnTo>
                  <a:lnTo>
                    <a:pt x="139" y="97"/>
                  </a:lnTo>
                  <a:lnTo>
                    <a:pt x="142" y="94"/>
                  </a:lnTo>
                  <a:lnTo>
                    <a:pt x="142" y="94"/>
                  </a:lnTo>
                  <a:lnTo>
                    <a:pt x="146" y="96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57" y="101"/>
                  </a:lnTo>
                  <a:lnTo>
                    <a:pt x="164" y="103"/>
                  </a:lnTo>
                  <a:lnTo>
                    <a:pt x="164" y="103"/>
                  </a:lnTo>
                  <a:lnTo>
                    <a:pt x="176" y="90"/>
                  </a:lnTo>
                  <a:lnTo>
                    <a:pt x="176" y="90"/>
                  </a:lnTo>
                  <a:lnTo>
                    <a:pt x="178" y="88"/>
                  </a:lnTo>
                  <a:lnTo>
                    <a:pt x="178" y="87"/>
                  </a:lnTo>
                  <a:lnTo>
                    <a:pt x="176" y="83"/>
                  </a:lnTo>
                  <a:lnTo>
                    <a:pt x="176" y="81"/>
                  </a:lnTo>
                  <a:lnTo>
                    <a:pt x="174" y="78"/>
                  </a:lnTo>
                  <a:lnTo>
                    <a:pt x="174" y="78"/>
                  </a:lnTo>
                  <a:lnTo>
                    <a:pt x="174" y="72"/>
                  </a:lnTo>
                  <a:lnTo>
                    <a:pt x="174" y="64"/>
                  </a:lnTo>
                  <a:lnTo>
                    <a:pt x="174" y="64"/>
                  </a:lnTo>
                  <a:lnTo>
                    <a:pt x="174" y="64"/>
                  </a:lnTo>
                  <a:lnTo>
                    <a:pt x="176" y="60"/>
                  </a:lnTo>
                  <a:lnTo>
                    <a:pt x="183" y="56"/>
                  </a:lnTo>
                  <a:lnTo>
                    <a:pt x="196" y="48"/>
                  </a:lnTo>
                  <a:lnTo>
                    <a:pt x="196" y="48"/>
                  </a:lnTo>
                  <a:lnTo>
                    <a:pt x="197" y="48"/>
                  </a:lnTo>
                  <a:lnTo>
                    <a:pt x="197" y="44"/>
                  </a:lnTo>
                  <a:lnTo>
                    <a:pt x="197" y="39"/>
                  </a:lnTo>
                  <a:lnTo>
                    <a:pt x="196" y="26"/>
                  </a:lnTo>
                  <a:lnTo>
                    <a:pt x="196" y="26"/>
                  </a:lnTo>
                  <a:lnTo>
                    <a:pt x="196" y="19"/>
                  </a:lnTo>
                  <a:lnTo>
                    <a:pt x="196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0" y="14"/>
                  </a:lnTo>
                  <a:lnTo>
                    <a:pt x="187" y="14"/>
                  </a:lnTo>
                  <a:lnTo>
                    <a:pt x="183" y="14"/>
                  </a:lnTo>
                  <a:lnTo>
                    <a:pt x="183" y="14"/>
                  </a:lnTo>
                  <a:lnTo>
                    <a:pt x="171" y="17"/>
                  </a:lnTo>
                  <a:lnTo>
                    <a:pt x="167" y="17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58" y="14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5"/>
                  </a:lnTo>
                  <a:lnTo>
                    <a:pt x="153" y="3"/>
                  </a:lnTo>
                  <a:lnTo>
                    <a:pt x="151" y="1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2" y="1"/>
                  </a:lnTo>
                  <a:lnTo>
                    <a:pt x="139" y="1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5" y="8"/>
                  </a:lnTo>
                  <a:lnTo>
                    <a:pt x="117" y="5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9"/>
                  </a:lnTo>
                  <a:lnTo>
                    <a:pt x="117" y="19"/>
                  </a:lnTo>
                  <a:lnTo>
                    <a:pt x="117" y="19"/>
                  </a:lnTo>
                  <a:lnTo>
                    <a:pt x="114" y="21"/>
                  </a:lnTo>
                  <a:lnTo>
                    <a:pt x="112" y="19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5" y="17"/>
                  </a:lnTo>
                  <a:lnTo>
                    <a:pt x="101" y="19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6" y="24"/>
                  </a:lnTo>
                  <a:lnTo>
                    <a:pt x="96" y="28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3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2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4"/>
                  </a:lnTo>
                  <a:lnTo>
                    <a:pt x="68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2" y="39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1" y="21"/>
                  </a:lnTo>
                  <a:lnTo>
                    <a:pt x="37" y="23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4" y="21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16" y="17"/>
                  </a:lnTo>
                  <a:lnTo>
                    <a:pt x="14" y="19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1" y="23"/>
                  </a:lnTo>
                  <a:lnTo>
                    <a:pt x="7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9" y="35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23" y="44"/>
                  </a:lnTo>
                  <a:lnTo>
                    <a:pt x="27" y="49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3" y="58"/>
                  </a:lnTo>
                  <a:lnTo>
                    <a:pt x="18" y="58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5" y="48"/>
                  </a:lnTo>
                  <a:lnTo>
                    <a:pt x="5" y="60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49"/>
            <p:cNvSpPr>
              <a:spLocks/>
            </p:cNvSpPr>
            <p:nvPr/>
          </p:nvSpPr>
          <p:spPr bwMode="auto">
            <a:xfrm>
              <a:off x="659005" y="2598913"/>
              <a:ext cx="41644" cy="33087"/>
            </a:xfrm>
            <a:custGeom>
              <a:avLst/>
              <a:gdLst>
                <a:gd name="T0" fmla="*/ 59 w 73"/>
                <a:gd name="T1" fmla="*/ 58 h 58"/>
                <a:gd name="T2" fmla="*/ 62 w 73"/>
                <a:gd name="T3" fmla="*/ 57 h 58"/>
                <a:gd name="T4" fmla="*/ 64 w 73"/>
                <a:gd name="T5" fmla="*/ 50 h 58"/>
                <a:gd name="T6" fmla="*/ 64 w 73"/>
                <a:gd name="T7" fmla="*/ 44 h 58"/>
                <a:gd name="T8" fmla="*/ 69 w 73"/>
                <a:gd name="T9" fmla="*/ 41 h 58"/>
                <a:gd name="T10" fmla="*/ 73 w 73"/>
                <a:gd name="T11" fmla="*/ 39 h 58"/>
                <a:gd name="T12" fmla="*/ 73 w 73"/>
                <a:gd name="T13" fmla="*/ 39 h 58"/>
                <a:gd name="T14" fmla="*/ 73 w 73"/>
                <a:gd name="T15" fmla="*/ 37 h 58"/>
                <a:gd name="T16" fmla="*/ 68 w 73"/>
                <a:gd name="T17" fmla="*/ 30 h 58"/>
                <a:gd name="T18" fmla="*/ 66 w 73"/>
                <a:gd name="T19" fmla="*/ 26 h 58"/>
                <a:gd name="T20" fmla="*/ 55 w 73"/>
                <a:gd name="T21" fmla="*/ 23 h 58"/>
                <a:gd name="T22" fmla="*/ 50 w 73"/>
                <a:gd name="T23" fmla="*/ 21 h 58"/>
                <a:gd name="T24" fmla="*/ 46 w 73"/>
                <a:gd name="T25" fmla="*/ 7 h 58"/>
                <a:gd name="T26" fmla="*/ 44 w 73"/>
                <a:gd name="T27" fmla="*/ 3 h 58"/>
                <a:gd name="T28" fmla="*/ 30 w 73"/>
                <a:gd name="T29" fmla="*/ 0 h 58"/>
                <a:gd name="T30" fmla="*/ 28 w 73"/>
                <a:gd name="T31" fmla="*/ 0 h 58"/>
                <a:gd name="T32" fmla="*/ 28 w 73"/>
                <a:gd name="T33" fmla="*/ 0 h 58"/>
                <a:gd name="T34" fmla="*/ 16 w 73"/>
                <a:gd name="T35" fmla="*/ 0 h 58"/>
                <a:gd name="T36" fmla="*/ 7 w 73"/>
                <a:gd name="T37" fmla="*/ 2 h 58"/>
                <a:gd name="T38" fmla="*/ 0 w 73"/>
                <a:gd name="T39" fmla="*/ 10 h 58"/>
                <a:gd name="T40" fmla="*/ 2 w 73"/>
                <a:gd name="T41" fmla="*/ 16 h 58"/>
                <a:gd name="T42" fmla="*/ 2 w 73"/>
                <a:gd name="T43" fmla="*/ 18 h 58"/>
                <a:gd name="T44" fmla="*/ 5 w 73"/>
                <a:gd name="T45" fmla="*/ 19 h 58"/>
                <a:gd name="T46" fmla="*/ 7 w 73"/>
                <a:gd name="T47" fmla="*/ 26 h 58"/>
                <a:gd name="T48" fmla="*/ 7 w 73"/>
                <a:gd name="T49" fmla="*/ 35 h 58"/>
                <a:gd name="T50" fmla="*/ 9 w 73"/>
                <a:gd name="T51" fmla="*/ 48 h 58"/>
                <a:gd name="T52" fmla="*/ 14 w 73"/>
                <a:gd name="T53" fmla="*/ 51 h 58"/>
                <a:gd name="T54" fmla="*/ 23 w 73"/>
                <a:gd name="T55" fmla="*/ 50 h 58"/>
                <a:gd name="T56" fmla="*/ 36 w 73"/>
                <a:gd name="T57" fmla="*/ 48 h 58"/>
                <a:gd name="T58" fmla="*/ 41 w 73"/>
                <a:gd name="T59" fmla="*/ 50 h 58"/>
                <a:gd name="T60" fmla="*/ 50 w 73"/>
                <a:gd name="T61" fmla="*/ 55 h 58"/>
                <a:gd name="T62" fmla="*/ 59 w 73"/>
                <a:gd name="T63" fmla="*/ 58 h 58"/>
                <a:gd name="T64" fmla="*/ 59 w 73"/>
                <a:gd name="T6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" h="58">
                  <a:moveTo>
                    <a:pt x="59" y="58"/>
                  </a:moveTo>
                  <a:lnTo>
                    <a:pt x="59" y="58"/>
                  </a:lnTo>
                  <a:lnTo>
                    <a:pt x="60" y="58"/>
                  </a:lnTo>
                  <a:lnTo>
                    <a:pt x="62" y="57"/>
                  </a:lnTo>
                  <a:lnTo>
                    <a:pt x="64" y="55"/>
                  </a:lnTo>
                  <a:lnTo>
                    <a:pt x="64" y="5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6" y="42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7"/>
                  </a:lnTo>
                  <a:lnTo>
                    <a:pt x="69" y="34"/>
                  </a:lnTo>
                  <a:lnTo>
                    <a:pt x="68" y="30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59" y="26"/>
                  </a:lnTo>
                  <a:lnTo>
                    <a:pt x="55" y="23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46" y="14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4" y="3"/>
                  </a:lnTo>
                  <a:lnTo>
                    <a:pt x="41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7" y="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32"/>
                  </a:lnTo>
                  <a:lnTo>
                    <a:pt x="7" y="35"/>
                  </a:lnTo>
                  <a:lnTo>
                    <a:pt x="9" y="42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23" y="50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7" y="48"/>
                  </a:lnTo>
                  <a:lnTo>
                    <a:pt x="41" y="50"/>
                  </a:lnTo>
                  <a:lnTo>
                    <a:pt x="46" y="51"/>
                  </a:lnTo>
                  <a:lnTo>
                    <a:pt x="50" y="55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50"/>
            <p:cNvSpPr>
              <a:spLocks/>
            </p:cNvSpPr>
            <p:nvPr/>
          </p:nvSpPr>
          <p:spPr bwMode="auto">
            <a:xfrm>
              <a:off x="706924" y="2533880"/>
              <a:ext cx="111241" cy="115804"/>
            </a:xfrm>
            <a:custGeom>
              <a:avLst/>
              <a:gdLst>
                <a:gd name="T0" fmla="*/ 142 w 195"/>
                <a:gd name="T1" fmla="*/ 144 h 203"/>
                <a:gd name="T2" fmla="*/ 144 w 195"/>
                <a:gd name="T3" fmla="*/ 128 h 203"/>
                <a:gd name="T4" fmla="*/ 156 w 195"/>
                <a:gd name="T5" fmla="*/ 133 h 203"/>
                <a:gd name="T6" fmla="*/ 160 w 195"/>
                <a:gd name="T7" fmla="*/ 132 h 203"/>
                <a:gd name="T8" fmla="*/ 168 w 195"/>
                <a:gd name="T9" fmla="*/ 132 h 203"/>
                <a:gd name="T10" fmla="*/ 170 w 195"/>
                <a:gd name="T11" fmla="*/ 130 h 203"/>
                <a:gd name="T12" fmla="*/ 176 w 195"/>
                <a:gd name="T13" fmla="*/ 123 h 203"/>
                <a:gd name="T14" fmla="*/ 170 w 195"/>
                <a:gd name="T15" fmla="*/ 114 h 203"/>
                <a:gd name="T16" fmla="*/ 177 w 195"/>
                <a:gd name="T17" fmla="*/ 89 h 203"/>
                <a:gd name="T18" fmla="*/ 188 w 195"/>
                <a:gd name="T19" fmla="*/ 89 h 203"/>
                <a:gd name="T20" fmla="*/ 195 w 195"/>
                <a:gd name="T21" fmla="*/ 87 h 203"/>
                <a:gd name="T22" fmla="*/ 181 w 195"/>
                <a:gd name="T23" fmla="*/ 85 h 203"/>
                <a:gd name="T24" fmla="*/ 172 w 195"/>
                <a:gd name="T25" fmla="*/ 76 h 203"/>
                <a:gd name="T26" fmla="*/ 179 w 195"/>
                <a:gd name="T27" fmla="*/ 48 h 203"/>
                <a:gd name="T28" fmla="*/ 183 w 195"/>
                <a:gd name="T29" fmla="*/ 46 h 203"/>
                <a:gd name="T30" fmla="*/ 177 w 195"/>
                <a:gd name="T31" fmla="*/ 39 h 203"/>
                <a:gd name="T32" fmla="*/ 176 w 195"/>
                <a:gd name="T33" fmla="*/ 20 h 203"/>
                <a:gd name="T34" fmla="*/ 170 w 195"/>
                <a:gd name="T35" fmla="*/ 18 h 203"/>
                <a:gd name="T36" fmla="*/ 161 w 195"/>
                <a:gd name="T37" fmla="*/ 20 h 203"/>
                <a:gd name="T38" fmla="*/ 158 w 195"/>
                <a:gd name="T39" fmla="*/ 14 h 203"/>
                <a:gd name="T40" fmla="*/ 161 w 195"/>
                <a:gd name="T41" fmla="*/ 5 h 203"/>
                <a:gd name="T42" fmla="*/ 158 w 195"/>
                <a:gd name="T43" fmla="*/ 4 h 203"/>
                <a:gd name="T44" fmla="*/ 151 w 195"/>
                <a:gd name="T45" fmla="*/ 11 h 203"/>
                <a:gd name="T46" fmla="*/ 145 w 195"/>
                <a:gd name="T47" fmla="*/ 12 h 203"/>
                <a:gd name="T48" fmla="*/ 138 w 195"/>
                <a:gd name="T49" fmla="*/ 5 h 203"/>
                <a:gd name="T50" fmla="*/ 129 w 195"/>
                <a:gd name="T51" fmla="*/ 5 h 203"/>
                <a:gd name="T52" fmla="*/ 120 w 195"/>
                <a:gd name="T53" fmla="*/ 5 h 203"/>
                <a:gd name="T54" fmla="*/ 110 w 195"/>
                <a:gd name="T55" fmla="*/ 25 h 203"/>
                <a:gd name="T56" fmla="*/ 119 w 195"/>
                <a:gd name="T57" fmla="*/ 25 h 203"/>
                <a:gd name="T58" fmla="*/ 129 w 195"/>
                <a:gd name="T59" fmla="*/ 25 h 203"/>
                <a:gd name="T60" fmla="*/ 117 w 195"/>
                <a:gd name="T61" fmla="*/ 41 h 203"/>
                <a:gd name="T62" fmla="*/ 103 w 195"/>
                <a:gd name="T63" fmla="*/ 48 h 203"/>
                <a:gd name="T64" fmla="*/ 72 w 195"/>
                <a:gd name="T65" fmla="*/ 62 h 203"/>
                <a:gd name="T66" fmla="*/ 62 w 195"/>
                <a:gd name="T67" fmla="*/ 55 h 203"/>
                <a:gd name="T68" fmla="*/ 58 w 195"/>
                <a:gd name="T69" fmla="*/ 46 h 203"/>
                <a:gd name="T70" fmla="*/ 49 w 195"/>
                <a:gd name="T71" fmla="*/ 23 h 203"/>
                <a:gd name="T72" fmla="*/ 40 w 195"/>
                <a:gd name="T73" fmla="*/ 4 h 203"/>
                <a:gd name="T74" fmla="*/ 16 w 195"/>
                <a:gd name="T75" fmla="*/ 2 h 203"/>
                <a:gd name="T76" fmla="*/ 0 w 195"/>
                <a:gd name="T77" fmla="*/ 4 h 203"/>
                <a:gd name="T78" fmla="*/ 5 w 195"/>
                <a:gd name="T79" fmla="*/ 7 h 203"/>
                <a:gd name="T80" fmla="*/ 14 w 195"/>
                <a:gd name="T81" fmla="*/ 20 h 203"/>
                <a:gd name="T82" fmla="*/ 21 w 195"/>
                <a:gd name="T83" fmla="*/ 27 h 203"/>
                <a:gd name="T84" fmla="*/ 30 w 195"/>
                <a:gd name="T85" fmla="*/ 32 h 203"/>
                <a:gd name="T86" fmla="*/ 46 w 195"/>
                <a:gd name="T87" fmla="*/ 41 h 203"/>
                <a:gd name="T88" fmla="*/ 58 w 195"/>
                <a:gd name="T89" fmla="*/ 69 h 203"/>
                <a:gd name="T90" fmla="*/ 55 w 195"/>
                <a:gd name="T91" fmla="*/ 85 h 203"/>
                <a:gd name="T92" fmla="*/ 56 w 195"/>
                <a:gd name="T93" fmla="*/ 107 h 203"/>
                <a:gd name="T94" fmla="*/ 69 w 195"/>
                <a:gd name="T95" fmla="*/ 148 h 203"/>
                <a:gd name="T96" fmla="*/ 67 w 195"/>
                <a:gd name="T97" fmla="*/ 155 h 203"/>
                <a:gd name="T98" fmla="*/ 81 w 195"/>
                <a:gd name="T99" fmla="*/ 174 h 203"/>
                <a:gd name="T100" fmla="*/ 94 w 195"/>
                <a:gd name="T101" fmla="*/ 196 h 203"/>
                <a:gd name="T102" fmla="*/ 101 w 195"/>
                <a:gd name="T103" fmla="*/ 203 h 203"/>
                <a:gd name="T104" fmla="*/ 117 w 195"/>
                <a:gd name="T105" fmla="*/ 196 h 203"/>
                <a:gd name="T106" fmla="*/ 138 w 195"/>
                <a:gd name="T107" fmla="*/ 174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203">
                  <a:moveTo>
                    <a:pt x="138" y="174"/>
                  </a:moveTo>
                  <a:lnTo>
                    <a:pt x="124" y="165"/>
                  </a:lnTo>
                  <a:lnTo>
                    <a:pt x="149" y="153"/>
                  </a:lnTo>
                  <a:lnTo>
                    <a:pt x="142" y="144"/>
                  </a:lnTo>
                  <a:lnTo>
                    <a:pt x="144" y="140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4" y="128"/>
                  </a:lnTo>
                  <a:lnTo>
                    <a:pt x="147" y="128"/>
                  </a:lnTo>
                  <a:lnTo>
                    <a:pt x="151" y="132"/>
                  </a:lnTo>
                  <a:lnTo>
                    <a:pt x="151" y="132"/>
                  </a:lnTo>
                  <a:lnTo>
                    <a:pt x="156" y="133"/>
                  </a:lnTo>
                  <a:lnTo>
                    <a:pt x="158" y="133"/>
                  </a:lnTo>
                  <a:lnTo>
                    <a:pt x="158" y="133"/>
                  </a:lnTo>
                  <a:lnTo>
                    <a:pt x="158" y="133"/>
                  </a:lnTo>
                  <a:lnTo>
                    <a:pt x="160" y="132"/>
                  </a:lnTo>
                  <a:lnTo>
                    <a:pt x="161" y="130"/>
                  </a:lnTo>
                  <a:lnTo>
                    <a:pt x="163" y="130"/>
                  </a:lnTo>
                  <a:lnTo>
                    <a:pt x="163" y="130"/>
                  </a:lnTo>
                  <a:lnTo>
                    <a:pt x="168" y="132"/>
                  </a:lnTo>
                  <a:lnTo>
                    <a:pt x="170" y="132"/>
                  </a:lnTo>
                  <a:lnTo>
                    <a:pt x="170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72" y="128"/>
                  </a:lnTo>
                  <a:lnTo>
                    <a:pt x="176" y="126"/>
                  </a:lnTo>
                  <a:lnTo>
                    <a:pt x="176" y="124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0" y="114"/>
                  </a:lnTo>
                  <a:lnTo>
                    <a:pt x="170" y="114"/>
                  </a:lnTo>
                  <a:lnTo>
                    <a:pt x="172" y="101"/>
                  </a:lnTo>
                  <a:lnTo>
                    <a:pt x="176" y="92"/>
                  </a:lnTo>
                  <a:lnTo>
                    <a:pt x="177" y="89"/>
                  </a:lnTo>
                  <a:lnTo>
                    <a:pt x="177" y="89"/>
                  </a:lnTo>
                  <a:lnTo>
                    <a:pt x="179" y="89"/>
                  </a:lnTo>
                  <a:lnTo>
                    <a:pt x="184" y="89"/>
                  </a:lnTo>
                  <a:lnTo>
                    <a:pt x="188" y="89"/>
                  </a:lnTo>
                  <a:lnTo>
                    <a:pt x="192" y="89"/>
                  </a:lnTo>
                  <a:lnTo>
                    <a:pt x="192" y="89"/>
                  </a:lnTo>
                  <a:lnTo>
                    <a:pt x="195" y="89"/>
                  </a:lnTo>
                  <a:lnTo>
                    <a:pt x="195" y="87"/>
                  </a:lnTo>
                  <a:lnTo>
                    <a:pt x="195" y="85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81" y="85"/>
                  </a:lnTo>
                  <a:lnTo>
                    <a:pt x="176" y="84"/>
                  </a:lnTo>
                  <a:lnTo>
                    <a:pt x="176" y="82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76" y="62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9" y="48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46"/>
                  </a:lnTo>
                  <a:lnTo>
                    <a:pt x="183" y="46"/>
                  </a:lnTo>
                  <a:lnTo>
                    <a:pt x="183" y="44"/>
                  </a:lnTo>
                  <a:lnTo>
                    <a:pt x="181" y="44"/>
                  </a:lnTo>
                  <a:lnTo>
                    <a:pt x="179" y="43"/>
                  </a:lnTo>
                  <a:lnTo>
                    <a:pt x="177" y="39"/>
                  </a:lnTo>
                  <a:lnTo>
                    <a:pt x="177" y="39"/>
                  </a:lnTo>
                  <a:lnTo>
                    <a:pt x="176" y="25"/>
                  </a:lnTo>
                  <a:lnTo>
                    <a:pt x="176" y="20"/>
                  </a:lnTo>
                  <a:lnTo>
                    <a:pt x="176" y="20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20"/>
                  </a:lnTo>
                  <a:lnTo>
                    <a:pt x="167" y="20"/>
                  </a:lnTo>
                  <a:lnTo>
                    <a:pt x="163" y="21"/>
                  </a:lnTo>
                  <a:lnTo>
                    <a:pt x="161" y="20"/>
                  </a:lnTo>
                  <a:lnTo>
                    <a:pt x="161" y="20"/>
                  </a:lnTo>
                  <a:lnTo>
                    <a:pt x="161" y="20"/>
                  </a:lnTo>
                  <a:lnTo>
                    <a:pt x="158" y="18"/>
                  </a:lnTo>
                  <a:lnTo>
                    <a:pt x="158" y="14"/>
                  </a:lnTo>
                  <a:lnTo>
                    <a:pt x="160" y="12"/>
                  </a:lnTo>
                  <a:lnTo>
                    <a:pt x="160" y="12"/>
                  </a:lnTo>
                  <a:lnTo>
                    <a:pt x="161" y="9"/>
                  </a:lnTo>
                  <a:lnTo>
                    <a:pt x="161" y="5"/>
                  </a:lnTo>
                  <a:lnTo>
                    <a:pt x="161" y="4"/>
                  </a:lnTo>
                  <a:lnTo>
                    <a:pt x="160" y="2"/>
                  </a:lnTo>
                  <a:lnTo>
                    <a:pt x="160" y="2"/>
                  </a:lnTo>
                  <a:lnTo>
                    <a:pt x="158" y="4"/>
                  </a:lnTo>
                  <a:lnTo>
                    <a:pt x="154" y="4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11"/>
                  </a:lnTo>
                  <a:lnTo>
                    <a:pt x="149" y="12"/>
                  </a:lnTo>
                  <a:lnTo>
                    <a:pt x="147" y="12"/>
                  </a:lnTo>
                  <a:lnTo>
                    <a:pt x="147" y="12"/>
                  </a:lnTo>
                  <a:lnTo>
                    <a:pt x="145" y="12"/>
                  </a:lnTo>
                  <a:lnTo>
                    <a:pt x="144" y="9"/>
                  </a:lnTo>
                  <a:lnTo>
                    <a:pt x="138" y="5"/>
                  </a:lnTo>
                  <a:lnTo>
                    <a:pt x="138" y="5"/>
                  </a:lnTo>
                  <a:lnTo>
                    <a:pt x="138" y="5"/>
                  </a:lnTo>
                  <a:lnTo>
                    <a:pt x="136" y="5"/>
                  </a:lnTo>
                  <a:lnTo>
                    <a:pt x="135" y="7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4" y="5"/>
                  </a:lnTo>
                  <a:lnTo>
                    <a:pt x="122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10" y="11"/>
                  </a:lnTo>
                  <a:lnTo>
                    <a:pt x="108" y="21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24" y="23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9" y="25"/>
                  </a:lnTo>
                  <a:lnTo>
                    <a:pt x="129" y="28"/>
                  </a:lnTo>
                  <a:lnTo>
                    <a:pt x="128" y="28"/>
                  </a:lnTo>
                  <a:lnTo>
                    <a:pt x="128" y="28"/>
                  </a:lnTo>
                  <a:lnTo>
                    <a:pt x="117" y="41"/>
                  </a:lnTo>
                  <a:lnTo>
                    <a:pt x="106" y="44"/>
                  </a:lnTo>
                  <a:lnTo>
                    <a:pt x="103" y="46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96" y="46"/>
                  </a:lnTo>
                  <a:lnTo>
                    <a:pt x="83" y="48"/>
                  </a:lnTo>
                  <a:lnTo>
                    <a:pt x="78" y="55"/>
                  </a:lnTo>
                  <a:lnTo>
                    <a:pt x="72" y="62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67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46"/>
                  </a:lnTo>
                  <a:lnTo>
                    <a:pt x="55" y="41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49" y="23"/>
                  </a:lnTo>
                  <a:lnTo>
                    <a:pt x="46" y="20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0" y="4"/>
                  </a:lnTo>
                  <a:lnTo>
                    <a:pt x="39" y="0"/>
                  </a:lnTo>
                  <a:lnTo>
                    <a:pt x="30" y="9"/>
                  </a:lnTo>
                  <a:lnTo>
                    <a:pt x="23" y="5"/>
                  </a:lnTo>
                  <a:lnTo>
                    <a:pt x="16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5" y="7"/>
                  </a:lnTo>
                  <a:lnTo>
                    <a:pt x="7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4" y="20"/>
                  </a:lnTo>
                  <a:lnTo>
                    <a:pt x="17" y="21"/>
                  </a:lnTo>
                  <a:lnTo>
                    <a:pt x="21" y="20"/>
                  </a:lnTo>
                  <a:lnTo>
                    <a:pt x="26" y="21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30" y="32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6" y="36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53" y="53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73"/>
                  </a:lnTo>
                  <a:lnTo>
                    <a:pt x="58" y="76"/>
                  </a:lnTo>
                  <a:lnTo>
                    <a:pt x="55" y="82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9"/>
                  </a:lnTo>
                  <a:lnTo>
                    <a:pt x="55" y="96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9" y="148"/>
                  </a:lnTo>
                  <a:lnTo>
                    <a:pt x="69" y="151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76" y="162"/>
                  </a:lnTo>
                  <a:lnTo>
                    <a:pt x="80" y="169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8" y="185"/>
                  </a:lnTo>
                  <a:lnTo>
                    <a:pt x="94" y="196"/>
                  </a:lnTo>
                  <a:lnTo>
                    <a:pt x="94" y="196"/>
                  </a:lnTo>
                  <a:lnTo>
                    <a:pt x="96" y="197"/>
                  </a:lnTo>
                  <a:lnTo>
                    <a:pt x="97" y="203"/>
                  </a:lnTo>
                  <a:lnTo>
                    <a:pt x="97" y="203"/>
                  </a:lnTo>
                  <a:lnTo>
                    <a:pt x="101" y="203"/>
                  </a:lnTo>
                  <a:lnTo>
                    <a:pt x="104" y="203"/>
                  </a:lnTo>
                  <a:lnTo>
                    <a:pt x="104" y="203"/>
                  </a:lnTo>
                  <a:lnTo>
                    <a:pt x="117" y="196"/>
                  </a:lnTo>
                  <a:lnTo>
                    <a:pt x="117" y="196"/>
                  </a:lnTo>
                  <a:lnTo>
                    <a:pt x="128" y="188"/>
                  </a:lnTo>
                  <a:lnTo>
                    <a:pt x="138" y="185"/>
                  </a:lnTo>
                  <a:lnTo>
                    <a:pt x="138" y="185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38" y="17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51"/>
            <p:cNvSpPr>
              <a:spLocks/>
            </p:cNvSpPr>
            <p:nvPr/>
          </p:nvSpPr>
          <p:spPr bwMode="auto">
            <a:xfrm>
              <a:off x="2126239" y="2620020"/>
              <a:ext cx="299494" cy="199663"/>
            </a:xfrm>
            <a:custGeom>
              <a:avLst/>
              <a:gdLst>
                <a:gd name="T0" fmla="*/ 509 w 525"/>
                <a:gd name="T1" fmla="*/ 302 h 350"/>
                <a:gd name="T2" fmla="*/ 491 w 525"/>
                <a:gd name="T3" fmla="*/ 270 h 350"/>
                <a:gd name="T4" fmla="*/ 470 w 525"/>
                <a:gd name="T5" fmla="*/ 265 h 350"/>
                <a:gd name="T6" fmla="*/ 452 w 525"/>
                <a:gd name="T7" fmla="*/ 263 h 350"/>
                <a:gd name="T8" fmla="*/ 448 w 525"/>
                <a:gd name="T9" fmla="*/ 249 h 350"/>
                <a:gd name="T10" fmla="*/ 447 w 525"/>
                <a:gd name="T11" fmla="*/ 242 h 350"/>
                <a:gd name="T12" fmla="*/ 447 w 525"/>
                <a:gd name="T13" fmla="*/ 226 h 350"/>
                <a:gd name="T14" fmla="*/ 461 w 525"/>
                <a:gd name="T15" fmla="*/ 219 h 350"/>
                <a:gd name="T16" fmla="*/ 448 w 525"/>
                <a:gd name="T17" fmla="*/ 204 h 350"/>
                <a:gd name="T18" fmla="*/ 470 w 525"/>
                <a:gd name="T19" fmla="*/ 188 h 350"/>
                <a:gd name="T20" fmla="*/ 475 w 525"/>
                <a:gd name="T21" fmla="*/ 169 h 350"/>
                <a:gd name="T22" fmla="*/ 496 w 525"/>
                <a:gd name="T23" fmla="*/ 148 h 350"/>
                <a:gd name="T24" fmla="*/ 486 w 525"/>
                <a:gd name="T25" fmla="*/ 137 h 350"/>
                <a:gd name="T26" fmla="*/ 489 w 525"/>
                <a:gd name="T27" fmla="*/ 125 h 350"/>
                <a:gd name="T28" fmla="*/ 525 w 525"/>
                <a:gd name="T29" fmla="*/ 121 h 350"/>
                <a:gd name="T30" fmla="*/ 516 w 525"/>
                <a:gd name="T31" fmla="*/ 98 h 350"/>
                <a:gd name="T32" fmla="*/ 493 w 525"/>
                <a:gd name="T33" fmla="*/ 68 h 350"/>
                <a:gd name="T34" fmla="*/ 477 w 525"/>
                <a:gd name="T35" fmla="*/ 84 h 350"/>
                <a:gd name="T36" fmla="*/ 461 w 525"/>
                <a:gd name="T37" fmla="*/ 101 h 350"/>
                <a:gd name="T38" fmla="*/ 441 w 525"/>
                <a:gd name="T39" fmla="*/ 117 h 350"/>
                <a:gd name="T40" fmla="*/ 418 w 525"/>
                <a:gd name="T41" fmla="*/ 125 h 350"/>
                <a:gd name="T42" fmla="*/ 406 w 525"/>
                <a:gd name="T43" fmla="*/ 128 h 350"/>
                <a:gd name="T44" fmla="*/ 388 w 525"/>
                <a:gd name="T45" fmla="*/ 107 h 350"/>
                <a:gd name="T46" fmla="*/ 374 w 525"/>
                <a:gd name="T47" fmla="*/ 112 h 350"/>
                <a:gd name="T48" fmla="*/ 361 w 525"/>
                <a:gd name="T49" fmla="*/ 94 h 350"/>
                <a:gd name="T50" fmla="*/ 367 w 525"/>
                <a:gd name="T51" fmla="*/ 68 h 350"/>
                <a:gd name="T52" fmla="*/ 392 w 525"/>
                <a:gd name="T53" fmla="*/ 21 h 350"/>
                <a:gd name="T54" fmla="*/ 388 w 525"/>
                <a:gd name="T55" fmla="*/ 7 h 350"/>
                <a:gd name="T56" fmla="*/ 379 w 525"/>
                <a:gd name="T57" fmla="*/ 0 h 350"/>
                <a:gd name="T58" fmla="*/ 352 w 525"/>
                <a:gd name="T59" fmla="*/ 16 h 350"/>
                <a:gd name="T60" fmla="*/ 322 w 525"/>
                <a:gd name="T61" fmla="*/ 27 h 350"/>
                <a:gd name="T62" fmla="*/ 285 w 525"/>
                <a:gd name="T63" fmla="*/ 55 h 350"/>
                <a:gd name="T64" fmla="*/ 262 w 525"/>
                <a:gd name="T65" fmla="*/ 57 h 350"/>
                <a:gd name="T66" fmla="*/ 244 w 525"/>
                <a:gd name="T67" fmla="*/ 73 h 350"/>
                <a:gd name="T68" fmla="*/ 230 w 525"/>
                <a:gd name="T69" fmla="*/ 71 h 350"/>
                <a:gd name="T70" fmla="*/ 219 w 525"/>
                <a:gd name="T71" fmla="*/ 78 h 350"/>
                <a:gd name="T72" fmla="*/ 205 w 525"/>
                <a:gd name="T73" fmla="*/ 84 h 350"/>
                <a:gd name="T74" fmla="*/ 194 w 525"/>
                <a:gd name="T75" fmla="*/ 78 h 350"/>
                <a:gd name="T76" fmla="*/ 180 w 525"/>
                <a:gd name="T77" fmla="*/ 82 h 350"/>
                <a:gd name="T78" fmla="*/ 155 w 525"/>
                <a:gd name="T79" fmla="*/ 85 h 350"/>
                <a:gd name="T80" fmla="*/ 141 w 525"/>
                <a:gd name="T81" fmla="*/ 78 h 350"/>
                <a:gd name="T82" fmla="*/ 109 w 525"/>
                <a:gd name="T83" fmla="*/ 75 h 350"/>
                <a:gd name="T84" fmla="*/ 88 w 525"/>
                <a:gd name="T85" fmla="*/ 77 h 350"/>
                <a:gd name="T86" fmla="*/ 64 w 525"/>
                <a:gd name="T87" fmla="*/ 73 h 350"/>
                <a:gd name="T88" fmla="*/ 45 w 525"/>
                <a:gd name="T89" fmla="*/ 66 h 350"/>
                <a:gd name="T90" fmla="*/ 24 w 525"/>
                <a:gd name="T91" fmla="*/ 68 h 350"/>
                <a:gd name="T92" fmla="*/ 29 w 525"/>
                <a:gd name="T93" fmla="*/ 107 h 350"/>
                <a:gd name="T94" fmla="*/ 100 w 525"/>
                <a:gd name="T95" fmla="*/ 172 h 350"/>
                <a:gd name="T96" fmla="*/ 118 w 525"/>
                <a:gd name="T97" fmla="*/ 236 h 350"/>
                <a:gd name="T98" fmla="*/ 191 w 525"/>
                <a:gd name="T99" fmla="*/ 217 h 350"/>
                <a:gd name="T100" fmla="*/ 232 w 525"/>
                <a:gd name="T101" fmla="*/ 215 h 350"/>
                <a:gd name="T102" fmla="*/ 271 w 525"/>
                <a:gd name="T103" fmla="*/ 238 h 350"/>
                <a:gd name="T104" fmla="*/ 338 w 525"/>
                <a:gd name="T105" fmla="*/ 306 h 350"/>
                <a:gd name="T106" fmla="*/ 352 w 525"/>
                <a:gd name="T107" fmla="*/ 324 h 350"/>
                <a:gd name="T108" fmla="*/ 368 w 525"/>
                <a:gd name="T109" fmla="*/ 348 h 350"/>
                <a:gd name="T110" fmla="*/ 395 w 525"/>
                <a:gd name="T111" fmla="*/ 345 h 350"/>
                <a:gd name="T112" fmla="*/ 429 w 525"/>
                <a:gd name="T113" fmla="*/ 341 h 350"/>
                <a:gd name="T114" fmla="*/ 461 w 525"/>
                <a:gd name="T115" fmla="*/ 343 h 350"/>
                <a:gd name="T116" fmla="*/ 489 w 525"/>
                <a:gd name="T117" fmla="*/ 348 h 350"/>
                <a:gd name="T118" fmla="*/ 505 w 525"/>
                <a:gd name="T119" fmla="*/ 325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5" h="350">
                  <a:moveTo>
                    <a:pt x="505" y="322"/>
                  </a:moveTo>
                  <a:lnTo>
                    <a:pt x="512" y="316"/>
                  </a:lnTo>
                  <a:lnTo>
                    <a:pt x="512" y="316"/>
                  </a:lnTo>
                  <a:lnTo>
                    <a:pt x="512" y="311"/>
                  </a:lnTo>
                  <a:lnTo>
                    <a:pt x="512" y="306"/>
                  </a:lnTo>
                  <a:lnTo>
                    <a:pt x="512" y="306"/>
                  </a:lnTo>
                  <a:lnTo>
                    <a:pt x="509" y="302"/>
                  </a:lnTo>
                  <a:lnTo>
                    <a:pt x="505" y="299"/>
                  </a:lnTo>
                  <a:lnTo>
                    <a:pt x="502" y="297"/>
                  </a:lnTo>
                  <a:lnTo>
                    <a:pt x="504" y="290"/>
                  </a:lnTo>
                  <a:lnTo>
                    <a:pt x="504" y="290"/>
                  </a:lnTo>
                  <a:lnTo>
                    <a:pt x="496" y="283"/>
                  </a:lnTo>
                  <a:lnTo>
                    <a:pt x="493" y="276"/>
                  </a:lnTo>
                  <a:lnTo>
                    <a:pt x="491" y="270"/>
                  </a:lnTo>
                  <a:lnTo>
                    <a:pt x="491" y="270"/>
                  </a:lnTo>
                  <a:lnTo>
                    <a:pt x="486" y="267"/>
                  </a:lnTo>
                  <a:lnTo>
                    <a:pt x="480" y="265"/>
                  </a:lnTo>
                  <a:lnTo>
                    <a:pt x="475" y="265"/>
                  </a:lnTo>
                  <a:lnTo>
                    <a:pt x="475" y="265"/>
                  </a:lnTo>
                  <a:lnTo>
                    <a:pt x="472" y="265"/>
                  </a:lnTo>
                  <a:lnTo>
                    <a:pt x="470" y="265"/>
                  </a:lnTo>
                  <a:lnTo>
                    <a:pt x="468" y="263"/>
                  </a:lnTo>
                  <a:lnTo>
                    <a:pt x="466" y="261"/>
                  </a:lnTo>
                  <a:lnTo>
                    <a:pt x="466" y="261"/>
                  </a:lnTo>
                  <a:lnTo>
                    <a:pt x="466" y="260"/>
                  </a:lnTo>
                  <a:lnTo>
                    <a:pt x="464" y="258"/>
                  </a:lnTo>
                  <a:lnTo>
                    <a:pt x="463" y="260"/>
                  </a:lnTo>
                  <a:lnTo>
                    <a:pt x="452" y="263"/>
                  </a:lnTo>
                  <a:lnTo>
                    <a:pt x="452" y="263"/>
                  </a:lnTo>
                  <a:lnTo>
                    <a:pt x="450" y="263"/>
                  </a:lnTo>
                  <a:lnTo>
                    <a:pt x="448" y="263"/>
                  </a:lnTo>
                  <a:lnTo>
                    <a:pt x="448" y="261"/>
                  </a:lnTo>
                  <a:lnTo>
                    <a:pt x="448" y="254"/>
                  </a:lnTo>
                  <a:lnTo>
                    <a:pt x="448" y="254"/>
                  </a:lnTo>
                  <a:lnTo>
                    <a:pt x="448" y="249"/>
                  </a:lnTo>
                  <a:lnTo>
                    <a:pt x="448" y="249"/>
                  </a:lnTo>
                  <a:lnTo>
                    <a:pt x="447" y="247"/>
                  </a:lnTo>
                  <a:lnTo>
                    <a:pt x="447" y="247"/>
                  </a:lnTo>
                  <a:lnTo>
                    <a:pt x="447" y="245"/>
                  </a:lnTo>
                  <a:lnTo>
                    <a:pt x="447" y="245"/>
                  </a:lnTo>
                  <a:lnTo>
                    <a:pt x="447" y="244"/>
                  </a:lnTo>
                  <a:lnTo>
                    <a:pt x="447" y="242"/>
                  </a:lnTo>
                  <a:lnTo>
                    <a:pt x="447" y="242"/>
                  </a:lnTo>
                  <a:lnTo>
                    <a:pt x="448" y="240"/>
                  </a:lnTo>
                  <a:lnTo>
                    <a:pt x="448" y="236"/>
                  </a:lnTo>
                  <a:lnTo>
                    <a:pt x="447" y="228"/>
                  </a:lnTo>
                  <a:lnTo>
                    <a:pt x="447" y="228"/>
                  </a:lnTo>
                  <a:lnTo>
                    <a:pt x="447" y="226"/>
                  </a:lnTo>
                  <a:lnTo>
                    <a:pt x="447" y="226"/>
                  </a:lnTo>
                  <a:lnTo>
                    <a:pt x="448" y="224"/>
                  </a:lnTo>
                  <a:lnTo>
                    <a:pt x="452" y="224"/>
                  </a:lnTo>
                  <a:lnTo>
                    <a:pt x="452" y="220"/>
                  </a:lnTo>
                  <a:lnTo>
                    <a:pt x="452" y="220"/>
                  </a:lnTo>
                  <a:lnTo>
                    <a:pt x="454" y="220"/>
                  </a:lnTo>
                  <a:lnTo>
                    <a:pt x="456" y="219"/>
                  </a:lnTo>
                  <a:lnTo>
                    <a:pt x="461" y="219"/>
                  </a:lnTo>
                  <a:lnTo>
                    <a:pt x="461" y="219"/>
                  </a:lnTo>
                  <a:lnTo>
                    <a:pt x="461" y="217"/>
                  </a:lnTo>
                  <a:lnTo>
                    <a:pt x="461" y="217"/>
                  </a:lnTo>
                  <a:lnTo>
                    <a:pt x="456" y="213"/>
                  </a:lnTo>
                  <a:lnTo>
                    <a:pt x="448" y="204"/>
                  </a:lnTo>
                  <a:lnTo>
                    <a:pt x="448" y="204"/>
                  </a:lnTo>
                  <a:lnTo>
                    <a:pt x="448" y="204"/>
                  </a:lnTo>
                  <a:lnTo>
                    <a:pt x="448" y="203"/>
                  </a:lnTo>
                  <a:lnTo>
                    <a:pt x="456" y="201"/>
                  </a:lnTo>
                  <a:lnTo>
                    <a:pt x="456" y="201"/>
                  </a:lnTo>
                  <a:lnTo>
                    <a:pt x="461" y="197"/>
                  </a:lnTo>
                  <a:lnTo>
                    <a:pt x="464" y="196"/>
                  </a:lnTo>
                  <a:lnTo>
                    <a:pt x="470" y="188"/>
                  </a:lnTo>
                  <a:lnTo>
                    <a:pt x="470" y="188"/>
                  </a:lnTo>
                  <a:lnTo>
                    <a:pt x="473" y="183"/>
                  </a:lnTo>
                  <a:lnTo>
                    <a:pt x="473" y="183"/>
                  </a:lnTo>
                  <a:lnTo>
                    <a:pt x="475" y="181"/>
                  </a:lnTo>
                  <a:lnTo>
                    <a:pt x="477" y="180"/>
                  </a:lnTo>
                  <a:lnTo>
                    <a:pt x="475" y="172"/>
                  </a:lnTo>
                  <a:lnTo>
                    <a:pt x="475" y="172"/>
                  </a:lnTo>
                  <a:lnTo>
                    <a:pt x="475" y="169"/>
                  </a:lnTo>
                  <a:lnTo>
                    <a:pt x="477" y="165"/>
                  </a:lnTo>
                  <a:lnTo>
                    <a:pt x="480" y="158"/>
                  </a:lnTo>
                  <a:lnTo>
                    <a:pt x="480" y="158"/>
                  </a:lnTo>
                  <a:lnTo>
                    <a:pt x="488" y="155"/>
                  </a:lnTo>
                  <a:lnTo>
                    <a:pt x="496" y="148"/>
                  </a:lnTo>
                  <a:lnTo>
                    <a:pt x="496" y="148"/>
                  </a:lnTo>
                  <a:lnTo>
                    <a:pt x="496" y="148"/>
                  </a:lnTo>
                  <a:lnTo>
                    <a:pt x="496" y="148"/>
                  </a:lnTo>
                  <a:lnTo>
                    <a:pt x="493" y="144"/>
                  </a:lnTo>
                  <a:lnTo>
                    <a:pt x="491" y="140"/>
                  </a:lnTo>
                  <a:lnTo>
                    <a:pt x="488" y="139"/>
                  </a:lnTo>
                  <a:lnTo>
                    <a:pt x="488" y="139"/>
                  </a:lnTo>
                  <a:lnTo>
                    <a:pt x="486" y="139"/>
                  </a:lnTo>
                  <a:lnTo>
                    <a:pt x="486" y="137"/>
                  </a:lnTo>
                  <a:lnTo>
                    <a:pt x="486" y="133"/>
                  </a:lnTo>
                  <a:lnTo>
                    <a:pt x="486" y="132"/>
                  </a:lnTo>
                  <a:lnTo>
                    <a:pt x="486" y="126"/>
                  </a:lnTo>
                  <a:lnTo>
                    <a:pt x="486" y="126"/>
                  </a:lnTo>
                  <a:lnTo>
                    <a:pt x="484" y="126"/>
                  </a:lnTo>
                  <a:lnTo>
                    <a:pt x="486" y="125"/>
                  </a:lnTo>
                  <a:lnTo>
                    <a:pt x="489" y="125"/>
                  </a:lnTo>
                  <a:lnTo>
                    <a:pt x="502" y="126"/>
                  </a:lnTo>
                  <a:lnTo>
                    <a:pt x="502" y="126"/>
                  </a:lnTo>
                  <a:lnTo>
                    <a:pt x="509" y="125"/>
                  </a:lnTo>
                  <a:lnTo>
                    <a:pt x="514" y="125"/>
                  </a:lnTo>
                  <a:lnTo>
                    <a:pt x="521" y="123"/>
                  </a:lnTo>
                  <a:lnTo>
                    <a:pt x="525" y="121"/>
                  </a:lnTo>
                  <a:lnTo>
                    <a:pt x="525" y="121"/>
                  </a:lnTo>
                  <a:lnTo>
                    <a:pt x="525" y="117"/>
                  </a:lnTo>
                  <a:lnTo>
                    <a:pt x="525" y="114"/>
                  </a:lnTo>
                  <a:lnTo>
                    <a:pt x="525" y="109"/>
                  </a:lnTo>
                  <a:lnTo>
                    <a:pt x="523" y="105"/>
                  </a:lnTo>
                  <a:lnTo>
                    <a:pt x="523" y="105"/>
                  </a:lnTo>
                  <a:lnTo>
                    <a:pt x="521" y="101"/>
                  </a:lnTo>
                  <a:lnTo>
                    <a:pt x="516" y="98"/>
                  </a:lnTo>
                  <a:lnTo>
                    <a:pt x="516" y="89"/>
                  </a:lnTo>
                  <a:lnTo>
                    <a:pt x="514" y="85"/>
                  </a:lnTo>
                  <a:lnTo>
                    <a:pt x="514" y="85"/>
                  </a:lnTo>
                  <a:lnTo>
                    <a:pt x="514" y="82"/>
                  </a:lnTo>
                  <a:lnTo>
                    <a:pt x="512" y="78"/>
                  </a:lnTo>
                  <a:lnTo>
                    <a:pt x="511" y="71"/>
                  </a:lnTo>
                  <a:lnTo>
                    <a:pt x="493" y="68"/>
                  </a:lnTo>
                  <a:lnTo>
                    <a:pt x="493" y="68"/>
                  </a:lnTo>
                  <a:lnTo>
                    <a:pt x="493" y="71"/>
                  </a:lnTo>
                  <a:lnTo>
                    <a:pt x="493" y="73"/>
                  </a:lnTo>
                  <a:lnTo>
                    <a:pt x="493" y="73"/>
                  </a:lnTo>
                  <a:lnTo>
                    <a:pt x="489" y="78"/>
                  </a:lnTo>
                  <a:lnTo>
                    <a:pt x="486" y="82"/>
                  </a:lnTo>
                  <a:lnTo>
                    <a:pt x="477" y="84"/>
                  </a:lnTo>
                  <a:lnTo>
                    <a:pt x="472" y="85"/>
                  </a:lnTo>
                  <a:lnTo>
                    <a:pt x="472" y="85"/>
                  </a:lnTo>
                  <a:lnTo>
                    <a:pt x="461" y="98"/>
                  </a:lnTo>
                  <a:lnTo>
                    <a:pt x="461" y="98"/>
                  </a:lnTo>
                  <a:lnTo>
                    <a:pt x="459" y="98"/>
                  </a:lnTo>
                  <a:lnTo>
                    <a:pt x="459" y="101"/>
                  </a:lnTo>
                  <a:lnTo>
                    <a:pt x="461" y="101"/>
                  </a:lnTo>
                  <a:lnTo>
                    <a:pt x="461" y="101"/>
                  </a:lnTo>
                  <a:lnTo>
                    <a:pt x="463" y="101"/>
                  </a:lnTo>
                  <a:lnTo>
                    <a:pt x="463" y="103"/>
                  </a:lnTo>
                  <a:lnTo>
                    <a:pt x="461" y="105"/>
                  </a:lnTo>
                  <a:lnTo>
                    <a:pt x="452" y="109"/>
                  </a:lnTo>
                  <a:lnTo>
                    <a:pt x="452" y="109"/>
                  </a:lnTo>
                  <a:lnTo>
                    <a:pt x="441" y="117"/>
                  </a:lnTo>
                  <a:lnTo>
                    <a:pt x="429" y="121"/>
                  </a:lnTo>
                  <a:lnTo>
                    <a:pt x="425" y="125"/>
                  </a:lnTo>
                  <a:lnTo>
                    <a:pt x="425" y="125"/>
                  </a:lnTo>
                  <a:lnTo>
                    <a:pt x="425" y="125"/>
                  </a:lnTo>
                  <a:lnTo>
                    <a:pt x="422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3" y="125"/>
                  </a:lnTo>
                  <a:lnTo>
                    <a:pt x="409" y="128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3"/>
                  </a:lnTo>
                  <a:lnTo>
                    <a:pt x="400" y="114"/>
                  </a:lnTo>
                  <a:lnTo>
                    <a:pt x="400" y="114"/>
                  </a:lnTo>
                  <a:lnTo>
                    <a:pt x="399" y="109"/>
                  </a:lnTo>
                  <a:lnTo>
                    <a:pt x="393" y="107"/>
                  </a:lnTo>
                  <a:lnTo>
                    <a:pt x="388" y="107"/>
                  </a:lnTo>
                  <a:lnTo>
                    <a:pt x="386" y="107"/>
                  </a:lnTo>
                  <a:lnTo>
                    <a:pt x="386" y="107"/>
                  </a:lnTo>
                  <a:lnTo>
                    <a:pt x="381" y="109"/>
                  </a:lnTo>
                  <a:lnTo>
                    <a:pt x="379" y="112"/>
                  </a:lnTo>
                  <a:lnTo>
                    <a:pt x="376" y="112"/>
                  </a:lnTo>
                  <a:lnTo>
                    <a:pt x="376" y="112"/>
                  </a:lnTo>
                  <a:lnTo>
                    <a:pt x="374" y="112"/>
                  </a:lnTo>
                  <a:lnTo>
                    <a:pt x="370" y="112"/>
                  </a:lnTo>
                  <a:lnTo>
                    <a:pt x="363" y="114"/>
                  </a:lnTo>
                  <a:lnTo>
                    <a:pt x="363" y="114"/>
                  </a:lnTo>
                  <a:lnTo>
                    <a:pt x="361" y="114"/>
                  </a:lnTo>
                  <a:lnTo>
                    <a:pt x="361" y="112"/>
                  </a:lnTo>
                  <a:lnTo>
                    <a:pt x="361" y="105"/>
                  </a:lnTo>
                  <a:lnTo>
                    <a:pt x="361" y="94"/>
                  </a:lnTo>
                  <a:lnTo>
                    <a:pt x="361" y="94"/>
                  </a:lnTo>
                  <a:lnTo>
                    <a:pt x="363" y="89"/>
                  </a:lnTo>
                  <a:lnTo>
                    <a:pt x="367" y="85"/>
                  </a:lnTo>
                  <a:lnTo>
                    <a:pt x="372" y="82"/>
                  </a:lnTo>
                  <a:lnTo>
                    <a:pt x="372" y="82"/>
                  </a:lnTo>
                  <a:lnTo>
                    <a:pt x="367" y="68"/>
                  </a:lnTo>
                  <a:lnTo>
                    <a:pt x="367" y="68"/>
                  </a:lnTo>
                  <a:lnTo>
                    <a:pt x="368" y="64"/>
                  </a:lnTo>
                  <a:lnTo>
                    <a:pt x="374" y="57"/>
                  </a:lnTo>
                  <a:lnTo>
                    <a:pt x="383" y="45"/>
                  </a:lnTo>
                  <a:lnTo>
                    <a:pt x="383" y="36"/>
                  </a:lnTo>
                  <a:lnTo>
                    <a:pt x="388" y="30"/>
                  </a:lnTo>
                  <a:lnTo>
                    <a:pt x="388" y="21"/>
                  </a:lnTo>
                  <a:lnTo>
                    <a:pt x="392" y="21"/>
                  </a:lnTo>
                  <a:lnTo>
                    <a:pt x="392" y="16"/>
                  </a:lnTo>
                  <a:lnTo>
                    <a:pt x="399" y="11"/>
                  </a:lnTo>
                  <a:lnTo>
                    <a:pt x="399" y="11"/>
                  </a:lnTo>
                  <a:lnTo>
                    <a:pt x="395" y="11"/>
                  </a:lnTo>
                  <a:lnTo>
                    <a:pt x="392" y="7"/>
                  </a:lnTo>
                  <a:lnTo>
                    <a:pt x="388" y="7"/>
                  </a:lnTo>
                  <a:lnTo>
                    <a:pt x="388" y="7"/>
                  </a:lnTo>
                  <a:lnTo>
                    <a:pt x="386" y="7"/>
                  </a:lnTo>
                  <a:lnTo>
                    <a:pt x="384" y="5"/>
                  </a:lnTo>
                  <a:lnTo>
                    <a:pt x="384" y="4"/>
                  </a:lnTo>
                  <a:lnTo>
                    <a:pt x="381" y="2"/>
                  </a:lnTo>
                  <a:lnTo>
                    <a:pt x="381" y="2"/>
                  </a:lnTo>
                  <a:lnTo>
                    <a:pt x="381" y="0"/>
                  </a:lnTo>
                  <a:lnTo>
                    <a:pt x="379" y="0"/>
                  </a:lnTo>
                  <a:lnTo>
                    <a:pt x="374" y="2"/>
                  </a:lnTo>
                  <a:lnTo>
                    <a:pt x="370" y="5"/>
                  </a:lnTo>
                  <a:lnTo>
                    <a:pt x="368" y="7"/>
                  </a:lnTo>
                  <a:lnTo>
                    <a:pt x="368" y="7"/>
                  </a:lnTo>
                  <a:lnTo>
                    <a:pt x="365" y="11"/>
                  </a:lnTo>
                  <a:lnTo>
                    <a:pt x="360" y="13"/>
                  </a:lnTo>
                  <a:lnTo>
                    <a:pt x="352" y="16"/>
                  </a:lnTo>
                  <a:lnTo>
                    <a:pt x="347" y="20"/>
                  </a:lnTo>
                  <a:lnTo>
                    <a:pt x="347" y="20"/>
                  </a:lnTo>
                  <a:lnTo>
                    <a:pt x="342" y="21"/>
                  </a:lnTo>
                  <a:lnTo>
                    <a:pt x="335" y="23"/>
                  </a:lnTo>
                  <a:lnTo>
                    <a:pt x="335" y="23"/>
                  </a:lnTo>
                  <a:lnTo>
                    <a:pt x="328" y="25"/>
                  </a:lnTo>
                  <a:lnTo>
                    <a:pt x="322" y="27"/>
                  </a:lnTo>
                  <a:lnTo>
                    <a:pt x="322" y="27"/>
                  </a:lnTo>
                  <a:lnTo>
                    <a:pt x="285" y="45"/>
                  </a:lnTo>
                  <a:lnTo>
                    <a:pt x="285" y="45"/>
                  </a:lnTo>
                  <a:lnTo>
                    <a:pt x="285" y="46"/>
                  </a:lnTo>
                  <a:lnTo>
                    <a:pt x="285" y="48"/>
                  </a:lnTo>
                  <a:lnTo>
                    <a:pt x="285" y="52"/>
                  </a:lnTo>
                  <a:lnTo>
                    <a:pt x="285" y="55"/>
                  </a:lnTo>
                  <a:lnTo>
                    <a:pt x="285" y="57"/>
                  </a:lnTo>
                  <a:lnTo>
                    <a:pt x="285" y="57"/>
                  </a:lnTo>
                  <a:lnTo>
                    <a:pt x="281" y="57"/>
                  </a:lnTo>
                  <a:lnTo>
                    <a:pt x="281" y="59"/>
                  </a:lnTo>
                  <a:lnTo>
                    <a:pt x="272" y="59"/>
                  </a:lnTo>
                  <a:lnTo>
                    <a:pt x="262" y="57"/>
                  </a:lnTo>
                  <a:lnTo>
                    <a:pt x="262" y="57"/>
                  </a:lnTo>
                  <a:lnTo>
                    <a:pt x="253" y="61"/>
                  </a:lnTo>
                  <a:lnTo>
                    <a:pt x="248" y="62"/>
                  </a:lnTo>
                  <a:lnTo>
                    <a:pt x="248" y="62"/>
                  </a:lnTo>
                  <a:lnTo>
                    <a:pt x="246" y="64"/>
                  </a:lnTo>
                  <a:lnTo>
                    <a:pt x="246" y="68"/>
                  </a:lnTo>
                  <a:lnTo>
                    <a:pt x="246" y="71"/>
                  </a:lnTo>
                  <a:lnTo>
                    <a:pt x="244" y="73"/>
                  </a:lnTo>
                  <a:lnTo>
                    <a:pt x="244" y="73"/>
                  </a:lnTo>
                  <a:lnTo>
                    <a:pt x="242" y="73"/>
                  </a:lnTo>
                  <a:lnTo>
                    <a:pt x="239" y="71"/>
                  </a:lnTo>
                  <a:lnTo>
                    <a:pt x="237" y="71"/>
                  </a:lnTo>
                  <a:lnTo>
                    <a:pt x="232" y="71"/>
                  </a:lnTo>
                  <a:lnTo>
                    <a:pt x="232" y="71"/>
                  </a:lnTo>
                  <a:lnTo>
                    <a:pt x="230" y="71"/>
                  </a:lnTo>
                  <a:lnTo>
                    <a:pt x="228" y="75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26" y="78"/>
                  </a:lnTo>
                  <a:lnTo>
                    <a:pt x="224" y="78"/>
                  </a:lnTo>
                  <a:lnTo>
                    <a:pt x="221" y="78"/>
                  </a:lnTo>
                  <a:lnTo>
                    <a:pt x="219" y="78"/>
                  </a:lnTo>
                  <a:lnTo>
                    <a:pt x="219" y="78"/>
                  </a:lnTo>
                  <a:lnTo>
                    <a:pt x="216" y="80"/>
                  </a:lnTo>
                  <a:lnTo>
                    <a:pt x="212" y="82"/>
                  </a:lnTo>
                  <a:lnTo>
                    <a:pt x="212" y="82"/>
                  </a:lnTo>
                  <a:lnTo>
                    <a:pt x="208" y="84"/>
                  </a:lnTo>
                  <a:lnTo>
                    <a:pt x="207" y="85"/>
                  </a:lnTo>
                  <a:lnTo>
                    <a:pt x="205" y="84"/>
                  </a:lnTo>
                  <a:lnTo>
                    <a:pt x="205" y="84"/>
                  </a:lnTo>
                  <a:lnTo>
                    <a:pt x="203" y="82"/>
                  </a:lnTo>
                  <a:lnTo>
                    <a:pt x="201" y="80"/>
                  </a:lnTo>
                  <a:lnTo>
                    <a:pt x="198" y="78"/>
                  </a:lnTo>
                  <a:lnTo>
                    <a:pt x="196" y="78"/>
                  </a:lnTo>
                  <a:lnTo>
                    <a:pt x="196" y="78"/>
                  </a:lnTo>
                  <a:lnTo>
                    <a:pt x="194" y="78"/>
                  </a:lnTo>
                  <a:lnTo>
                    <a:pt x="191" y="80"/>
                  </a:lnTo>
                  <a:lnTo>
                    <a:pt x="189" y="82"/>
                  </a:lnTo>
                  <a:lnTo>
                    <a:pt x="187" y="82"/>
                  </a:lnTo>
                  <a:lnTo>
                    <a:pt x="187" y="82"/>
                  </a:lnTo>
                  <a:lnTo>
                    <a:pt x="184" y="82"/>
                  </a:lnTo>
                  <a:lnTo>
                    <a:pt x="182" y="82"/>
                  </a:lnTo>
                  <a:lnTo>
                    <a:pt x="180" y="82"/>
                  </a:lnTo>
                  <a:lnTo>
                    <a:pt x="178" y="82"/>
                  </a:lnTo>
                  <a:lnTo>
                    <a:pt x="178" y="82"/>
                  </a:lnTo>
                  <a:lnTo>
                    <a:pt x="171" y="82"/>
                  </a:lnTo>
                  <a:lnTo>
                    <a:pt x="164" y="85"/>
                  </a:lnTo>
                  <a:lnTo>
                    <a:pt x="164" y="85"/>
                  </a:lnTo>
                  <a:lnTo>
                    <a:pt x="159" y="85"/>
                  </a:lnTo>
                  <a:lnTo>
                    <a:pt x="155" y="85"/>
                  </a:lnTo>
                  <a:lnTo>
                    <a:pt x="155" y="85"/>
                  </a:lnTo>
                  <a:lnTo>
                    <a:pt x="153" y="87"/>
                  </a:lnTo>
                  <a:lnTo>
                    <a:pt x="153" y="87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4" y="82"/>
                  </a:lnTo>
                  <a:lnTo>
                    <a:pt x="141" y="78"/>
                  </a:lnTo>
                  <a:lnTo>
                    <a:pt x="130" y="73"/>
                  </a:lnTo>
                  <a:lnTo>
                    <a:pt x="130" y="73"/>
                  </a:lnTo>
                  <a:lnTo>
                    <a:pt x="127" y="71"/>
                  </a:lnTo>
                  <a:lnTo>
                    <a:pt x="121" y="71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09" y="75"/>
                  </a:lnTo>
                  <a:lnTo>
                    <a:pt x="104" y="75"/>
                  </a:lnTo>
                  <a:lnTo>
                    <a:pt x="100" y="75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3" y="71"/>
                  </a:lnTo>
                  <a:lnTo>
                    <a:pt x="93" y="73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6" y="78"/>
                  </a:lnTo>
                  <a:lnTo>
                    <a:pt x="80" y="77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68" y="71"/>
                  </a:lnTo>
                  <a:lnTo>
                    <a:pt x="64" y="73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7" y="75"/>
                  </a:lnTo>
                  <a:lnTo>
                    <a:pt x="56" y="75"/>
                  </a:lnTo>
                  <a:lnTo>
                    <a:pt x="54" y="73"/>
                  </a:lnTo>
                  <a:lnTo>
                    <a:pt x="48" y="68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3" y="64"/>
                  </a:lnTo>
                  <a:lnTo>
                    <a:pt x="40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9" y="66"/>
                  </a:lnTo>
                  <a:lnTo>
                    <a:pt x="24" y="68"/>
                  </a:lnTo>
                  <a:lnTo>
                    <a:pt x="18" y="71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6" y="78"/>
                  </a:lnTo>
                  <a:lnTo>
                    <a:pt x="0" y="82"/>
                  </a:lnTo>
                  <a:lnTo>
                    <a:pt x="4" y="94"/>
                  </a:lnTo>
                  <a:lnTo>
                    <a:pt x="29" y="107"/>
                  </a:lnTo>
                  <a:lnTo>
                    <a:pt x="24" y="121"/>
                  </a:lnTo>
                  <a:lnTo>
                    <a:pt x="29" y="128"/>
                  </a:lnTo>
                  <a:lnTo>
                    <a:pt x="54" y="116"/>
                  </a:lnTo>
                  <a:lnTo>
                    <a:pt x="73" y="140"/>
                  </a:lnTo>
                  <a:lnTo>
                    <a:pt x="84" y="133"/>
                  </a:lnTo>
                  <a:lnTo>
                    <a:pt x="93" y="149"/>
                  </a:lnTo>
                  <a:lnTo>
                    <a:pt x="100" y="172"/>
                  </a:lnTo>
                  <a:lnTo>
                    <a:pt x="105" y="187"/>
                  </a:lnTo>
                  <a:lnTo>
                    <a:pt x="98" y="188"/>
                  </a:lnTo>
                  <a:lnTo>
                    <a:pt x="100" y="197"/>
                  </a:lnTo>
                  <a:lnTo>
                    <a:pt x="100" y="208"/>
                  </a:lnTo>
                  <a:lnTo>
                    <a:pt x="112" y="217"/>
                  </a:lnTo>
                  <a:lnTo>
                    <a:pt x="118" y="236"/>
                  </a:lnTo>
                  <a:lnTo>
                    <a:pt x="118" y="236"/>
                  </a:lnTo>
                  <a:lnTo>
                    <a:pt x="141" y="226"/>
                  </a:lnTo>
                  <a:lnTo>
                    <a:pt x="160" y="219"/>
                  </a:lnTo>
                  <a:lnTo>
                    <a:pt x="160" y="219"/>
                  </a:lnTo>
                  <a:lnTo>
                    <a:pt x="168" y="217"/>
                  </a:lnTo>
                  <a:lnTo>
                    <a:pt x="176" y="217"/>
                  </a:lnTo>
                  <a:lnTo>
                    <a:pt x="191" y="217"/>
                  </a:lnTo>
                  <a:lnTo>
                    <a:pt x="191" y="217"/>
                  </a:lnTo>
                  <a:lnTo>
                    <a:pt x="198" y="217"/>
                  </a:lnTo>
                  <a:lnTo>
                    <a:pt x="205" y="217"/>
                  </a:lnTo>
                  <a:lnTo>
                    <a:pt x="212" y="219"/>
                  </a:lnTo>
                  <a:lnTo>
                    <a:pt x="217" y="219"/>
                  </a:lnTo>
                  <a:lnTo>
                    <a:pt x="217" y="219"/>
                  </a:lnTo>
                  <a:lnTo>
                    <a:pt x="226" y="217"/>
                  </a:lnTo>
                  <a:lnTo>
                    <a:pt x="232" y="215"/>
                  </a:lnTo>
                  <a:lnTo>
                    <a:pt x="239" y="215"/>
                  </a:lnTo>
                  <a:lnTo>
                    <a:pt x="239" y="215"/>
                  </a:lnTo>
                  <a:lnTo>
                    <a:pt x="249" y="219"/>
                  </a:lnTo>
                  <a:lnTo>
                    <a:pt x="256" y="220"/>
                  </a:lnTo>
                  <a:lnTo>
                    <a:pt x="262" y="224"/>
                  </a:lnTo>
                  <a:lnTo>
                    <a:pt x="262" y="224"/>
                  </a:lnTo>
                  <a:lnTo>
                    <a:pt x="271" y="238"/>
                  </a:lnTo>
                  <a:lnTo>
                    <a:pt x="285" y="247"/>
                  </a:lnTo>
                  <a:lnTo>
                    <a:pt x="285" y="247"/>
                  </a:lnTo>
                  <a:lnTo>
                    <a:pt x="301" y="263"/>
                  </a:lnTo>
                  <a:lnTo>
                    <a:pt x="312" y="283"/>
                  </a:lnTo>
                  <a:lnTo>
                    <a:pt x="312" y="283"/>
                  </a:lnTo>
                  <a:lnTo>
                    <a:pt x="326" y="295"/>
                  </a:lnTo>
                  <a:lnTo>
                    <a:pt x="338" y="306"/>
                  </a:lnTo>
                  <a:lnTo>
                    <a:pt x="338" y="306"/>
                  </a:lnTo>
                  <a:lnTo>
                    <a:pt x="344" y="316"/>
                  </a:lnTo>
                  <a:lnTo>
                    <a:pt x="345" y="322"/>
                  </a:lnTo>
                  <a:lnTo>
                    <a:pt x="349" y="322"/>
                  </a:lnTo>
                  <a:lnTo>
                    <a:pt x="349" y="324"/>
                  </a:lnTo>
                  <a:lnTo>
                    <a:pt x="349" y="324"/>
                  </a:lnTo>
                  <a:lnTo>
                    <a:pt x="352" y="324"/>
                  </a:lnTo>
                  <a:lnTo>
                    <a:pt x="354" y="325"/>
                  </a:lnTo>
                  <a:lnTo>
                    <a:pt x="358" y="325"/>
                  </a:lnTo>
                  <a:lnTo>
                    <a:pt x="360" y="329"/>
                  </a:lnTo>
                  <a:lnTo>
                    <a:pt x="360" y="329"/>
                  </a:lnTo>
                  <a:lnTo>
                    <a:pt x="363" y="341"/>
                  </a:lnTo>
                  <a:lnTo>
                    <a:pt x="365" y="345"/>
                  </a:lnTo>
                  <a:lnTo>
                    <a:pt x="368" y="348"/>
                  </a:lnTo>
                  <a:lnTo>
                    <a:pt x="368" y="348"/>
                  </a:lnTo>
                  <a:lnTo>
                    <a:pt x="381" y="348"/>
                  </a:lnTo>
                  <a:lnTo>
                    <a:pt x="388" y="348"/>
                  </a:lnTo>
                  <a:lnTo>
                    <a:pt x="393" y="348"/>
                  </a:lnTo>
                  <a:lnTo>
                    <a:pt x="393" y="348"/>
                  </a:lnTo>
                  <a:lnTo>
                    <a:pt x="395" y="347"/>
                  </a:lnTo>
                  <a:lnTo>
                    <a:pt x="395" y="345"/>
                  </a:lnTo>
                  <a:lnTo>
                    <a:pt x="395" y="343"/>
                  </a:lnTo>
                  <a:lnTo>
                    <a:pt x="395" y="341"/>
                  </a:lnTo>
                  <a:lnTo>
                    <a:pt x="399" y="341"/>
                  </a:lnTo>
                  <a:lnTo>
                    <a:pt x="409" y="341"/>
                  </a:lnTo>
                  <a:lnTo>
                    <a:pt x="409" y="341"/>
                  </a:lnTo>
                  <a:lnTo>
                    <a:pt x="425" y="341"/>
                  </a:lnTo>
                  <a:lnTo>
                    <a:pt x="429" y="341"/>
                  </a:lnTo>
                  <a:lnTo>
                    <a:pt x="432" y="341"/>
                  </a:lnTo>
                  <a:lnTo>
                    <a:pt x="432" y="341"/>
                  </a:lnTo>
                  <a:lnTo>
                    <a:pt x="436" y="340"/>
                  </a:lnTo>
                  <a:lnTo>
                    <a:pt x="445" y="340"/>
                  </a:lnTo>
                  <a:lnTo>
                    <a:pt x="454" y="341"/>
                  </a:lnTo>
                  <a:lnTo>
                    <a:pt x="454" y="341"/>
                  </a:lnTo>
                  <a:lnTo>
                    <a:pt x="461" y="343"/>
                  </a:lnTo>
                  <a:lnTo>
                    <a:pt x="466" y="347"/>
                  </a:lnTo>
                  <a:lnTo>
                    <a:pt x="472" y="348"/>
                  </a:lnTo>
                  <a:lnTo>
                    <a:pt x="475" y="350"/>
                  </a:lnTo>
                  <a:lnTo>
                    <a:pt x="477" y="350"/>
                  </a:lnTo>
                  <a:lnTo>
                    <a:pt x="477" y="350"/>
                  </a:lnTo>
                  <a:lnTo>
                    <a:pt x="484" y="348"/>
                  </a:lnTo>
                  <a:lnTo>
                    <a:pt x="489" y="348"/>
                  </a:lnTo>
                  <a:lnTo>
                    <a:pt x="493" y="347"/>
                  </a:lnTo>
                  <a:lnTo>
                    <a:pt x="495" y="345"/>
                  </a:lnTo>
                  <a:lnTo>
                    <a:pt x="495" y="345"/>
                  </a:lnTo>
                  <a:lnTo>
                    <a:pt x="505" y="331"/>
                  </a:lnTo>
                  <a:lnTo>
                    <a:pt x="505" y="331"/>
                  </a:lnTo>
                  <a:lnTo>
                    <a:pt x="505" y="329"/>
                  </a:lnTo>
                  <a:lnTo>
                    <a:pt x="505" y="325"/>
                  </a:lnTo>
                  <a:lnTo>
                    <a:pt x="505" y="322"/>
                  </a:lnTo>
                  <a:lnTo>
                    <a:pt x="505" y="322"/>
                  </a:lnTo>
                  <a:lnTo>
                    <a:pt x="505" y="322"/>
                  </a:lnTo>
                  <a:lnTo>
                    <a:pt x="505" y="322"/>
                  </a:lnTo>
                  <a:lnTo>
                    <a:pt x="505" y="32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52"/>
            <p:cNvSpPr>
              <a:spLocks/>
            </p:cNvSpPr>
            <p:nvPr/>
          </p:nvSpPr>
          <p:spPr bwMode="auto">
            <a:xfrm>
              <a:off x="2484491" y="2896125"/>
              <a:ext cx="20537" cy="19966"/>
            </a:xfrm>
            <a:custGeom>
              <a:avLst/>
              <a:gdLst>
                <a:gd name="T0" fmla="*/ 0 w 36"/>
                <a:gd name="T1" fmla="*/ 7 h 35"/>
                <a:gd name="T2" fmla="*/ 0 w 36"/>
                <a:gd name="T3" fmla="*/ 7 h 35"/>
                <a:gd name="T4" fmla="*/ 4 w 36"/>
                <a:gd name="T5" fmla="*/ 10 h 35"/>
                <a:gd name="T6" fmla="*/ 5 w 36"/>
                <a:gd name="T7" fmla="*/ 16 h 35"/>
                <a:gd name="T8" fmla="*/ 5 w 36"/>
                <a:gd name="T9" fmla="*/ 16 h 35"/>
                <a:gd name="T10" fmla="*/ 5 w 36"/>
                <a:gd name="T11" fmla="*/ 16 h 35"/>
                <a:gd name="T12" fmla="*/ 9 w 36"/>
                <a:gd name="T13" fmla="*/ 17 h 35"/>
                <a:gd name="T14" fmla="*/ 11 w 36"/>
                <a:gd name="T15" fmla="*/ 17 h 35"/>
                <a:gd name="T16" fmla="*/ 12 w 36"/>
                <a:gd name="T17" fmla="*/ 21 h 35"/>
                <a:gd name="T18" fmla="*/ 12 w 36"/>
                <a:gd name="T19" fmla="*/ 21 h 35"/>
                <a:gd name="T20" fmla="*/ 12 w 36"/>
                <a:gd name="T21" fmla="*/ 24 h 35"/>
                <a:gd name="T22" fmla="*/ 18 w 36"/>
                <a:gd name="T23" fmla="*/ 28 h 35"/>
                <a:gd name="T24" fmla="*/ 21 w 36"/>
                <a:gd name="T25" fmla="*/ 32 h 35"/>
                <a:gd name="T26" fmla="*/ 25 w 36"/>
                <a:gd name="T27" fmla="*/ 35 h 35"/>
                <a:gd name="T28" fmla="*/ 25 w 36"/>
                <a:gd name="T29" fmla="*/ 35 h 35"/>
                <a:gd name="T30" fmla="*/ 28 w 36"/>
                <a:gd name="T31" fmla="*/ 35 h 35"/>
                <a:gd name="T32" fmla="*/ 28 w 36"/>
                <a:gd name="T33" fmla="*/ 32 h 35"/>
                <a:gd name="T34" fmla="*/ 32 w 36"/>
                <a:gd name="T35" fmla="*/ 24 h 35"/>
                <a:gd name="T36" fmla="*/ 32 w 36"/>
                <a:gd name="T37" fmla="*/ 24 h 35"/>
                <a:gd name="T38" fmla="*/ 36 w 36"/>
                <a:gd name="T39" fmla="*/ 17 h 35"/>
                <a:gd name="T40" fmla="*/ 32 w 36"/>
                <a:gd name="T41" fmla="*/ 10 h 35"/>
                <a:gd name="T42" fmla="*/ 32 w 36"/>
                <a:gd name="T43" fmla="*/ 10 h 35"/>
                <a:gd name="T44" fmla="*/ 32 w 36"/>
                <a:gd name="T45" fmla="*/ 0 h 35"/>
                <a:gd name="T46" fmla="*/ 32 w 36"/>
                <a:gd name="T47" fmla="*/ 0 h 35"/>
                <a:gd name="T48" fmla="*/ 27 w 36"/>
                <a:gd name="T49" fmla="*/ 1 h 35"/>
                <a:gd name="T50" fmla="*/ 20 w 36"/>
                <a:gd name="T51" fmla="*/ 1 h 35"/>
                <a:gd name="T52" fmla="*/ 20 w 36"/>
                <a:gd name="T53" fmla="*/ 1 h 35"/>
                <a:gd name="T54" fmla="*/ 9 w 36"/>
                <a:gd name="T55" fmla="*/ 1 h 35"/>
                <a:gd name="T56" fmla="*/ 2 w 36"/>
                <a:gd name="T57" fmla="*/ 1 h 35"/>
                <a:gd name="T58" fmla="*/ 2 w 36"/>
                <a:gd name="T59" fmla="*/ 1 h 35"/>
                <a:gd name="T60" fmla="*/ 2 w 36"/>
                <a:gd name="T61" fmla="*/ 5 h 35"/>
                <a:gd name="T62" fmla="*/ 0 w 36"/>
                <a:gd name="T63" fmla="*/ 7 h 35"/>
                <a:gd name="T64" fmla="*/ 0 w 36"/>
                <a:gd name="T65" fmla="*/ 7 h 35"/>
                <a:gd name="T66" fmla="*/ 0 w 36"/>
                <a:gd name="T67" fmla="*/ 7 h 35"/>
                <a:gd name="T68" fmla="*/ 0 w 36"/>
                <a:gd name="T69" fmla="*/ 7 h 35"/>
                <a:gd name="T70" fmla="*/ 0 w 36"/>
                <a:gd name="T71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" h="35">
                  <a:moveTo>
                    <a:pt x="0" y="7"/>
                  </a:moveTo>
                  <a:lnTo>
                    <a:pt x="0" y="7"/>
                  </a:lnTo>
                  <a:lnTo>
                    <a:pt x="4" y="10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9" y="17"/>
                  </a:lnTo>
                  <a:lnTo>
                    <a:pt x="11" y="17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4"/>
                  </a:lnTo>
                  <a:lnTo>
                    <a:pt x="18" y="28"/>
                  </a:lnTo>
                  <a:lnTo>
                    <a:pt x="21" y="32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8" y="35"/>
                  </a:lnTo>
                  <a:lnTo>
                    <a:pt x="28" y="32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17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7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53"/>
            <p:cNvSpPr>
              <a:spLocks/>
            </p:cNvSpPr>
            <p:nvPr/>
          </p:nvSpPr>
          <p:spPr bwMode="auto">
            <a:xfrm>
              <a:off x="1951107" y="2632000"/>
              <a:ext cx="242447" cy="298353"/>
            </a:xfrm>
            <a:custGeom>
              <a:avLst/>
              <a:gdLst>
                <a:gd name="T0" fmla="*/ 391 w 425"/>
                <a:gd name="T1" fmla="*/ 112 h 523"/>
                <a:gd name="T2" fmla="*/ 307 w 425"/>
                <a:gd name="T3" fmla="*/ 61 h 523"/>
                <a:gd name="T4" fmla="*/ 290 w 425"/>
                <a:gd name="T5" fmla="*/ 40 h 523"/>
                <a:gd name="T6" fmla="*/ 252 w 425"/>
                <a:gd name="T7" fmla="*/ 4 h 523"/>
                <a:gd name="T8" fmla="*/ 226 w 425"/>
                <a:gd name="T9" fmla="*/ 9 h 523"/>
                <a:gd name="T10" fmla="*/ 226 w 425"/>
                <a:gd name="T11" fmla="*/ 16 h 523"/>
                <a:gd name="T12" fmla="*/ 226 w 425"/>
                <a:gd name="T13" fmla="*/ 32 h 523"/>
                <a:gd name="T14" fmla="*/ 226 w 425"/>
                <a:gd name="T15" fmla="*/ 47 h 523"/>
                <a:gd name="T16" fmla="*/ 243 w 425"/>
                <a:gd name="T17" fmla="*/ 57 h 523"/>
                <a:gd name="T18" fmla="*/ 243 w 425"/>
                <a:gd name="T19" fmla="*/ 73 h 523"/>
                <a:gd name="T20" fmla="*/ 238 w 425"/>
                <a:gd name="T21" fmla="*/ 80 h 523"/>
                <a:gd name="T22" fmla="*/ 222 w 425"/>
                <a:gd name="T23" fmla="*/ 93 h 523"/>
                <a:gd name="T24" fmla="*/ 195 w 425"/>
                <a:gd name="T25" fmla="*/ 88 h 523"/>
                <a:gd name="T26" fmla="*/ 190 w 425"/>
                <a:gd name="T27" fmla="*/ 102 h 523"/>
                <a:gd name="T28" fmla="*/ 199 w 425"/>
                <a:gd name="T29" fmla="*/ 116 h 523"/>
                <a:gd name="T30" fmla="*/ 217 w 425"/>
                <a:gd name="T31" fmla="*/ 167 h 523"/>
                <a:gd name="T32" fmla="*/ 247 w 425"/>
                <a:gd name="T33" fmla="*/ 178 h 523"/>
                <a:gd name="T34" fmla="*/ 243 w 425"/>
                <a:gd name="T35" fmla="*/ 207 h 523"/>
                <a:gd name="T36" fmla="*/ 217 w 425"/>
                <a:gd name="T37" fmla="*/ 223 h 523"/>
                <a:gd name="T38" fmla="*/ 188 w 425"/>
                <a:gd name="T39" fmla="*/ 260 h 523"/>
                <a:gd name="T40" fmla="*/ 178 w 425"/>
                <a:gd name="T41" fmla="*/ 285 h 523"/>
                <a:gd name="T42" fmla="*/ 192 w 425"/>
                <a:gd name="T43" fmla="*/ 306 h 523"/>
                <a:gd name="T44" fmla="*/ 181 w 425"/>
                <a:gd name="T45" fmla="*/ 326 h 523"/>
                <a:gd name="T46" fmla="*/ 163 w 425"/>
                <a:gd name="T47" fmla="*/ 336 h 523"/>
                <a:gd name="T48" fmla="*/ 144 w 425"/>
                <a:gd name="T49" fmla="*/ 347 h 523"/>
                <a:gd name="T50" fmla="*/ 130 w 425"/>
                <a:gd name="T51" fmla="*/ 349 h 523"/>
                <a:gd name="T52" fmla="*/ 115 w 425"/>
                <a:gd name="T53" fmla="*/ 372 h 523"/>
                <a:gd name="T54" fmla="*/ 94 w 425"/>
                <a:gd name="T55" fmla="*/ 397 h 523"/>
                <a:gd name="T56" fmla="*/ 75 w 425"/>
                <a:gd name="T57" fmla="*/ 397 h 523"/>
                <a:gd name="T58" fmla="*/ 46 w 425"/>
                <a:gd name="T59" fmla="*/ 411 h 523"/>
                <a:gd name="T60" fmla="*/ 27 w 425"/>
                <a:gd name="T61" fmla="*/ 407 h 523"/>
                <a:gd name="T62" fmla="*/ 18 w 425"/>
                <a:gd name="T63" fmla="*/ 423 h 523"/>
                <a:gd name="T64" fmla="*/ 19 w 425"/>
                <a:gd name="T65" fmla="*/ 431 h 523"/>
                <a:gd name="T66" fmla="*/ 12 w 425"/>
                <a:gd name="T67" fmla="*/ 450 h 523"/>
                <a:gd name="T68" fmla="*/ 30 w 425"/>
                <a:gd name="T69" fmla="*/ 461 h 523"/>
                <a:gd name="T70" fmla="*/ 9 w 425"/>
                <a:gd name="T71" fmla="*/ 470 h 523"/>
                <a:gd name="T72" fmla="*/ 2 w 425"/>
                <a:gd name="T73" fmla="*/ 487 h 523"/>
                <a:gd name="T74" fmla="*/ 9 w 425"/>
                <a:gd name="T75" fmla="*/ 498 h 523"/>
                <a:gd name="T76" fmla="*/ 30 w 425"/>
                <a:gd name="T77" fmla="*/ 516 h 523"/>
                <a:gd name="T78" fmla="*/ 62 w 425"/>
                <a:gd name="T79" fmla="*/ 519 h 523"/>
                <a:gd name="T80" fmla="*/ 108 w 425"/>
                <a:gd name="T81" fmla="*/ 519 h 523"/>
                <a:gd name="T82" fmla="*/ 155 w 425"/>
                <a:gd name="T83" fmla="*/ 498 h 523"/>
                <a:gd name="T84" fmla="*/ 183 w 425"/>
                <a:gd name="T85" fmla="*/ 484 h 523"/>
                <a:gd name="T86" fmla="*/ 227 w 425"/>
                <a:gd name="T87" fmla="*/ 441 h 523"/>
                <a:gd name="T88" fmla="*/ 263 w 425"/>
                <a:gd name="T89" fmla="*/ 448 h 523"/>
                <a:gd name="T90" fmla="*/ 288 w 425"/>
                <a:gd name="T91" fmla="*/ 438 h 523"/>
                <a:gd name="T92" fmla="*/ 327 w 425"/>
                <a:gd name="T93" fmla="*/ 448 h 523"/>
                <a:gd name="T94" fmla="*/ 366 w 425"/>
                <a:gd name="T95" fmla="*/ 434 h 523"/>
                <a:gd name="T96" fmla="*/ 393 w 425"/>
                <a:gd name="T97" fmla="*/ 404 h 523"/>
                <a:gd name="T98" fmla="*/ 386 w 425"/>
                <a:gd name="T99" fmla="*/ 399 h 523"/>
                <a:gd name="T100" fmla="*/ 393 w 425"/>
                <a:gd name="T101" fmla="*/ 351 h 523"/>
                <a:gd name="T102" fmla="*/ 409 w 425"/>
                <a:gd name="T103" fmla="*/ 301 h 523"/>
                <a:gd name="T104" fmla="*/ 403 w 425"/>
                <a:gd name="T105" fmla="*/ 283 h 523"/>
                <a:gd name="T106" fmla="*/ 387 w 425"/>
                <a:gd name="T107" fmla="*/ 271 h 523"/>
                <a:gd name="T108" fmla="*/ 382 w 425"/>
                <a:gd name="T109" fmla="*/ 263 h 523"/>
                <a:gd name="T110" fmla="*/ 407 w 425"/>
                <a:gd name="T111" fmla="*/ 228 h 523"/>
                <a:gd name="T112" fmla="*/ 407 w 425"/>
                <a:gd name="T113" fmla="*/ 187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5" h="523">
                  <a:moveTo>
                    <a:pt x="407" y="187"/>
                  </a:moveTo>
                  <a:lnTo>
                    <a:pt x="407" y="176"/>
                  </a:lnTo>
                  <a:lnTo>
                    <a:pt x="405" y="167"/>
                  </a:lnTo>
                  <a:lnTo>
                    <a:pt x="412" y="166"/>
                  </a:lnTo>
                  <a:lnTo>
                    <a:pt x="407" y="151"/>
                  </a:lnTo>
                  <a:lnTo>
                    <a:pt x="400" y="128"/>
                  </a:lnTo>
                  <a:lnTo>
                    <a:pt x="391" y="112"/>
                  </a:lnTo>
                  <a:lnTo>
                    <a:pt x="380" y="119"/>
                  </a:lnTo>
                  <a:lnTo>
                    <a:pt x="361" y="95"/>
                  </a:lnTo>
                  <a:lnTo>
                    <a:pt x="336" y="107"/>
                  </a:lnTo>
                  <a:lnTo>
                    <a:pt x="331" y="100"/>
                  </a:lnTo>
                  <a:lnTo>
                    <a:pt x="336" y="86"/>
                  </a:lnTo>
                  <a:lnTo>
                    <a:pt x="311" y="73"/>
                  </a:lnTo>
                  <a:lnTo>
                    <a:pt x="307" y="61"/>
                  </a:lnTo>
                  <a:lnTo>
                    <a:pt x="307" y="61"/>
                  </a:lnTo>
                  <a:lnTo>
                    <a:pt x="307" y="61"/>
                  </a:lnTo>
                  <a:lnTo>
                    <a:pt x="307" y="61"/>
                  </a:lnTo>
                  <a:lnTo>
                    <a:pt x="299" y="54"/>
                  </a:lnTo>
                  <a:lnTo>
                    <a:pt x="299" y="54"/>
                  </a:lnTo>
                  <a:lnTo>
                    <a:pt x="293" y="50"/>
                  </a:lnTo>
                  <a:lnTo>
                    <a:pt x="290" y="40"/>
                  </a:lnTo>
                  <a:lnTo>
                    <a:pt x="270" y="36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1" y="4"/>
                  </a:lnTo>
                  <a:lnTo>
                    <a:pt x="254" y="6"/>
                  </a:lnTo>
                  <a:lnTo>
                    <a:pt x="254" y="6"/>
                  </a:lnTo>
                  <a:lnTo>
                    <a:pt x="252" y="4"/>
                  </a:lnTo>
                  <a:lnTo>
                    <a:pt x="247" y="4"/>
                  </a:lnTo>
                  <a:lnTo>
                    <a:pt x="242" y="0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3" y="0"/>
                  </a:lnTo>
                  <a:lnTo>
                    <a:pt x="229" y="2"/>
                  </a:lnTo>
                  <a:lnTo>
                    <a:pt x="226" y="9"/>
                  </a:lnTo>
                  <a:lnTo>
                    <a:pt x="226" y="9"/>
                  </a:lnTo>
                  <a:lnTo>
                    <a:pt x="224" y="9"/>
                  </a:lnTo>
                  <a:lnTo>
                    <a:pt x="224" y="11"/>
                  </a:lnTo>
                  <a:lnTo>
                    <a:pt x="226" y="13"/>
                  </a:lnTo>
                  <a:lnTo>
                    <a:pt x="226" y="13"/>
                  </a:lnTo>
                  <a:lnTo>
                    <a:pt x="227" y="16"/>
                  </a:lnTo>
                  <a:lnTo>
                    <a:pt x="226" y="16"/>
                  </a:lnTo>
                  <a:lnTo>
                    <a:pt x="224" y="16"/>
                  </a:lnTo>
                  <a:lnTo>
                    <a:pt x="224" y="16"/>
                  </a:lnTo>
                  <a:lnTo>
                    <a:pt x="224" y="20"/>
                  </a:lnTo>
                  <a:lnTo>
                    <a:pt x="226" y="24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6" y="32"/>
                  </a:lnTo>
                  <a:lnTo>
                    <a:pt x="226" y="34"/>
                  </a:lnTo>
                  <a:lnTo>
                    <a:pt x="222" y="36"/>
                  </a:lnTo>
                  <a:lnTo>
                    <a:pt x="222" y="36"/>
                  </a:lnTo>
                  <a:lnTo>
                    <a:pt x="222" y="40"/>
                  </a:lnTo>
                  <a:lnTo>
                    <a:pt x="222" y="43"/>
                  </a:lnTo>
                  <a:lnTo>
                    <a:pt x="226" y="47"/>
                  </a:lnTo>
                  <a:lnTo>
                    <a:pt x="226" y="47"/>
                  </a:lnTo>
                  <a:lnTo>
                    <a:pt x="236" y="61"/>
                  </a:lnTo>
                  <a:lnTo>
                    <a:pt x="236" y="61"/>
                  </a:lnTo>
                  <a:lnTo>
                    <a:pt x="240" y="57"/>
                  </a:lnTo>
                  <a:lnTo>
                    <a:pt x="242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57"/>
                  </a:lnTo>
                  <a:lnTo>
                    <a:pt x="243" y="61"/>
                  </a:lnTo>
                  <a:lnTo>
                    <a:pt x="243" y="64"/>
                  </a:lnTo>
                  <a:lnTo>
                    <a:pt x="243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3" y="73"/>
                  </a:lnTo>
                  <a:lnTo>
                    <a:pt x="243" y="73"/>
                  </a:lnTo>
                  <a:lnTo>
                    <a:pt x="245" y="75"/>
                  </a:lnTo>
                  <a:lnTo>
                    <a:pt x="245" y="77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3" y="82"/>
                  </a:lnTo>
                  <a:lnTo>
                    <a:pt x="242" y="80"/>
                  </a:lnTo>
                  <a:lnTo>
                    <a:pt x="238" y="80"/>
                  </a:lnTo>
                  <a:lnTo>
                    <a:pt x="238" y="80"/>
                  </a:lnTo>
                  <a:lnTo>
                    <a:pt x="233" y="84"/>
                  </a:lnTo>
                  <a:lnTo>
                    <a:pt x="233" y="84"/>
                  </a:lnTo>
                  <a:lnTo>
                    <a:pt x="229" y="88"/>
                  </a:lnTo>
                  <a:lnTo>
                    <a:pt x="227" y="91"/>
                  </a:lnTo>
                  <a:lnTo>
                    <a:pt x="222" y="93"/>
                  </a:lnTo>
                  <a:lnTo>
                    <a:pt x="222" y="93"/>
                  </a:lnTo>
                  <a:lnTo>
                    <a:pt x="211" y="93"/>
                  </a:lnTo>
                  <a:lnTo>
                    <a:pt x="206" y="95"/>
                  </a:lnTo>
                  <a:lnTo>
                    <a:pt x="206" y="95"/>
                  </a:lnTo>
                  <a:lnTo>
                    <a:pt x="201" y="91"/>
                  </a:lnTo>
                  <a:lnTo>
                    <a:pt x="197" y="88"/>
                  </a:lnTo>
                  <a:lnTo>
                    <a:pt x="195" y="88"/>
                  </a:lnTo>
                  <a:lnTo>
                    <a:pt x="195" y="88"/>
                  </a:lnTo>
                  <a:lnTo>
                    <a:pt x="192" y="88"/>
                  </a:lnTo>
                  <a:lnTo>
                    <a:pt x="192" y="88"/>
                  </a:lnTo>
                  <a:lnTo>
                    <a:pt x="190" y="93"/>
                  </a:lnTo>
                  <a:lnTo>
                    <a:pt x="190" y="95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90" y="102"/>
                  </a:lnTo>
                  <a:lnTo>
                    <a:pt x="188" y="104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8" y="107"/>
                  </a:lnTo>
                  <a:lnTo>
                    <a:pt x="192" y="112"/>
                  </a:lnTo>
                  <a:lnTo>
                    <a:pt x="199" y="116"/>
                  </a:lnTo>
                  <a:lnTo>
                    <a:pt x="197" y="116"/>
                  </a:lnTo>
                  <a:lnTo>
                    <a:pt x="197" y="116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208" y="151"/>
                  </a:lnTo>
                  <a:lnTo>
                    <a:pt x="217" y="167"/>
                  </a:lnTo>
                  <a:lnTo>
                    <a:pt x="217" y="167"/>
                  </a:lnTo>
                  <a:lnTo>
                    <a:pt x="227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33" y="167"/>
                  </a:lnTo>
                  <a:lnTo>
                    <a:pt x="243" y="175"/>
                  </a:lnTo>
                  <a:lnTo>
                    <a:pt x="243" y="175"/>
                  </a:lnTo>
                  <a:lnTo>
                    <a:pt x="247" y="178"/>
                  </a:lnTo>
                  <a:lnTo>
                    <a:pt x="249" y="182"/>
                  </a:lnTo>
                  <a:lnTo>
                    <a:pt x="251" y="194"/>
                  </a:lnTo>
                  <a:lnTo>
                    <a:pt x="251" y="194"/>
                  </a:lnTo>
                  <a:lnTo>
                    <a:pt x="251" y="198"/>
                  </a:lnTo>
                  <a:lnTo>
                    <a:pt x="251" y="201"/>
                  </a:lnTo>
                  <a:lnTo>
                    <a:pt x="247" y="205"/>
                  </a:lnTo>
                  <a:lnTo>
                    <a:pt x="243" y="207"/>
                  </a:lnTo>
                  <a:lnTo>
                    <a:pt x="243" y="207"/>
                  </a:lnTo>
                  <a:lnTo>
                    <a:pt x="240" y="210"/>
                  </a:lnTo>
                  <a:lnTo>
                    <a:pt x="236" y="214"/>
                  </a:lnTo>
                  <a:lnTo>
                    <a:pt x="224" y="215"/>
                  </a:lnTo>
                  <a:lnTo>
                    <a:pt x="224" y="215"/>
                  </a:lnTo>
                  <a:lnTo>
                    <a:pt x="220" y="219"/>
                  </a:lnTo>
                  <a:lnTo>
                    <a:pt x="217" y="223"/>
                  </a:lnTo>
                  <a:lnTo>
                    <a:pt x="210" y="228"/>
                  </a:lnTo>
                  <a:lnTo>
                    <a:pt x="206" y="237"/>
                  </a:lnTo>
                  <a:lnTo>
                    <a:pt x="206" y="237"/>
                  </a:lnTo>
                  <a:lnTo>
                    <a:pt x="203" y="242"/>
                  </a:lnTo>
                  <a:lnTo>
                    <a:pt x="199" y="247"/>
                  </a:lnTo>
                  <a:lnTo>
                    <a:pt x="188" y="260"/>
                  </a:lnTo>
                  <a:lnTo>
                    <a:pt x="188" y="260"/>
                  </a:lnTo>
                  <a:lnTo>
                    <a:pt x="178" y="265"/>
                  </a:lnTo>
                  <a:lnTo>
                    <a:pt x="172" y="269"/>
                  </a:lnTo>
                  <a:lnTo>
                    <a:pt x="172" y="271"/>
                  </a:lnTo>
                  <a:lnTo>
                    <a:pt x="172" y="271"/>
                  </a:lnTo>
                  <a:lnTo>
                    <a:pt x="172" y="279"/>
                  </a:lnTo>
                  <a:lnTo>
                    <a:pt x="178" y="285"/>
                  </a:lnTo>
                  <a:lnTo>
                    <a:pt x="178" y="285"/>
                  </a:lnTo>
                  <a:lnTo>
                    <a:pt x="179" y="288"/>
                  </a:lnTo>
                  <a:lnTo>
                    <a:pt x="183" y="290"/>
                  </a:lnTo>
                  <a:lnTo>
                    <a:pt x="188" y="295"/>
                  </a:lnTo>
                  <a:lnTo>
                    <a:pt x="188" y="295"/>
                  </a:lnTo>
                  <a:lnTo>
                    <a:pt x="190" y="297"/>
                  </a:lnTo>
                  <a:lnTo>
                    <a:pt x="192" y="299"/>
                  </a:lnTo>
                  <a:lnTo>
                    <a:pt x="192" y="306"/>
                  </a:lnTo>
                  <a:lnTo>
                    <a:pt x="192" y="306"/>
                  </a:lnTo>
                  <a:lnTo>
                    <a:pt x="190" y="317"/>
                  </a:lnTo>
                  <a:lnTo>
                    <a:pt x="190" y="320"/>
                  </a:lnTo>
                  <a:lnTo>
                    <a:pt x="188" y="322"/>
                  </a:lnTo>
                  <a:lnTo>
                    <a:pt x="188" y="322"/>
                  </a:lnTo>
                  <a:lnTo>
                    <a:pt x="185" y="324"/>
                  </a:lnTo>
                  <a:lnTo>
                    <a:pt x="181" y="326"/>
                  </a:lnTo>
                  <a:lnTo>
                    <a:pt x="178" y="327"/>
                  </a:lnTo>
                  <a:lnTo>
                    <a:pt x="176" y="331"/>
                  </a:lnTo>
                  <a:lnTo>
                    <a:pt x="176" y="331"/>
                  </a:lnTo>
                  <a:lnTo>
                    <a:pt x="172" y="331"/>
                  </a:lnTo>
                  <a:lnTo>
                    <a:pt x="171" y="333"/>
                  </a:lnTo>
                  <a:lnTo>
                    <a:pt x="163" y="336"/>
                  </a:lnTo>
                  <a:lnTo>
                    <a:pt x="163" y="336"/>
                  </a:lnTo>
                  <a:lnTo>
                    <a:pt x="162" y="336"/>
                  </a:lnTo>
                  <a:lnTo>
                    <a:pt x="160" y="340"/>
                  </a:lnTo>
                  <a:lnTo>
                    <a:pt x="156" y="342"/>
                  </a:lnTo>
                  <a:lnTo>
                    <a:pt x="155" y="343"/>
                  </a:lnTo>
                  <a:lnTo>
                    <a:pt x="155" y="343"/>
                  </a:lnTo>
                  <a:lnTo>
                    <a:pt x="147" y="345"/>
                  </a:lnTo>
                  <a:lnTo>
                    <a:pt x="144" y="347"/>
                  </a:lnTo>
                  <a:lnTo>
                    <a:pt x="142" y="349"/>
                  </a:lnTo>
                  <a:lnTo>
                    <a:pt x="142" y="349"/>
                  </a:lnTo>
                  <a:lnTo>
                    <a:pt x="139" y="351"/>
                  </a:lnTo>
                  <a:lnTo>
                    <a:pt x="137" y="351"/>
                  </a:lnTo>
                  <a:lnTo>
                    <a:pt x="131" y="349"/>
                  </a:lnTo>
                  <a:lnTo>
                    <a:pt x="131" y="349"/>
                  </a:lnTo>
                  <a:lnTo>
                    <a:pt x="130" y="349"/>
                  </a:lnTo>
                  <a:lnTo>
                    <a:pt x="126" y="352"/>
                  </a:lnTo>
                  <a:lnTo>
                    <a:pt x="124" y="358"/>
                  </a:lnTo>
                  <a:lnTo>
                    <a:pt x="123" y="361"/>
                  </a:lnTo>
                  <a:lnTo>
                    <a:pt x="123" y="361"/>
                  </a:lnTo>
                  <a:lnTo>
                    <a:pt x="123" y="363"/>
                  </a:lnTo>
                  <a:lnTo>
                    <a:pt x="119" y="368"/>
                  </a:lnTo>
                  <a:lnTo>
                    <a:pt x="115" y="372"/>
                  </a:lnTo>
                  <a:lnTo>
                    <a:pt x="115" y="372"/>
                  </a:lnTo>
                  <a:lnTo>
                    <a:pt x="107" y="379"/>
                  </a:lnTo>
                  <a:lnTo>
                    <a:pt x="96" y="386"/>
                  </a:lnTo>
                  <a:lnTo>
                    <a:pt x="96" y="386"/>
                  </a:lnTo>
                  <a:lnTo>
                    <a:pt x="94" y="390"/>
                  </a:lnTo>
                  <a:lnTo>
                    <a:pt x="94" y="391"/>
                  </a:lnTo>
                  <a:lnTo>
                    <a:pt x="94" y="397"/>
                  </a:lnTo>
                  <a:lnTo>
                    <a:pt x="94" y="399"/>
                  </a:lnTo>
                  <a:lnTo>
                    <a:pt x="94" y="399"/>
                  </a:lnTo>
                  <a:lnTo>
                    <a:pt x="91" y="400"/>
                  </a:lnTo>
                  <a:lnTo>
                    <a:pt x="89" y="400"/>
                  </a:lnTo>
                  <a:lnTo>
                    <a:pt x="83" y="399"/>
                  </a:lnTo>
                  <a:lnTo>
                    <a:pt x="80" y="397"/>
                  </a:lnTo>
                  <a:lnTo>
                    <a:pt x="75" y="397"/>
                  </a:lnTo>
                  <a:lnTo>
                    <a:pt x="75" y="397"/>
                  </a:lnTo>
                  <a:lnTo>
                    <a:pt x="67" y="397"/>
                  </a:lnTo>
                  <a:lnTo>
                    <a:pt x="62" y="400"/>
                  </a:lnTo>
                  <a:lnTo>
                    <a:pt x="55" y="406"/>
                  </a:lnTo>
                  <a:lnTo>
                    <a:pt x="55" y="406"/>
                  </a:lnTo>
                  <a:lnTo>
                    <a:pt x="50" y="409"/>
                  </a:lnTo>
                  <a:lnTo>
                    <a:pt x="46" y="411"/>
                  </a:lnTo>
                  <a:lnTo>
                    <a:pt x="44" y="411"/>
                  </a:lnTo>
                  <a:lnTo>
                    <a:pt x="44" y="411"/>
                  </a:lnTo>
                  <a:lnTo>
                    <a:pt x="39" y="407"/>
                  </a:lnTo>
                  <a:lnTo>
                    <a:pt x="35" y="407"/>
                  </a:lnTo>
                  <a:lnTo>
                    <a:pt x="35" y="407"/>
                  </a:lnTo>
                  <a:lnTo>
                    <a:pt x="35" y="407"/>
                  </a:lnTo>
                  <a:lnTo>
                    <a:pt x="27" y="407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18" y="411"/>
                  </a:lnTo>
                  <a:lnTo>
                    <a:pt x="18" y="413"/>
                  </a:lnTo>
                  <a:lnTo>
                    <a:pt x="18" y="422"/>
                  </a:lnTo>
                  <a:lnTo>
                    <a:pt x="18" y="422"/>
                  </a:lnTo>
                  <a:lnTo>
                    <a:pt x="18" y="423"/>
                  </a:lnTo>
                  <a:lnTo>
                    <a:pt x="18" y="425"/>
                  </a:lnTo>
                  <a:lnTo>
                    <a:pt x="21" y="425"/>
                  </a:lnTo>
                  <a:lnTo>
                    <a:pt x="21" y="429"/>
                  </a:lnTo>
                  <a:lnTo>
                    <a:pt x="21" y="429"/>
                  </a:lnTo>
                  <a:lnTo>
                    <a:pt x="23" y="429"/>
                  </a:lnTo>
                  <a:lnTo>
                    <a:pt x="21" y="431"/>
                  </a:lnTo>
                  <a:lnTo>
                    <a:pt x="19" y="431"/>
                  </a:lnTo>
                  <a:lnTo>
                    <a:pt x="16" y="434"/>
                  </a:lnTo>
                  <a:lnTo>
                    <a:pt x="14" y="438"/>
                  </a:lnTo>
                  <a:lnTo>
                    <a:pt x="14" y="438"/>
                  </a:lnTo>
                  <a:lnTo>
                    <a:pt x="9" y="448"/>
                  </a:lnTo>
                  <a:lnTo>
                    <a:pt x="9" y="448"/>
                  </a:lnTo>
                  <a:lnTo>
                    <a:pt x="9" y="448"/>
                  </a:lnTo>
                  <a:lnTo>
                    <a:pt x="12" y="450"/>
                  </a:lnTo>
                  <a:lnTo>
                    <a:pt x="19" y="454"/>
                  </a:lnTo>
                  <a:lnTo>
                    <a:pt x="30" y="459"/>
                  </a:lnTo>
                  <a:lnTo>
                    <a:pt x="30" y="459"/>
                  </a:lnTo>
                  <a:lnTo>
                    <a:pt x="34" y="459"/>
                  </a:lnTo>
                  <a:lnTo>
                    <a:pt x="30" y="459"/>
                  </a:lnTo>
                  <a:lnTo>
                    <a:pt x="30" y="461"/>
                  </a:lnTo>
                  <a:lnTo>
                    <a:pt x="30" y="461"/>
                  </a:lnTo>
                  <a:lnTo>
                    <a:pt x="27" y="463"/>
                  </a:lnTo>
                  <a:lnTo>
                    <a:pt x="25" y="464"/>
                  </a:lnTo>
                  <a:lnTo>
                    <a:pt x="18" y="464"/>
                  </a:lnTo>
                  <a:lnTo>
                    <a:pt x="18" y="464"/>
                  </a:lnTo>
                  <a:lnTo>
                    <a:pt x="14" y="464"/>
                  </a:lnTo>
                  <a:lnTo>
                    <a:pt x="12" y="466"/>
                  </a:lnTo>
                  <a:lnTo>
                    <a:pt x="9" y="470"/>
                  </a:lnTo>
                  <a:lnTo>
                    <a:pt x="9" y="470"/>
                  </a:lnTo>
                  <a:lnTo>
                    <a:pt x="5" y="473"/>
                  </a:lnTo>
                  <a:lnTo>
                    <a:pt x="2" y="480"/>
                  </a:lnTo>
                  <a:lnTo>
                    <a:pt x="2" y="480"/>
                  </a:lnTo>
                  <a:lnTo>
                    <a:pt x="0" y="482"/>
                  </a:lnTo>
                  <a:lnTo>
                    <a:pt x="2" y="484"/>
                  </a:lnTo>
                  <a:lnTo>
                    <a:pt x="2" y="487"/>
                  </a:lnTo>
                  <a:lnTo>
                    <a:pt x="2" y="487"/>
                  </a:lnTo>
                  <a:lnTo>
                    <a:pt x="0" y="491"/>
                  </a:lnTo>
                  <a:lnTo>
                    <a:pt x="0" y="491"/>
                  </a:lnTo>
                  <a:lnTo>
                    <a:pt x="3" y="491"/>
                  </a:lnTo>
                  <a:lnTo>
                    <a:pt x="7" y="495"/>
                  </a:lnTo>
                  <a:lnTo>
                    <a:pt x="7" y="495"/>
                  </a:lnTo>
                  <a:lnTo>
                    <a:pt x="9" y="498"/>
                  </a:lnTo>
                  <a:lnTo>
                    <a:pt x="9" y="502"/>
                  </a:lnTo>
                  <a:lnTo>
                    <a:pt x="12" y="505"/>
                  </a:lnTo>
                  <a:lnTo>
                    <a:pt x="14" y="507"/>
                  </a:lnTo>
                  <a:lnTo>
                    <a:pt x="14" y="507"/>
                  </a:lnTo>
                  <a:lnTo>
                    <a:pt x="25" y="512"/>
                  </a:lnTo>
                  <a:lnTo>
                    <a:pt x="25" y="512"/>
                  </a:lnTo>
                  <a:lnTo>
                    <a:pt x="30" y="516"/>
                  </a:lnTo>
                  <a:lnTo>
                    <a:pt x="35" y="519"/>
                  </a:lnTo>
                  <a:lnTo>
                    <a:pt x="41" y="519"/>
                  </a:lnTo>
                  <a:lnTo>
                    <a:pt x="41" y="519"/>
                  </a:lnTo>
                  <a:lnTo>
                    <a:pt x="55" y="519"/>
                  </a:lnTo>
                  <a:lnTo>
                    <a:pt x="59" y="516"/>
                  </a:lnTo>
                  <a:lnTo>
                    <a:pt x="62" y="519"/>
                  </a:lnTo>
                  <a:lnTo>
                    <a:pt x="62" y="519"/>
                  </a:lnTo>
                  <a:lnTo>
                    <a:pt x="78" y="523"/>
                  </a:lnTo>
                  <a:lnTo>
                    <a:pt x="85" y="523"/>
                  </a:lnTo>
                  <a:lnTo>
                    <a:pt x="91" y="523"/>
                  </a:lnTo>
                  <a:lnTo>
                    <a:pt x="91" y="523"/>
                  </a:lnTo>
                  <a:lnTo>
                    <a:pt x="99" y="521"/>
                  </a:lnTo>
                  <a:lnTo>
                    <a:pt x="105" y="521"/>
                  </a:lnTo>
                  <a:lnTo>
                    <a:pt x="108" y="519"/>
                  </a:lnTo>
                  <a:lnTo>
                    <a:pt x="108" y="519"/>
                  </a:lnTo>
                  <a:lnTo>
                    <a:pt x="119" y="512"/>
                  </a:lnTo>
                  <a:lnTo>
                    <a:pt x="126" y="509"/>
                  </a:lnTo>
                  <a:lnTo>
                    <a:pt x="130" y="507"/>
                  </a:lnTo>
                  <a:lnTo>
                    <a:pt x="130" y="507"/>
                  </a:lnTo>
                  <a:lnTo>
                    <a:pt x="146" y="503"/>
                  </a:lnTo>
                  <a:lnTo>
                    <a:pt x="155" y="498"/>
                  </a:lnTo>
                  <a:lnTo>
                    <a:pt x="162" y="495"/>
                  </a:lnTo>
                  <a:lnTo>
                    <a:pt x="162" y="495"/>
                  </a:lnTo>
                  <a:lnTo>
                    <a:pt x="165" y="491"/>
                  </a:lnTo>
                  <a:lnTo>
                    <a:pt x="171" y="489"/>
                  </a:lnTo>
                  <a:lnTo>
                    <a:pt x="178" y="487"/>
                  </a:lnTo>
                  <a:lnTo>
                    <a:pt x="183" y="484"/>
                  </a:lnTo>
                  <a:lnTo>
                    <a:pt x="183" y="484"/>
                  </a:lnTo>
                  <a:lnTo>
                    <a:pt x="188" y="480"/>
                  </a:lnTo>
                  <a:lnTo>
                    <a:pt x="195" y="471"/>
                  </a:lnTo>
                  <a:lnTo>
                    <a:pt x="199" y="464"/>
                  </a:lnTo>
                  <a:lnTo>
                    <a:pt x="206" y="457"/>
                  </a:lnTo>
                  <a:lnTo>
                    <a:pt x="206" y="457"/>
                  </a:lnTo>
                  <a:lnTo>
                    <a:pt x="220" y="445"/>
                  </a:lnTo>
                  <a:lnTo>
                    <a:pt x="227" y="441"/>
                  </a:lnTo>
                  <a:lnTo>
                    <a:pt x="233" y="438"/>
                  </a:lnTo>
                  <a:lnTo>
                    <a:pt x="233" y="438"/>
                  </a:lnTo>
                  <a:lnTo>
                    <a:pt x="240" y="439"/>
                  </a:lnTo>
                  <a:lnTo>
                    <a:pt x="247" y="443"/>
                  </a:lnTo>
                  <a:lnTo>
                    <a:pt x="254" y="447"/>
                  </a:lnTo>
                  <a:lnTo>
                    <a:pt x="263" y="448"/>
                  </a:lnTo>
                  <a:lnTo>
                    <a:pt x="263" y="448"/>
                  </a:lnTo>
                  <a:lnTo>
                    <a:pt x="268" y="448"/>
                  </a:lnTo>
                  <a:lnTo>
                    <a:pt x="274" y="448"/>
                  </a:lnTo>
                  <a:lnTo>
                    <a:pt x="279" y="447"/>
                  </a:lnTo>
                  <a:lnTo>
                    <a:pt x="284" y="441"/>
                  </a:lnTo>
                  <a:lnTo>
                    <a:pt x="284" y="441"/>
                  </a:lnTo>
                  <a:lnTo>
                    <a:pt x="286" y="439"/>
                  </a:lnTo>
                  <a:lnTo>
                    <a:pt x="288" y="438"/>
                  </a:lnTo>
                  <a:lnTo>
                    <a:pt x="290" y="438"/>
                  </a:lnTo>
                  <a:lnTo>
                    <a:pt x="293" y="438"/>
                  </a:lnTo>
                  <a:lnTo>
                    <a:pt x="302" y="438"/>
                  </a:lnTo>
                  <a:lnTo>
                    <a:pt x="307" y="441"/>
                  </a:lnTo>
                  <a:lnTo>
                    <a:pt x="307" y="441"/>
                  </a:lnTo>
                  <a:lnTo>
                    <a:pt x="315" y="445"/>
                  </a:lnTo>
                  <a:lnTo>
                    <a:pt x="327" y="448"/>
                  </a:lnTo>
                  <a:lnTo>
                    <a:pt x="336" y="448"/>
                  </a:lnTo>
                  <a:lnTo>
                    <a:pt x="347" y="448"/>
                  </a:lnTo>
                  <a:lnTo>
                    <a:pt x="347" y="448"/>
                  </a:lnTo>
                  <a:lnTo>
                    <a:pt x="352" y="447"/>
                  </a:lnTo>
                  <a:lnTo>
                    <a:pt x="355" y="443"/>
                  </a:lnTo>
                  <a:lnTo>
                    <a:pt x="366" y="434"/>
                  </a:lnTo>
                  <a:lnTo>
                    <a:pt x="366" y="434"/>
                  </a:lnTo>
                  <a:lnTo>
                    <a:pt x="370" y="429"/>
                  </a:lnTo>
                  <a:lnTo>
                    <a:pt x="377" y="425"/>
                  </a:lnTo>
                  <a:lnTo>
                    <a:pt x="384" y="420"/>
                  </a:lnTo>
                  <a:lnTo>
                    <a:pt x="389" y="413"/>
                  </a:lnTo>
                  <a:lnTo>
                    <a:pt x="389" y="413"/>
                  </a:lnTo>
                  <a:lnTo>
                    <a:pt x="391" y="407"/>
                  </a:lnTo>
                  <a:lnTo>
                    <a:pt x="393" y="404"/>
                  </a:lnTo>
                  <a:lnTo>
                    <a:pt x="393" y="399"/>
                  </a:lnTo>
                  <a:lnTo>
                    <a:pt x="393" y="397"/>
                  </a:lnTo>
                  <a:lnTo>
                    <a:pt x="391" y="397"/>
                  </a:lnTo>
                  <a:lnTo>
                    <a:pt x="391" y="397"/>
                  </a:lnTo>
                  <a:lnTo>
                    <a:pt x="391" y="397"/>
                  </a:lnTo>
                  <a:lnTo>
                    <a:pt x="387" y="397"/>
                  </a:lnTo>
                  <a:lnTo>
                    <a:pt x="386" y="399"/>
                  </a:lnTo>
                  <a:lnTo>
                    <a:pt x="384" y="399"/>
                  </a:lnTo>
                  <a:lnTo>
                    <a:pt x="384" y="393"/>
                  </a:lnTo>
                  <a:lnTo>
                    <a:pt x="384" y="393"/>
                  </a:lnTo>
                  <a:lnTo>
                    <a:pt x="387" y="384"/>
                  </a:lnTo>
                  <a:lnTo>
                    <a:pt x="387" y="384"/>
                  </a:lnTo>
                  <a:lnTo>
                    <a:pt x="393" y="351"/>
                  </a:lnTo>
                  <a:lnTo>
                    <a:pt x="393" y="351"/>
                  </a:lnTo>
                  <a:lnTo>
                    <a:pt x="395" y="336"/>
                  </a:lnTo>
                  <a:lnTo>
                    <a:pt x="396" y="324"/>
                  </a:lnTo>
                  <a:lnTo>
                    <a:pt x="400" y="317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5" y="308"/>
                  </a:lnTo>
                  <a:lnTo>
                    <a:pt x="409" y="301"/>
                  </a:lnTo>
                  <a:lnTo>
                    <a:pt x="411" y="295"/>
                  </a:lnTo>
                  <a:lnTo>
                    <a:pt x="411" y="290"/>
                  </a:lnTo>
                  <a:lnTo>
                    <a:pt x="411" y="288"/>
                  </a:lnTo>
                  <a:lnTo>
                    <a:pt x="411" y="288"/>
                  </a:lnTo>
                  <a:lnTo>
                    <a:pt x="407" y="285"/>
                  </a:lnTo>
                  <a:lnTo>
                    <a:pt x="405" y="285"/>
                  </a:lnTo>
                  <a:lnTo>
                    <a:pt x="403" y="283"/>
                  </a:lnTo>
                  <a:lnTo>
                    <a:pt x="403" y="281"/>
                  </a:lnTo>
                  <a:lnTo>
                    <a:pt x="403" y="281"/>
                  </a:lnTo>
                  <a:lnTo>
                    <a:pt x="403" y="278"/>
                  </a:lnTo>
                  <a:lnTo>
                    <a:pt x="391" y="271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7" y="271"/>
                  </a:lnTo>
                  <a:lnTo>
                    <a:pt x="386" y="271"/>
                  </a:lnTo>
                  <a:lnTo>
                    <a:pt x="384" y="271"/>
                  </a:lnTo>
                  <a:lnTo>
                    <a:pt x="380" y="271"/>
                  </a:lnTo>
                  <a:lnTo>
                    <a:pt x="380" y="269"/>
                  </a:lnTo>
                  <a:lnTo>
                    <a:pt x="380" y="269"/>
                  </a:lnTo>
                  <a:lnTo>
                    <a:pt x="382" y="263"/>
                  </a:lnTo>
                  <a:lnTo>
                    <a:pt x="382" y="263"/>
                  </a:lnTo>
                  <a:lnTo>
                    <a:pt x="386" y="255"/>
                  </a:lnTo>
                  <a:lnTo>
                    <a:pt x="387" y="247"/>
                  </a:lnTo>
                  <a:lnTo>
                    <a:pt x="387" y="247"/>
                  </a:lnTo>
                  <a:lnTo>
                    <a:pt x="395" y="240"/>
                  </a:lnTo>
                  <a:lnTo>
                    <a:pt x="402" y="233"/>
                  </a:lnTo>
                  <a:lnTo>
                    <a:pt x="407" y="228"/>
                  </a:lnTo>
                  <a:lnTo>
                    <a:pt x="407" y="228"/>
                  </a:lnTo>
                  <a:lnTo>
                    <a:pt x="409" y="226"/>
                  </a:lnTo>
                  <a:lnTo>
                    <a:pt x="412" y="223"/>
                  </a:lnTo>
                  <a:lnTo>
                    <a:pt x="423" y="217"/>
                  </a:lnTo>
                  <a:lnTo>
                    <a:pt x="423" y="217"/>
                  </a:lnTo>
                  <a:lnTo>
                    <a:pt x="425" y="215"/>
                  </a:lnTo>
                  <a:lnTo>
                    <a:pt x="419" y="196"/>
                  </a:lnTo>
                  <a:lnTo>
                    <a:pt x="407" y="187"/>
                  </a:lnTo>
                  <a:lnTo>
                    <a:pt x="407" y="187"/>
                  </a:lnTo>
                  <a:lnTo>
                    <a:pt x="407" y="187"/>
                  </a:lnTo>
                  <a:lnTo>
                    <a:pt x="407" y="18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Freeform 54"/>
            <p:cNvSpPr>
              <a:spLocks/>
            </p:cNvSpPr>
            <p:nvPr/>
          </p:nvSpPr>
          <p:spPr bwMode="auto">
            <a:xfrm>
              <a:off x="2408619" y="2783173"/>
              <a:ext cx="82717" cy="59899"/>
            </a:xfrm>
            <a:custGeom>
              <a:avLst/>
              <a:gdLst>
                <a:gd name="T0" fmla="*/ 138 w 145"/>
                <a:gd name="T1" fmla="*/ 0 h 105"/>
                <a:gd name="T2" fmla="*/ 135 w 145"/>
                <a:gd name="T3" fmla="*/ 2 h 105"/>
                <a:gd name="T4" fmla="*/ 124 w 145"/>
                <a:gd name="T5" fmla="*/ 4 h 105"/>
                <a:gd name="T6" fmla="*/ 122 w 145"/>
                <a:gd name="T7" fmla="*/ 4 h 105"/>
                <a:gd name="T8" fmla="*/ 117 w 145"/>
                <a:gd name="T9" fmla="*/ 11 h 105"/>
                <a:gd name="T10" fmla="*/ 115 w 145"/>
                <a:gd name="T11" fmla="*/ 13 h 105"/>
                <a:gd name="T12" fmla="*/ 112 w 145"/>
                <a:gd name="T13" fmla="*/ 16 h 105"/>
                <a:gd name="T14" fmla="*/ 105 w 145"/>
                <a:gd name="T15" fmla="*/ 16 h 105"/>
                <a:gd name="T16" fmla="*/ 94 w 145"/>
                <a:gd name="T17" fmla="*/ 16 h 105"/>
                <a:gd name="T18" fmla="*/ 90 w 145"/>
                <a:gd name="T19" fmla="*/ 14 h 105"/>
                <a:gd name="T20" fmla="*/ 78 w 145"/>
                <a:gd name="T21" fmla="*/ 11 h 105"/>
                <a:gd name="T22" fmla="*/ 67 w 145"/>
                <a:gd name="T23" fmla="*/ 4 h 105"/>
                <a:gd name="T24" fmla="*/ 58 w 145"/>
                <a:gd name="T25" fmla="*/ 2 h 105"/>
                <a:gd name="T26" fmla="*/ 58 w 145"/>
                <a:gd name="T27" fmla="*/ 2 h 105"/>
                <a:gd name="T28" fmla="*/ 55 w 145"/>
                <a:gd name="T29" fmla="*/ 6 h 105"/>
                <a:gd name="T30" fmla="*/ 49 w 145"/>
                <a:gd name="T31" fmla="*/ 11 h 105"/>
                <a:gd name="T32" fmla="*/ 42 w 145"/>
                <a:gd name="T33" fmla="*/ 11 h 105"/>
                <a:gd name="T34" fmla="*/ 35 w 145"/>
                <a:gd name="T35" fmla="*/ 6 h 105"/>
                <a:gd name="T36" fmla="*/ 33 w 145"/>
                <a:gd name="T37" fmla="*/ 9 h 105"/>
                <a:gd name="T38" fmla="*/ 33 w 145"/>
                <a:gd name="T39" fmla="*/ 13 h 105"/>
                <a:gd name="T40" fmla="*/ 35 w 145"/>
                <a:gd name="T41" fmla="*/ 18 h 105"/>
                <a:gd name="T42" fmla="*/ 30 w 145"/>
                <a:gd name="T43" fmla="*/ 20 h 105"/>
                <a:gd name="T44" fmla="*/ 23 w 145"/>
                <a:gd name="T45" fmla="*/ 23 h 105"/>
                <a:gd name="T46" fmla="*/ 17 w 145"/>
                <a:gd name="T47" fmla="*/ 30 h 105"/>
                <a:gd name="T48" fmla="*/ 10 w 145"/>
                <a:gd name="T49" fmla="*/ 36 h 105"/>
                <a:gd name="T50" fmla="*/ 10 w 145"/>
                <a:gd name="T51" fmla="*/ 43 h 105"/>
                <a:gd name="T52" fmla="*/ 10 w 145"/>
                <a:gd name="T53" fmla="*/ 45 h 105"/>
                <a:gd name="T54" fmla="*/ 0 w 145"/>
                <a:gd name="T55" fmla="*/ 59 h 105"/>
                <a:gd name="T56" fmla="*/ 1 w 145"/>
                <a:gd name="T57" fmla="*/ 61 h 105"/>
                <a:gd name="T58" fmla="*/ 10 w 145"/>
                <a:gd name="T59" fmla="*/ 73 h 105"/>
                <a:gd name="T60" fmla="*/ 14 w 145"/>
                <a:gd name="T61" fmla="*/ 77 h 105"/>
                <a:gd name="T62" fmla="*/ 19 w 145"/>
                <a:gd name="T63" fmla="*/ 82 h 105"/>
                <a:gd name="T64" fmla="*/ 21 w 145"/>
                <a:gd name="T65" fmla="*/ 91 h 105"/>
                <a:gd name="T66" fmla="*/ 23 w 145"/>
                <a:gd name="T67" fmla="*/ 94 h 105"/>
                <a:gd name="T68" fmla="*/ 32 w 145"/>
                <a:gd name="T69" fmla="*/ 100 h 105"/>
                <a:gd name="T70" fmla="*/ 37 w 145"/>
                <a:gd name="T71" fmla="*/ 103 h 105"/>
                <a:gd name="T72" fmla="*/ 42 w 145"/>
                <a:gd name="T73" fmla="*/ 105 h 105"/>
                <a:gd name="T74" fmla="*/ 51 w 145"/>
                <a:gd name="T75" fmla="*/ 100 h 105"/>
                <a:gd name="T76" fmla="*/ 81 w 145"/>
                <a:gd name="T77" fmla="*/ 86 h 105"/>
                <a:gd name="T78" fmla="*/ 87 w 145"/>
                <a:gd name="T79" fmla="*/ 82 h 105"/>
                <a:gd name="T80" fmla="*/ 90 w 145"/>
                <a:gd name="T81" fmla="*/ 78 h 105"/>
                <a:gd name="T82" fmla="*/ 90 w 145"/>
                <a:gd name="T83" fmla="*/ 75 h 105"/>
                <a:gd name="T84" fmla="*/ 92 w 145"/>
                <a:gd name="T85" fmla="*/ 62 h 105"/>
                <a:gd name="T86" fmla="*/ 99 w 145"/>
                <a:gd name="T87" fmla="*/ 54 h 105"/>
                <a:gd name="T88" fmla="*/ 103 w 145"/>
                <a:gd name="T89" fmla="*/ 52 h 105"/>
                <a:gd name="T90" fmla="*/ 110 w 145"/>
                <a:gd name="T91" fmla="*/ 46 h 105"/>
                <a:gd name="T92" fmla="*/ 112 w 145"/>
                <a:gd name="T93" fmla="*/ 43 h 105"/>
                <a:gd name="T94" fmla="*/ 128 w 145"/>
                <a:gd name="T95" fmla="*/ 22 h 105"/>
                <a:gd name="T96" fmla="*/ 131 w 145"/>
                <a:gd name="T97" fmla="*/ 18 h 105"/>
                <a:gd name="T98" fmla="*/ 142 w 145"/>
                <a:gd name="T99" fmla="*/ 18 h 105"/>
                <a:gd name="T100" fmla="*/ 145 w 145"/>
                <a:gd name="T101" fmla="*/ 4 h 105"/>
                <a:gd name="T102" fmla="*/ 142 w 145"/>
                <a:gd name="T103" fmla="*/ 0 h 105"/>
                <a:gd name="T104" fmla="*/ 138 w 145"/>
                <a:gd name="T105" fmla="*/ 0 h 105"/>
                <a:gd name="T106" fmla="*/ 138 w 145"/>
                <a:gd name="T10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" h="105">
                  <a:moveTo>
                    <a:pt x="138" y="0"/>
                  </a:moveTo>
                  <a:lnTo>
                    <a:pt x="138" y="0"/>
                  </a:lnTo>
                  <a:lnTo>
                    <a:pt x="138" y="0"/>
                  </a:lnTo>
                  <a:lnTo>
                    <a:pt x="135" y="2"/>
                  </a:lnTo>
                  <a:lnTo>
                    <a:pt x="131" y="2"/>
                  </a:lnTo>
                  <a:lnTo>
                    <a:pt x="124" y="4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19" y="6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5" y="13"/>
                  </a:lnTo>
                  <a:lnTo>
                    <a:pt x="113" y="14"/>
                  </a:lnTo>
                  <a:lnTo>
                    <a:pt x="112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99" y="16"/>
                  </a:lnTo>
                  <a:lnTo>
                    <a:pt x="94" y="16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7" y="13"/>
                  </a:lnTo>
                  <a:lnTo>
                    <a:pt x="78" y="11"/>
                  </a:lnTo>
                  <a:lnTo>
                    <a:pt x="71" y="6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5" y="6"/>
                  </a:lnTo>
                  <a:lnTo>
                    <a:pt x="53" y="9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2" y="11"/>
                  </a:lnTo>
                  <a:lnTo>
                    <a:pt x="39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3" y="9"/>
                  </a:lnTo>
                  <a:lnTo>
                    <a:pt x="33" y="11"/>
                  </a:lnTo>
                  <a:lnTo>
                    <a:pt x="33" y="13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23" y="23"/>
                  </a:lnTo>
                  <a:lnTo>
                    <a:pt x="19" y="25"/>
                  </a:lnTo>
                  <a:lnTo>
                    <a:pt x="17" y="30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9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7" y="68"/>
                  </a:lnTo>
                  <a:lnTo>
                    <a:pt x="10" y="73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7" y="78"/>
                  </a:lnTo>
                  <a:lnTo>
                    <a:pt x="19" y="82"/>
                  </a:lnTo>
                  <a:lnTo>
                    <a:pt x="21" y="86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3" y="94"/>
                  </a:lnTo>
                  <a:lnTo>
                    <a:pt x="28" y="98"/>
                  </a:lnTo>
                  <a:lnTo>
                    <a:pt x="32" y="100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41" y="105"/>
                  </a:lnTo>
                  <a:lnTo>
                    <a:pt x="42" y="105"/>
                  </a:lnTo>
                  <a:lnTo>
                    <a:pt x="51" y="100"/>
                  </a:lnTo>
                  <a:lnTo>
                    <a:pt x="51" y="100"/>
                  </a:lnTo>
                  <a:lnTo>
                    <a:pt x="67" y="94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7" y="82"/>
                  </a:lnTo>
                  <a:lnTo>
                    <a:pt x="90" y="82"/>
                  </a:lnTo>
                  <a:lnTo>
                    <a:pt x="90" y="78"/>
                  </a:lnTo>
                  <a:lnTo>
                    <a:pt x="90" y="75"/>
                  </a:lnTo>
                  <a:lnTo>
                    <a:pt x="90" y="75"/>
                  </a:lnTo>
                  <a:lnTo>
                    <a:pt x="90" y="71"/>
                  </a:lnTo>
                  <a:lnTo>
                    <a:pt x="92" y="62"/>
                  </a:lnTo>
                  <a:lnTo>
                    <a:pt x="96" y="57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103" y="52"/>
                  </a:lnTo>
                  <a:lnTo>
                    <a:pt x="105" y="46"/>
                  </a:lnTo>
                  <a:lnTo>
                    <a:pt x="110" y="46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9" y="30"/>
                  </a:lnTo>
                  <a:lnTo>
                    <a:pt x="128" y="22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7" y="16"/>
                  </a:lnTo>
                  <a:lnTo>
                    <a:pt x="142" y="18"/>
                  </a:lnTo>
                  <a:lnTo>
                    <a:pt x="145" y="4"/>
                  </a:lnTo>
                  <a:lnTo>
                    <a:pt x="145" y="4"/>
                  </a:lnTo>
                  <a:lnTo>
                    <a:pt x="144" y="2"/>
                  </a:lnTo>
                  <a:lnTo>
                    <a:pt x="142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Freeform 55"/>
            <p:cNvSpPr>
              <a:spLocks/>
            </p:cNvSpPr>
            <p:nvPr/>
          </p:nvSpPr>
          <p:spPr bwMode="auto">
            <a:xfrm>
              <a:off x="2470229" y="2750086"/>
              <a:ext cx="110670" cy="241877"/>
            </a:xfrm>
            <a:custGeom>
              <a:avLst/>
              <a:gdLst>
                <a:gd name="T0" fmla="*/ 169 w 194"/>
                <a:gd name="T1" fmla="*/ 30 h 424"/>
                <a:gd name="T2" fmla="*/ 158 w 194"/>
                <a:gd name="T3" fmla="*/ 12 h 424"/>
                <a:gd name="T4" fmla="*/ 148 w 194"/>
                <a:gd name="T5" fmla="*/ 7 h 424"/>
                <a:gd name="T6" fmla="*/ 139 w 194"/>
                <a:gd name="T7" fmla="*/ 1 h 424"/>
                <a:gd name="T8" fmla="*/ 132 w 194"/>
                <a:gd name="T9" fmla="*/ 21 h 424"/>
                <a:gd name="T10" fmla="*/ 121 w 194"/>
                <a:gd name="T11" fmla="*/ 35 h 424"/>
                <a:gd name="T12" fmla="*/ 130 w 194"/>
                <a:gd name="T13" fmla="*/ 39 h 424"/>
                <a:gd name="T14" fmla="*/ 132 w 194"/>
                <a:gd name="T15" fmla="*/ 49 h 424"/>
                <a:gd name="T16" fmla="*/ 151 w 194"/>
                <a:gd name="T17" fmla="*/ 42 h 424"/>
                <a:gd name="T18" fmla="*/ 158 w 194"/>
                <a:gd name="T19" fmla="*/ 53 h 424"/>
                <a:gd name="T20" fmla="*/ 146 w 194"/>
                <a:gd name="T21" fmla="*/ 76 h 424"/>
                <a:gd name="T22" fmla="*/ 132 w 194"/>
                <a:gd name="T23" fmla="*/ 78 h 424"/>
                <a:gd name="T24" fmla="*/ 135 w 194"/>
                <a:gd name="T25" fmla="*/ 97 h 424"/>
                <a:gd name="T26" fmla="*/ 123 w 194"/>
                <a:gd name="T27" fmla="*/ 113 h 424"/>
                <a:gd name="T28" fmla="*/ 110 w 194"/>
                <a:gd name="T29" fmla="*/ 120 h 424"/>
                <a:gd name="T30" fmla="*/ 94 w 194"/>
                <a:gd name="T31" fmla="*/ 120 h 424"/>
                <a:gd name="T32" fmla="*/ 85 w 194"/>
                <a:gd name="T33" fmla="*/ 117 h 424"/>
                <a:gd name="T34" fmla="*/ 75 w 194"/>
                <a:gd name="T35" fmla="*/ 122 h 424"/>
                <a:gd name="T36" fmla="*/ 66 w 194"/>
                <a:gd name="T37" fmla="*/ 135 h 424"/>
                <a:gd name="T38" fmla="*/ 68 w 194"/>
                <a:gd name="T39" fmla="*/ 151 h 424"/>
                <a:gd name="T40" fmla="*/ 53 w 194"/>
                <a:gd name="T41" fmla="*/ 163 h 424"/>
                <a:gd name="T42" fmla="*/ 61 w 194"/>
                <a:gd name="T43" fmla="*/ 183 h 424"/>
                <a:gd name="T44" fmla="*/ 62 w 194"/>
                <a:gd name="T45" fmla="*/ 224 h 424"/>
                <a:gd name="T46" fmla="*/ 66 w 194"/>
                <a:gd name="T47" fmla="*/ 252 h 424"/>
                <a:gd name="T48" fmla="*/ 57 w 194"/>
                <a:gd name="T49" fmla="*/ 266 h 424"/>
                <a:gd name="T50" fmla="*/ 53 w 194"/>
                <a:gd name="T51" fmla="*/ 291 h 424"/>
                <a:gd name="T52" fmla="*/ 37 w 194"/>
                <a:gd name="T53" fmla="*/ 280 h 424"/>
                <a:gd name="T54" fmla="*/ 30 w 194"/>
                <a:gd name="T55" fmla="*/ 272 h 424"/>
                <a:gd name="T56" fmla="*/ 25 w 194"/>
                <a:gd name="T57" fmla="*/ 263 h 424"/>
                <a:gd name="T58" fmla="*/ 20 w 194"/>
                <a:gd name="T59" fmla="*/ 259 h 424"/>
                <a:gd name="T60" fmla="*/ 14 w 194"/>
                <a:gd name="T61" fmla="*/ 277 h 424"/>
                <a:gd name="T62" fmla="*/ 0 w 194"/>
                <a:gd name="T63" fmla="*/ 295 h 424"/>
                <a:gd name="T64" fmla="*/ 23 w 194"/>
                <a:gd name="T65" fmla="*/ 320 h 424"/>
                <a:gd name="T66" fmla="*/ 34 w 194"/>
                <a:gd name="T67" fmla="*/ 344 h 424"/>
                <a:gd name="T68" fmla="*/ 48 w 194"/>
                <a:gd name="T69" fmla="*/ 373 h 424"/>
                <a:gd name="T70" fmla="*/ 43 w 194"/>
                <a:gd name="T71" fmla="*/ 394 h 424"/>
                <a:gd name="T72" fmla="*/ 30 w 194"/>
                <a:gd name="T73" fmla="*/ 405 h 424"/>
                <a:gd name="T74" fmla="*/ 46 w 194"/>
                <a:gd name="T75" fmla="*/ 424 h 424"/>
                <a:gd name="T76" fmla="*/ 57 w 194"/>
                <a:gd name="T77" fmla="*/ 384 h 424"/>
                <a:gd name="T78" fmla="*/ 64 w 194"/>
                <a:gd name="T79" fmla="*/ 359 h 424"/>
                <a:gd name="T80" fmla="*/ 69 w 194"/>
                <a:gd name="T81" fmla="*/ 364 h 424"/>
                <a:gd name="T82" fmla="*/ 77 w 194"/>
                <a:gd name="T83" fmla="*/ 360 h 424"/>
                <a:gd name="T84" fmla="*/ 84 w 194"/>
                <a:gd name="T85" fmla="*/ 350 h 424"/>
                <a:gd name="T86" fmla="*/ 87 w 194"/>
                <a:gd name="T87" fmla="*/ 362 h 424"/>
                <a:gd name="T88" fmla="*/ 117 w 194"/>
                <a:gd name="T89" fmla="*/ 360 h 424"/>
                <a:gd name="T90" fmla="*/ 146 w 194"/>
                <a:gd name="T91" fmla="*/ 337 h 424"/>
                <a:gd name="T92" fmla="*/ 171 w 194"/>
                <a:gd name="T93" fmla="*/ 280 h 424"/>
                <a:gd name="T94" fmla="*/ 174 w 194"/>
                <a:gd name="T95" fmla="*/ 250 h 424"/>
                <a:gd name="T96" fmla="*/ 185 w 194"/>
                <a:gd name="T97" fmla="*/ 179 h 424"/>
                <a:gd name="T98" fmla="*/ 192 w 194"/>
                <a:gd name="T99" fmla="*/ 94 h 424"/>
                <a:gd name="T100" fmla="*/ 190 w 194"/>
                <a:gd name="T101" fmla="*/ 44 h 424"/>
                <a:gd name="T102" fmla="*/ 174 w 194"/>
                <a:gd name="T103" fmla="*/ 37 h 424"/>
                <a:gd name="T104" fmla="*/ 171 w 194"/>
                <a:gd name="T105" fmla="*/ 35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4" h="424">
                  <a:moveTo>
                    <a:pt x="171" y="35"/>
                  </a:moveTo>
                  <a:lnTo>
                    <a:pt x="171" y="35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69" y="17"/>
                  </a:lnTo>
                  <a:lnTo>
                    <a:pt x="165" y="16"/>
                  </a:lnTo>
                  <a:lnTo>
                    <a:pt x="158" y="12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3" y="10"/>
                  </a:lnTo>
                  <a:lnTo>
                    <a:pt x="151" y="10"/>
                  </a:lnTo>
                  <a:lnTo>
                    <a:pt x="148" y="7"/>
                  </a:lnTo>
                  <a:lnTo>
                    <a:pt x="144" y="1"/>
                  </a:lnTo>
                  <a:lnTo>
                    <a:pt x="142" y="1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39" y="1"/>
                  </a:lnTo>
                  <a:lnTo>
                    <a:pt x="137" y="1"/>
                  </a:lnTo>
                  <a:lnTo>
                    <a:pt x="135" y="8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2" y="21"/>
                  </a:lnTo>
                  <a:lnTo>
                    <a:pt x="128" y="23"/>
                  </a:lnTo>
                  <a:lnTo>
                    <a:pt x="125" y="28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1" y="35"/>
                  </a:lnTo>
                  <a:lnTo>
                    <a:pt x="121" y="35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6" y="39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44"/>
                  </a:lnTo>
                  <a:lnTo>
                    <a:pt x="132" y="49"/>
                  </a:lnTo>
                  <a:lnTo>
                    <a:pt x="132" y="49"/>
                  </a:lnTo>
                  <a:lnTo>
                    <a:pt x="137" y="44"/>
                  </a:lnTo>
                  <a:lnTo>
                    <a:pt x="148" y="42"/>
                  </a:lnTo>
                  <a:lnTo>
                    <a:pt x="148" y="42"/>
                  </a:lnTo>
                  <a:lnTo>
                    <a:pt x="151" y="42"/>
                  </a:lnTo>
                  <a:lnTo>
                    <a:pt x="153" y="42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58" y="51"/>
                  </a:lnTo>
                  <a:lnTo>
                    <a:pt x="158" y="53"/>
                  </a:lnTo>
                  <a:lnTo>
                    <a:pt x="155" y="58"/>
                  </a:lnTo>
                  <a:lnTo>
                    <a:pt x="151" y="64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6" y="76"/>
                  </a:lnTo>
                  <a:lnTo>
                    <a:pt x="142" y="76"/>
                  </a:lnTo>
                  <a:lnTo>
                    <a:pt x="13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2" y="78"/>
                  </a:lnTo>
                  <a:lnTo>
                    <a:pt x="130" y="78"/>
                  </a:lnTo>
                  <a:lnTo>
                    <a:pt x="132" y="83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7"/>
                  </a:lnTo>
                  <a:lnTo>
                    <a:pt x="133" y="104"/>
                  </a:lnTo>
                  <a:lnTo>
                    <a:pt x="130" y="110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3" y="113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112" y="117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05" y="119"/>
                  </a:lnTo>
                  <a:lnTo>
                    <a:pt x="101" y="117"/>
                  </a:lnTo>
                  <a:lnTo>
                    <a:pt x="98" y="119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1" y="122"/>
                  </a:lnTo>
                  <a:lnTo>
                    <a:pt x="89" y="120"/>
                  </a:lnTo>
                  <a:lnTo>
                    <a:pt x="87" y="120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84" y="117"/>
                  </a:lnTo>
                  <a:lnTo>
                    <a:pt x="82" y="117"/>
                  </a:lnTo>
                  <a:lnTo>
                    <a:pt x="77" y="119"/>
                  </a:lnTo>
                  <a:lnTo>
                    <a:pt x="75" y="122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8" y="129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8" y="142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6" y="152"/>
                  </a:lnTo>
                  <a:lnTo>
                    <a:pt x="64" y="156"/>
                  </a:lnTo>
                  <a:lnTo>
                    <a:pt x="53" y="161"/>
                  </a:lnTo>
                  <a:lnTo>
                    <a:pt x="53" y="161"/>
                  </a:lnTo>
                  <a:lnTo>
                    <a:pt x="53" y="163"/>
                  </a:lnTo>
                  <a:lnTo>
                    <a:pt x="53" y="163"/>
                  </a:lnTo>
                  <a:lnTo>
                    <a:pt x="55" y="170"/>
                  </a:lnTo>
                  <a:lnTo>
                    <a:pt x="57" y="174"/>
                  </a:lnTo>
                  <a:lnTo>
                    <a:pt x="57" y="177"/>
                  </a:lnTo>
                  <a:lnTo>
                    <a:pt x="61" y="183"/>
                  </a:lnTo>
                  <a:lnTo>
                    <a:pt x="61" y="183"/>
                  </a:lnTo>
                  <a:lnTo>
                    <a:pt x="62" y="202"/>
                  </a:lnTo>
                  <a:lnTo>
                    <a:pt x="62" y="216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2" y="231"/>
                  </a:lnTo>
                  <a:lnTo>
                    <a:pt x="64" y="240"/>
                  </a:lnTo>
                  <a:lnTo>
                    <a:pt x="66" y="247"/>
                  </a:lnTo>
                  <a:lnTo>
                    <a:pt x="66" y="250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57" y="256"/>
                  </a:lnTo>
                  <a:lnTo>
                    <a:pt x="57" y="256"/>
                  </a:lnTo>
                  <a:lnTo>
                    <a:pt x="57" y="266"/>
                  </a:lnTo>
                  <a:lnTo>
                    <a:pt x="57" y="266"/>
                  </a:lnTo>
                  <a:lnTo>
                    <a:pt x="61" y="273"/>
                  </a:lnTo>
                  <a:lnTo>
                    <a:pt x="57" y="280"/>
                  </a:lnTo>
                  <a:lnTo>
                    <a:pt x="57" y="280"/>
                  </a:lnTo>
                  <a:lnTo>
                    <a:pt x="53" y="288"/>
                  </a:lnTo>
                  <a:lnTo>
                    <a:pt x="53" y="291"/>
                  </a:lnTo>
                  <a:lnTo>
                    <a:pt x="50" y="291"/>
                  </a:lnTo>
                  <a:lnTo>
                    <a:pt x="50" y="291"/>
                  </a:lnTo>
                  <a:lnTo>
                    <a:pt x="46" y="288"/>
                  </a:lnTo>
                  <a:lnTo>
                    <a:pt x="43" y="284"/>
                  </a:lnTo>
                  <a:lnTo>
                    <a:pt x="37" y="280"/>
                  </a:lnTo>
                  <a:lnTo>
                    <a:pt x="37" y="277"/>
                  </a:lnTo>
                  <a:lnTo>
                    <a:pt x="37" y="277"/>
                  </a:lnTo>
                  <a:lnTo>
                    <a:pt x="36" y="273"/>
                  </a:lnTo>
                  <a:lnTo>
                    <a:pt x="34" y="273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29" y="266"/>
                  </a:lnTo>
                  <a:lnTo>
                    <a:pt x="25" y="263"/>
                  </a:lnTo>
                  <a:lnTo>
                    <a:pt x="25" y="263"/>
                  </a:lnTo>
                  <a:lnTo>
                    <a:pt x="27" y="261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1" y="257"/>
                  </a:lnTo>
                  <a:lnTo>
                    <a:pt x="20" y="259"/>
                  </a:lnTo>
                  <a:lnTo>
                    <a:pt x="16" y="261"/>
                  </a:lnTo>
                  <a:lnTo>
                    <a:pt x="16" y="261"/>
                  </a:lnTo>
                  <a:lnTo>
                    <a:pt x="16" y="268"/>
                  </a:lnTo>
                  <a:lnTo>
                    <a:pt x="16" y="273"/>
                  </a:lnTo>
                  <a:lnTo>
                    <a:pt x="14" y="277"/>
                  </a:lnTo>
                  <a:lnTo>
                    <a:pt x="14" y="277"/>
                  </a:lnTo>
                  <a:lnTo>
                    <a:pt x="11" y="280"/>
                  </a:lnTo>
                  <a:lnTo>
                    <a:pt x="7" y="286"/>
                  </a:lnTo>
                  <a:lnTo>
                    <a:pt x="2" y="293"/>
                  </a:lnTo>
                  <a:lnTo>
                    <a:pt x="0" y="295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4" y="300"/>
                  </a:lnTo>
                  <a:lnTo>
                    <a:pt x="9" y="305"/>
                  </a:lnTo>
                  <a:lnTo>
                    <a:pt x="23" y="320"/>
                  </a:lnTo>
                  <a:lnTo>
                    <a:pt x="23" y="320"/>
                  </a:lnTo>
                  <a:lnTo>
                    <a:pt x="27" y="323"/>
                  </a:lnTo>
                  <a:lnTo>
                    <a:pt x="30" y="332"/>
                  </a:lnTo>
                  <a:lnTo>
                    <a:pt x="34" y="344"/>
                  </a:lnTo>
                  <a:lnTo>
                    <a:pt x="34" y="344"/>
                  </a:lnTo>
                  <a:lnTo>
                    <a:pt x="43" y="359"/>
                  </a:lnTo>
                  <a:lnTo>
                    <a:pt x="46" y="364"/>
                  </a:lnTo>
                  <a:lnTo>
                    <a:pt x="46" y="364"/>
                  </a:lnTo>
                  <a:lnTo>
                    <a:pt x="48" y="368"/>
                  </a:lnTo>
                  <a:lnTo>
                    <a:pt x="48" y="373"/>
                  </a:lnTo>
                  <a:lnTo>
                    <a:pt x="48" y="378"/>
                  </a:lnTo>
                  <a:lnTo>
                    <a:pt x="48" y="378"/>
                  </a:lnTo>
                  <a:lnTo>
                    <a:pt x="46" y="387"/>
                  </a:lnTo>
                  <a:lnTo>
                    <a:pt x="45" y="391"/>
                  </a:lnTo>
                  <a:lnTo>
                    <a:pt x="43" y="394"/>
                  </a:lnTo>
                  <a:lnTo>
                    <a:pt x="43" y="394"/>
                  </a:lnTo>
                  <a:lnTo>
                    <a:pt x="32" y="400"/>
                  </a:lnTo>
                  <a:lnTo>
                    <a:pt x="30" y="403"/>
                  </a:lnTo>
                  <a:lnTo>
                    <a:pt x="30" y="405"/>
                  </a:lnTo>
                  <a:lnTo>
                    <a:pt x="30" y="405"/>
                  </a:lnTo>
                  <a:lnTo>
                    <a:pt x="30" y="405"/>
                  </a:lnTo>
                  <a:lnTo>
                    <a:pt x="36" y="408"/>
                  </a:lnTo>
                  <a:lnTo>
                    <a:pt x="43" y="416"/>
                  </a:lnTo>
                  <a:lnTo>
                    <a:pt x="46" y="424"/>
                  </a:lnTo>
                  <a:lnTo>
                    <a:pt x="46" y="424"/>
                  </a:lnTo>
                  <a:lnTo>
                    <a:pt x="50" y="414"/>
                  </a:lnTo>
                  <a:lnTo>
                    <a:pt x="53" y="405"/>
                  </a:lnTo>
                  <a:lnTo>
                    <a:pt x="53" y="398"/>
                  </a:lnTo>
                  <a:lnTo>
                    <a:pt x="53" y="398"/>
                  </a:lnTo>
                  <a:lnTo>
                    <a:pt x="57" y="384"/>
                  </a:lnTo>
                  <a:lnTo>
                    <a:pt x="62" y="373"/>
                  </a:lnTo>
                  <a:lnTo>
                    <a:pt x="62" y="373"/>
                  </a:lnTo>
                  <a:lnTo>
                    <a:pt x="62" y="368"/>
                  </a:lnTo>
                  <a:lnTo>
                    <a:pt x="62" y="360"/>
                  </a:lnTo>
                  <a:lnTo>
                    <a:pt x="64" y="359"/>
                  </a:lnTo>
                  <a:lnTo>
                    <a:pt x="66" y="359"/>
                  </a:lnTo>
                  <a:lnTo>
                    <a:pt x="66" y="360"/>
                  </a:lnTo>
                  <a:lnTo>
                    <a:pt x="66" y="360"/>
                  </a:lnTo>
                  <a:lnTo>
                    <a:pt x="69" y="362"/>
                  </a:lnTo>
                  <a:lnTo>
                    <a:pt x="69" y="364"/>
                  </a:lnTo>
                  <a:lnTo>
                    <a:pt x="71" y="368"/>
                  </a:lnTo>
                  <a:lnTo>
                    <a:pt x="75" y="366"/>
                  </a:lnTo>
                  <a:lnTo>
                    <a:pt x="75" y="366"/>
                  </a:lnTo>
                  <a:lnTo>
                    <a:pt x="75" y="364"/>
                  </a:lnTo>
                  <a:lnTo>
                    <a:pt x="77" y="360"/>
                  </a:lnTo>
                  <a:lnTo>
                    <a:pt x="77" y="355"/>
                  </a:lnTo>
                  <a:lnTo>
                    <a:pt x="78" y="348"/>
                  </a:lnTo>
                  <a:lnTo>
                    <a:pt x="82" y="348"/>
                  </a:lnTo>
                  <a:lnTo>
                    <a:pt x="84" y="350"/>
                  </a:lnTo>
                  <a:lnTo>
                    <a:pt x="84" y="350"/>
                  </a:lnTo>
                  <a:lnTo>
                    <a:pt x="84" y="353"/>
                  </a:lnTo>
                  <a:lnTo>
                    <a:pt x="85" y="357"/>
                  </a:lnTo>
                  <a:lnTo>
                    <a:pt x="85" y="360"/>
                  </a:lnTo>
                  <a:lnTo>
                    <a:pt x="85" y="360"/>
                  </a:lnTo>
                  <a:lnTo>
                    <a:pt x="87" y="362"/>
                  </a:lnTo>
                  <a:lnTo>
                    <a:pt x="87" y="364"/>
                  </a:lnTo>
                  <a:lnTo>
                    <a:pt x="91" y="364"/>
                  </a:lnTo>
                  <a:lnTo>
                    <a:pt x="91" y="364"/>
                  </a:lnTo>
                  <a:lnTo>
                    <a:pt x="110" y="362"/>
                  </a:lnTo>
                  <a:lnTo>
                    <a:pt x="117" y="360"/>
                  </a:lnTo>
                  <a:lnTo>
                    <a:pt x="125" y="360"/>
                  </a:lnTo>
                  <a:lnTo>
                    <a:pt x="126" y="357"/>
                  </a:lnTo>
                  <a:lnTo>
                    <a:pt x="126" y="357"/>
                  </a:lnTo>
                  <a:lnTo>
                    <a:pt x="133" y="348"/>
                  </a:lnTo>
                  <a:lnTo>
                    <a:pt x="146" y="337"/>
                  </a:lnTo>
                  <a:lnTo>
                    <a:pt x="155" y="320"/>
                  </a:lnTo>
                  <a:lnTo>
                    <a:pt x="158" y="314"/>
                  </a:lnTo>
                  <a:lnTo>
                    <a:pt x="164" y="304"/>
                  </a:lnTo>
                  <a:lnTo>
                    <a:pt x="164" y="304"/>
                  </a:lnTo>
                  <a:lnTo>
                    <a:pt x="171" y="280"/>
                  </a:lnTo>
                  <a:lnTo>
                    <a:pt x="174" y="273"/>
                  </a:lnTo>
                  <a:lnTo>
                    <a:pt x="174" y="266"/>
                  </a:lnTo>
                  <a:lnTo>
                    <a:pt x="174" y="266"/>
                  </a:lnTo>
                  <a:lnTo>
                    <a:pt x="174" y="259"/>
                  </a:lnTo>
                  <a:lnTo>
                    <a:pt x="174" y="250"/>
                  </a:lnTo>
                  <a:lnTo>
                    <a:pt x="174" y="241"/>
                  </a:lnTo>
                  <a:lnTo>
                    <a:pt x="174" y="232"/>
                  </a:lnTo>
                  <a:lnTo>
                    <a:pt x="174" y="232"/>
                  </a:lnTo>
                  <a:lnTo>
                    <a:pt x="185" y="179"/>
                  </a:lnTo>
                  <a:lnTo>
                    <a:pt x="185" y="179"/>
                  </a:lnTo>
                  <a:lnTo>
                    <a:pt x="192" y="142"/>
                  </a:lnTo>
                  <a:lnTo>
                    <a:pt x="194" y="124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2" y="94"/>
                  </a:lnTo>
                  <a:lnTo>
                    <a:pt x="190" y="78"/>
                  </a:lnTo>
                  <a:lnTo>
                    <a:pt x="189" y="64"/>
                  </a:lnTo>
                  <a:lnTo>
                    <a:pt x="189" y="53"/>
                  </a:lnTo>
                  <a:lnTo>
                    <a:pt x="189" y="53"/>
                  </a:lnTo>
                  <a:lnTo>
                    <a:pt x="190" y="44"/>
                  </a:lnTo>
                  <a:lnTo>
                    <a:pt x="190" y="40"/>
                  </a:lnTo>
                  <a:lnTo>
                    <a:pt x="192" y="37"/>
                  </a:lnTo>
                  <a:lnTo>
                    <a:pt x="192" y="35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1" y="35"/>
                  </a:lnTo>
                  <a:lnTo>
                    <a:pt x="171" y="35"/>
                  </a:lnTo>
                  <a:lnTo>
                    <a:pt x="171" y="35"/>
                  </a:lnTo>
                  <a:lnTo>
                    <a:pt x="171" y="35"/>
                  </a:lnTo>
                  <a:lnTo>
                    <a:pt x="171" y="35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Freeform 56"/>
            <p:cNvSpPr>
              <a:spLocks/>
            </p:cNvSpPr>
            <p:nvPr/>
          </p:nvSpPr>
          <p:spPr bwMode="auto">
            <a:xfrm>
              <a:off x="957929" y="2510491"/>
              <a:ext cx="152314" cy="180837"/>
            </a:xfrm>
            <a:custGeom>
              <a:avLst/>
              <a:gdLst>
                <a:gd name="T0" fmla="*/ 260 w 267"/>
                <a:gd name="T1" fmla="*/ 224 h 317"/>
                <a:gd name="T2" fmla="*/ 232 w 267"/>
                <a:gd name="T3" fmla="*/ 199 h 317"/>
                <a:gd name="T4" fmla="*/ 200 w 267"/>
                <a:gd name="T5" fmla="*/ 222 h 317"/>
                <a:gd name="T6" fmla="*/ 191 w 267"/>
                <a:gd name="T7" fmla="*/ 215 h 317"/>
                <a:gd name="T8" fmla="*/ 173 w 267"/>
                <a:gd name="T9" fmla="*/ 205 h 317"/>
                <a:gd name="T10" fmla="*/ 159 w 267"/>
                <a:gd name="T11" fmla="*/ 197 h 317"/>
                <a:gd name="T12" fmla="*/ 148 w 267"/>
                <a:gd name="T13" fmla="*/ 197 h 317"/>
                <a:gd name="T14" fmla="*/ 155 w 267"/>
                <a:gd name="T15" fmla="*/ 181 h 317"/>
                <a:gd name="T16" fmla="*/ 159 w 267"/>
                <a:gd name="T17" fmla="*/ 169 h 317"/>
                <a:gd name="T18" fmla="*/ 155 w 267"/>
                <a:gd name="T19" fmla="*/ 162 h 317"/>
                <a:gd name="T20" fmla="*/ 164 w 267"/>
                <a:gd name="T21" fmla="*/ 142 h 317"/>
                <a:gd name="T22" fmla="*/ 148 w 267"/>
                <a:gd name="T23" fmla="*/ 144 h 317"/>
                <a:gd name="T24" fmla="*/ 144 w 267"/>
                <a:gd name="T25" fmla="*/ 128 h 317"/>
                <a:gd name="T26" fmla="*/ 152 w 267"/>
                <a:gd name="T27" fmla="*/ 121 h 317"/>
                <a:gd name="T28" fmla="*/ 150 w 267"/>
                <a:gd name="T29" fmla="*/ 109 h 317"/>
                <a:gd name="T30" fmla="*/ 152 w 267"/>
                <a:gd name="T31" fmla="*/ 91 h 317"/>
                <a:gd name="T32" fmla="*/ 148 w 267"/>
                <a:gd name="T33" fmla="*/ 82 h 317"/>
                <a:gd name="T34" fmla="*/ 139 w 267"/>
                <a:gd name="T35" fmla="*/ 73 h 317"/>
                <a:gd name="T36" fmla="*/ 139 w 267"/>
                <a:gd name="T37" fmla="*/ 45 h 317"/>
                <a:gd name="T38" fmla="*/ 144 w 267"/>
                <a:gd name="T39" fmla="*/ 30 h 317"/>
                <a:gd name="T40" fmla="*/ 136 w 267"/>
                <a:gd name="T41" fmla="*/ 2 h 317"/>
                <a:gd name="T42" fmla="*/ 120 w 267"/>
                <a:gd name="T43" fmla="*/ 9 h 317"/>
                <a:gd name="T44" fmla="*/ 98 w 267"/>
                <a:gd name="T45" fmla="*/ 25 h 317"/>
                <a:gd name="T46" fmla="*/ 73 w 267"/>
                <a:gd name="T47" fmla="*/ 43 h 317"/>
                <a:gd name="T48" fmla="*/ 56 w 267"/>
                <a:gd name="T49" fmla="*/ 48 h 317"/>
                <a:gd name="T50" fmla="*/ 47 w 267"/>
                <a:gd name="T51" fmla="*/ 53 h 317"/>
                <a:gd name="T52" fmla="*/ 31 w 267"/>
                <a:gd name="T53" fmla="*/ 64 h 317"/>
                <a:gd name="T54" fmla="*/ 2 w 267"/>
                <a:gd name="T55" fmla="*/ 68 h 317"/>
                <a:gd name="T56" fmla="*/ 8 w 267"/>
                <a:gd name="T57" fmla="*/ 73 h 317"/>
                <a:gd name="T58" fmla="*/ 8 w 267"/>
                <a:gd name="T59" fmla="*/ 87 h 317"/>
                <a:gd name="T60" fmla="*/ 15 w 267"/>
                <a:gd name="T61" fmla="*/ 94 h 317"/>
                <a:gd name="T62" fmla="*/ 24 w 267"/>
                <a:gd name="T63" fmla="*/ 91 h 317"/>
                <a:gd name="T64" fmla="*/ 38 w 267"/>
                <a:gd name="T65" fmla="*/ 96 h 317"/>
                <a:gd name="T66" fmla="*/ 38 w 267"/>
                <a:gd name="T67" fmla="*/ 109 h 317"/>
                <a:gd name="T68" fmla="*/ 54 w 267"/>
                <a:gd name="T69" fmla="*/ 126 h 317"/>
                <a:gd name="T70" fmla="*/ 57 w 267"/>
                <a:gd name="T71" fmla="*/ 144 h 317"/>
                <a:gd name="T72" fmla="*/ 64 w 267"/>
                <a:gd name="T73" fmla="*/ 158 h 317"/>
                <a:gd name="T74" fmla="*/ 63 w 267"/>
                <a:gd name="T75" fmla="*/ 176 h 317"/>
                <a:gd name="T76" fmla="*/ 54 w 267"/>
                <a:gd name="T77" fmla="*/ 192 h 317"/>
                <a:gd name="T78" fmla="*/ 64 w 267"/>
                <a:gd name="T79" fmla="*/ 185 h 317"/>
                <a:gd name="T80" fmla="*/ 75 w 267"/>
                <a:gd name="T81" fmla="*/ 174 h 317"/>
                <a:gd name="T82" fmla="*/ 79 w 267"/>
                <a:gd name="T83" fmla="*/ 197 h 317"/>
                <a:gd name="T84" fmla="*/ 96 w 267"/>
                <a:gd name="T85" fmla="*/ 217 h 317"/>
                <a:gd name="T86" fmla="*/ 118 w 267"/>
                <a:gd name="T87" fmla="*/ 212 h 317"/>
                <a:gd name="T88" fmla="*/ 139 w 267"/>
                <a:gd name="T89" fmla="*/ 224 h 317"/>
                <a:gd name="T90" fmla="*/ 150 w 267"/>
                <a:gd name="T91" fmla="*/ 240 h 317"/>
                <a:gd name="T92" fmla="*/ 160 w 267"/>
                <a:gd name="T93" fmla="*/ 237 h 317"/>
                <a:gd name="T94" fmla="*/ 175 w 267"/>
                <a:gd name="T95" fmla="*/ 258 h 317"/>
                <a:gd name="T96" fmla="*/ 184 w 267"/>
                <a:gd name="T97" fmla="*/ 277 h 317"/>
                <a:gd name="T98" fmla="*/ 192 w 267"/>
                <a:gd name="T99" fmla="*/ 295 h 317"/>
                <a:gd name="T100" fmla="*/ 212 w 267"/>
                <a:gd name="T101" fmla="*/ 290 h 317"/>
                <a:gd name="T102" fmla="*/ 216 w 267"/>
                <a:gd name="T103" fmla="*/ 304 h 317"/>
                <a:gd name="T104" fmla="*/ 249 w 267"/>
                <a:gd name="T105" fmla="*/ 317 h 317"/>
                <a:gd name="T106" fmla="*/ 265 w 267"/>
                <a:gd name="T107" fmla="*/ 301 h 317"/>
                <a:gd name="T108" fmla="*/ 265 w 267"/>
                <a:gd name="T109" fmla="*/ 286 h 317"/>
                <a:gd name="T110" fmla="*/ 256 w 267"/>
                <a:gd name="T111" fmla="*/ 274 h 317"/>
                <a:gd name="T112" fmla="*/ 246 w 267"/>
                <a:gd name="T113" fmla="*/ 260 h 317"/>
                <a:gd name="T114" fmla="*/ 244 w 267"/>
                <a:gd name="T115" fmla="*/ 247 h 317"/>
                <a:gd name="T116" fmla="*/ 249 w 267"/>
                <a:gd name="T117" fmla="*/ 244 h 317"/>
                <a:gd name="T118" fmla="*/ 246 w 267"/>
                <a:gd name="T119" fmla="*/ 23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7" h="317">
                  <a:moveTo>
                    <a:pt x="246" y="235"/>
                  </a:moveTo>
                  <a:lnTo>
                    <a:pt x="246" y="235"/>
                  </a:lnTo>
                  <a:lnTo>
                    <a:pt x="248" y="233"/>
                  </a:lnTo>
                  <a:lnTo>
                    <a:pt x="251" y="229"/>
                  </a:lnTo>
                  <a:lnTo>
                    <a:pt x="258" y="229"/>
                  </a:lnTo>
                  <a:lnTo>
                    <a:pt x="260" y="224"/>
                  </a:lnTo>
                  <a:lnTo>
                    <a:pt x="253" y="213"/>
                  </a:lnTo>
                  <a:lnTo>
                    <a:pt x="246" y="212"/>
                  </a:lnTo>
                  <a:lnTo>
                    <a:pt x="244" y="208"/>
                  </a:lnTo>
                  <a:lnTo>
                    <a:pt x="240" y="206"/>
                  </a:lnTo>
                  <a:lnTo>
                    <a:pt x="233" y="213"/>
                  </a:lnTo>
                  <a:lnTo>
                    <a:pt x="232" y="199"/>
                  </a:lnTo>
                  <a:lnTo>
                    <a:pt x="228" y="203"/>
                  </a:lnTo>
                  <a:lnTo>
                    <a:pt x="228" y="203"/>
                  </a:lnTo>
                  <a:lnTo>
                    <a:pt x="219" y="222"/>
                  </a:lnTo>
                  <a:lnTo>
                    <a:pt x="219" y="206"/>
                  </a:lnTo>
                  <a:lnTo>
                    <a:pt x="210" y="213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196" y="222"/>
                  </a:lnTo>
                  <a:lnTo>
                    <a:pt x="191" y="219"/>
                  </a:lnTo>
                  <a:lnTo>
                    <a:pt x="191" y="217"/>
                  </a:lnTo>
                  <a:lnTo>
                    <a:pt x="191" y="215"/>
                  </a:lnTo>
                  <a:lnTo>
                    <a:pt x="191" y="215"/>
                  </a:lnTo>
                  <a:lnTo>
                    <a:pt x="187" y="210"/>
                  </a:lnTo>
                  <a:lnTo>
                    <a:pt x="184" y="206"/>
                  </a:lnTo>
                  <a:lnTo>
                    <a:pt x="178" y="199"/>
                  </a:lnTo>
                  <a:lnTo>
                    <a:pt x="178" y="199"/>
                  </a:lnTo>
                  <a:lnTo>
                    <a:pt x="175" y="203"/>
                  </a:lnTo>
                  <a:lnTo>
                    <a:pt x="173" y="205"/>
                  </a:lnTo>
                  <a:lnTo>
                    <a:pt x="171" y="206"/>
                  </a:lnTo>
                  <a:lnTo>
                    <a:pt x="171" y="206"/>
                  </a:lnTo>
                  <a:lnTo>
                    <a:pt x="164" y="203"/>
                  </a:lnTo>
                  <a:lnTo>
                    <a:pt x="159" y="199"/>
                  </a:lnTo>
                  <a:lnTo>
                    <a:pt x="159" y="197"/>
                  </a:lnTo>
                  <a:lnTo>
                    <a:pt x="159" y="197"/>
                  </a:lnTo>
                  <a:lnTo>
                    <a:pt x="157" y="196"/>
                  </a:lnTo>
                  <a:lnTo>
                    <a:pt x="155" y="194"/>
                  </a:lnTo>
                  <a:lnTo>
                    <a:pt x="153" y="190"/>
                  </a:lnTo>
                  <a:lnTo>
                    <a:pt x="153" y="190"/>
                  </a:lnTo>
                  <a:lnTo>
                    <a:pt x="150" y="194"/>
                  </a:lnTo>
                  <a:lnTo>
                    <a:pt x="148" y="197"/>
                  </a:lnTo>
                  <a:lnTo>
                    <a:pt x="148" y="197"/>
                  </a:lnTo>
                  <a:lnTo>
                    <a:pt x="148" y="196"/>
                  </a:lnTo>
                  <a:lnTo>
                    <a:pt x="148" y="196"/>
                  </a:lnTo>
                  <a:lnTo>
                    <a:pt x="150" y="189"/>
                  </a:lnTo>
                  <a:lnTo>
                    <a:pt x="152" y="185"/>
                  </a:lnTo>
                  <a:lnTo>
                    <a:pt x="155" y="181"/>
                  </a:lnTo>
                  <a:lnTo>
                    <a:pt x="155" y="181"/>
                  </a:lnTo>
                  <a:lnTo>
                    <a:pt x="157" y="176"/>
                  </a:lnTo>
                  <a:lnTo>
                    <a:pt x="159" y="174"/>
                  </a:lnTo>
                  <a:lnTo>
                    <a:pt x="159" y="171"/>
                  </a:lnTo>
                  <a:lnTo>
                    <a:pt x="159" y="169"/>
                  </a:lnTo>
                  <a:lnTo>
                    <a:pt x="159" y="169"/>
                  </a:lnTo>
                  <a:lnTo>
                    <a:pt x="159" y="169"/>
                  </a:lnTo>
                  <a:lnTo>
                    <a:pt x="155" y="167"/>
                  </a:lnTo>
                  <a:lnTo>
                    <a:pt x="155" y="165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9" y="157"/>
                  </a:lnTo>
                  <a:lnTo>
                    <a:pt x="160" y="155"/>
                  </a:lnTo>
                  <a:lnTo>
                    <a:pt x="166" y="149"/>
                  </a:lnTo>
                  <a:lnTo>
                    <a:pt x="166" y="149"/>
                  </a:lnTo>
                  <a:lnTo>
                    <a:pt x="166" y="144"/>
                  </a:lnTo>
                  <a:lnTo>
                    <a:pt x="164" y="142"/>
                  </a:lnTo>
                  <a:lnTo>
                    <a:pt x="164" y="141"/>
                  </a:lnTo>
                  <a:lnTo>
                    <a:pt x="164" y="141"/>
                  </a:lnTo>
                  <a:lnTo>
                    <a:pt x="159" y="141"/>
                  </a:lnTo>
                  <a:lnTo>
                    <a:pt x="153" y="142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39" y="135"/>
                  </a:lnTo>
                  <a:lnTo>
                    <a:pt x="148" y="130"/>
                  </a:lnTo>
                  <a:lnTo>
                    <a:pt x="148" y="130"/>
                  </a:lnTo>
                  <a:lnTo>
                    <a:pt x="144" y="128"/>
                  </a:lnTo>
                  <a:lnTo>
                    <a:pt x="144" y="125"/>
                  </a:lnTo>
                  <a:lnTo>
                    <a:pt x="144" y="123"/>
                  </a:lnTo>
                  <a:lnTo>
                    <a:pt x="146" y="123"/>
                  </a:lnTo>
                  <a:lnTo>
                    <a:pt x="146" y="123"/>
                  </a:lnTo>
                  <a:lnTo>
                    <a:pt x="150" y="123"/>
                  </a:lnTo>
                  <a:lnTo>
                    <a:pt x="152" y="121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0" y="116"/>
                  </a:lnTo>
                  <a:lnTo>
                    <a:pt x="150" y="112"/>
                  </a:lnTo>
                  <a:lnTo>
                    <a:pt x="150" y="109"/>
                  </a:lnTo>
                  <a:lnTo>
                    <a:pt x="150" y="109"/>
                  </a:lnTo>
                  <a:lnTo>
                    <a:pt x="150" y="103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2" y="91"/>
                  </a:lnTo>
                  <a:lnTo>
                    <a:pt x="150" y="89"/>
                  </a:lnTo>
                  <a:lnTo>
                    <a:pt x="148" y="87"/>
                  </a:lnTo>
                  <a:lnTo>
                    <a:pt x="148" y="85"/>
                  </a:lnTo>
                  <a:lnTo>
                    <a:pt x="148" y="85"/>
                  </a:lnTo>
                  <a:lnTo>
                    <a:pt x="146" y="84"/>
                  </a:lnTo>
                  <a:lnTo>
                    <a:pt x="148" y="82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4" y="73"/>
                  </a:lnTo>
                  <a:lnTo>
                    <a:pt x="139" y="73"/>
                  </a:lnTo>
                  <a:lnTo>
                    <a:pt x="139" y="73"/>
                  </a:lnTo>
                  <a:lnTo>
                    <a:pt x="139" y="69"/>
                  </a:lnTo>
                  <a:lnTo>
                    <a:pt x="143" y="62"/>
                  </a:lnTo>
                  <a:lnTo>
                    <a:pt x="143" y="55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39" y="45"/>
                  </a:lnTo>
                  <a:lnTo>
                    <a:pt x="139" y="41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39" y="25"/>
                  </a:lnTo>
                  <a:lnTo>
                    <a:pt x="139" y="18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6" y="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8" y="2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0" y="9"/>
                  </a:lnTo>
                  <a:lnTo>
                    <a:pt x="116" y="13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4" y="21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5" y="27"/>
                  </a:lnTo>
                  <a:lnTo>
                    <a:pt x="93" y="30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79" y="41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66" y="43"/>
                  </a:lnTo>
                  <a:lnTo>
                    <a:pt x="63" y="45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7" y="50"/>
                  </a:lnTo>
                  <a:lnTo>
                    <a:pt x="47" y="53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38" y="61"/>
                  </a:lnTo>
                  <a:lnTo>
                    <a:pt x="34" y="62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7" y="66"/>
                  </a:lnTo>
                  <a:lnTo>
                    <a:pt x="20" y="64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6" y="64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4" y="69"/>
                  </a:lnTo>
                  <a:lnTo>
                    <a:pt x="8" y="71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11" y="82"/>
                  </a:lnTo>
                  <a:lnTo>
                    <a:pt x="11" y="84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8" y="87"/>
                  </a:lnTo>
                  <a:lnTo>
                    <a:pt x="8" y="89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11" y="91"/>
                  </a:lnTo>
                  <a:lnTo>
                    <a:pt x="13" y="93"/>
                  </a:lnTo>
                  <a:lnTo>
                    <a:pt x="15" y="94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22" y="93"/>
                  </a:lnTo>
                  <a:lnTo>
                    <a:pt x="24" y="91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4" y="94"/>
                  </a:lnTo>
                  <a:lnTo>
                    <a:pt x="36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1" y="100"/>
                  </a:lnTo>
                  <a:lnTo>
                    <a:pt x="38" y="103"/>
                  </a:lnTo>
                  <a:lnTo>
                    <a:pt x="38" y="107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41" y="116"/>
                  </a:lnTo>
                  <a:lnTo>
                    <a:pt x="43" y="117"/>
                  </a:lnTo>
                  <a:lnTo>
                    <a:pt x="47" y="123"/>
                  </a:lnTo>
                  <a:lnTo>
                    <a:pt x="47" y="123"/>
                  </a:lnTo>
                  <a:lnTo>
                    <a:pt x="52" y="126"/>
                  </a:lnTo>
                  <a:lnTo>
                    <a:pt x="54" y="126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7" y="132"/>
                  </a:lnTo>
                  <a:lnTo>
                    <a:pt x="57" y="137"/>
                  </a:lnTo>
                  <a:lnTo>
                    <a:pt x="57" y="144"/>
                  </a:lnTo>
                  <a:lnTo>
                    <a:pt x="57" y="144"/>
                  </a:lnTo>
                  <a:lnTo>
                    <a:pt x="57" y="146"/>
                  </a:lnTo>
                  <a:lnTo>
                    <a:pt x="57" y="149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63" y="157"/>
                  </a:lnTo>
                  <a:lnTo>
                    <a:pt x="64" y="158"/>
                  </a:lnTo>
                  <a:lnTo>
                    <a:pt x="63" y="165"/>
                  </a:lnTo>
                  <a:lnTo>
                    <a:pt x="63" y="165"/>
                  </a:lnTo>
                  <a:lnTo>
                    <a:pt x="61" y="169"/>
                  </a:lnTo>
                  <a:lnTo>
                    <a:pt x="61" y="171"/>
                  </a:lnTo>
                  <a:lnTo>
                    <a:pt x="63" y="176"/>
                  </a:lnTo>
                  <a:lnTo>
                    <a:pt x="63" y="176"/>
                  </a:lnTo>
                  <a:lnTo>
                    <a:pt x="63" y="178"/>
                  </a:lnTo>
                  <a:lnTo>
                    <a:pt x="57" y="183"/>
                  </a:lnTo>
                  <a:lnTo>
                    <a:pt x="56" y="189"/>
                  </a:lnTo>
                  <a:lnTo>
                    <a:pt x="54" y="190"/>
                  </a:lnTo>
                  <a:lnTo>
                    <a:pt x="54" y="190"/>
                  </a:lnTo>
                  <a:lnTo>
                    <a:pt x="54" y="192"/>
                  </a:lnTo>
                  <a:lnTo>
                    <a:pt x="56" y="194"/>
                  </a:lnTo>
                  <a:lnTo>
                    <a:pt x="57" y="196"/>
                  </a:lnTo>
                  <a:lnTo>
                    <a:pt x="61" y="194"/>
                  </a:lnTo>
                  <a:lnTo>
                    <a:pt x="61" y="194"/>
                  </a:lnTo>
                  <a:lnTo>
                    <a:pt x="61" y="194"/>
                  </a:lnTo>
                  <a:lnTo>
                    <a:pt x="64" y="185"/>
                  </a:lnTo>
                  <a:lnTo>
                    <a:pt x="68" y="181"/>
                  </a:lnTo>
                  <a:lnTo>
                    <a:pt x="70" y="176"/>
                  </a:lnTo>
                  <a:lnTo>
                    <a:pt x="70" y="176"/>
                  </a:lnTo>
                  <a:lnTo>
                    <a:pt x="72" y="174"/>
                  </a:lnTo>
                  <a:lnTo>
                    <a:pt x="73" y="174"/>
                  </a:lnTo>
                  <a:lnTo>
                    <a:pt x="75" y="174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9" y="181"/>
                  </a:lnTo>
                  <a:lnTo>
                    <a:pt x="79" y="189"/>
                  </a:lnTo>
                  <a:lnTo>
                    <a:pt x="79" y="197"/>
                  </a:lnTo>
                  <a:lnTo>
                    <a:pt x="79" y="197"/>
                  </a:lnTo>
                  <a:lnTo>
                    <a:pt x="79" y="206"/>
                  </a:lnTo>
                  <a:lnTo>
                    <a:pt x="84" y="210"/>
                  </a:lnTo>
                  <a:lnTo>
                    <a:pt x="86" y="213"/>
                  </a:lnTo>
                  <a:lnTo>
                    <a:pt x="86" y="213"/>
                  </a:lnTo>
                  <a:lnTo>
                    <a:pt x="91" y="217"/>
                  </a:lnTo>
                  <a:lnTo>
                    <a:pt x="96" y="217"/>
                  </a:lnTo>
                  <a:lnTo>
                    <a:pt x="104" y="217"/>
                  </a:lnTo>
                  <a:lnTo>
                    <a:pt x="105" y="215"/>
                  </a:lnTo>
                  <a:lnTo>
                    <a:pt x="105" y="215"/>
                  </a:lnTo>
                  <a:lnTo>
                    <a:pt x="109" y="213"/>
                  </a:lnTo>
                  <a:lnTo>
                    <a:pt x="112" y="212"/>
                  </a:lnTo>
                  <a:lnTo>
                    <a:pt x="118" y="212"/>
                  </a:lnTo>
                  <a:lnTo>
                    <a:pt x="123" y="212"/>
                  </a:lnTo>
                  <a:lnTo>
                    <a:pt x="123" y="212"/>
                  </a:lnTo>
                  <a:lnTo>
                    <a:pt x="127" y="215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43" y="229"/>
                  </a:lnTo>
                  <a:lnTo>
                    <a:pt x="143" y="229"/>
                  </a:lnTo>
                  <a:lnTo>
                    <a:pt x="144" y="233"/>
                  </a:lnTo>
                  <a:lnTo>
                    <a:pt x="148" y="237"/>
                  </a:lnTo>
                  <a:lnTo>
                    <a:pt x="150" y="240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2" y="240"/>
                  </a:lnTo>
                  <a:lnTo>
                    <a:pt x="157" y="237"/>
                  </a:lnTo>
                  <a:lnTo>
                    <a:pt x="159" y="237"/>
                  </a:lnTo>
                  <a:lnTo>
                    <a:pt x="160" y="237"/>
                  </a:lnTo>
                  <a:lnTo>
                    <a:pt x="160" y="237"/>
                  </a:lnTo>
                  <a:lnTo>
                    <a:pt x="175" y="249"/>
                  </a:lnTo>
                  <a:lnTo>
                    <a:pt x="175" y="249"/>
                  </a:lnTo>
                  <a:lnTo>
                    <a:pt x="176" y="249"/>
                  </a:lnTo>
                  <a:lnTo>
                    <a:pt x="176" y="253"/>
                  </a:lnTo>
                  <a:lnTo>
                    <a:pt x="175" y="258"/>
                  </a:lnTo>
                  <a:lnTo>
                    <a:pt x="175" y="258"/>
                  </a:lnTo>
                  <a:lnTo>
                    <a:pt x="173" y="267"/>
                  </a:lnTo>
                  <a:lnTo>
                    <a:pt x="173" y="270"/>
                  </a:lnTo>
                  <a:lnTo>
                    <a:pt x="175" y="270"/>
                  </a:lnTo>
                  <a:lnTo>
                    <a:pt x="175" y="270"/>
                  </a:lnTo>
                  <a:lnTo>
                    <a:pt x="184" y="277"/>
                  </a:lnTo>
                  <a:lnTo>
                    <a:pt x="187" y="285"/>
                  </a:lnTo>
                  <a:lnTo>
                    <a:pt x="189" y="288"/>
                  </a:lnTo>
                  <a:lnTo>
                    <a:pt x="189" y="288"/>
                  </a:lnTo>
                  <a:lnTo>
                    <a:pt x="191" y="292"/>
                  </a:lnTo>
                  <a:lnTo>
                    <a:pt x="191" y="293"/>
                  </a:lnTo>
                  <a:lnTo>
                    <a:pt x="192" y="295"/>
                  </a:lnTo>
                  <a:lnTo>
                    <a:pt x="196" y="297"/>
                  </a:lnTo>
                  <a:lnTo>
                    <a:pt x="196" y="297"/>
                  </a:lnTo>
                  <a:lnTo>
                    <a:pt x="198" y="295"/>
                  </a:lnTo>
                  <a:lnTo>
                    <a:pt x="201" y="293"/>
                  </a:lnTo>
                  <a:lnTo>
                    <a:pt x="208" y="292"/>
                  </a:lnTo>
                  <a:lnTo>
                    <a:pt x="212" y="290"/>
                  </a:lnTo>
                  <a:lnTo>
                    <a:pt x="212" y="290"/>
                  </a:lnTo>
                  <a:lnTo>
                    <a:pt x="212" y="292"/>
                  </a:lnTo>
                  <a:lnTo>
                    <a:pt x="214" y="293"/>
                  </a:lnTo>
                  <a:lnTo>
                    <a:pt x="216" y="297"/>
                  </a:lnTo>
                  <a:lnTo>
                    <a:pt x="216" y="301"/>
                  </a:lnTo>
                  <a:lnTo>
                    <a:pt x="216" y="304"/>
                  </a:lnTo>
                  <a:lnTo>
                    <a:pt x="217" y="306"/>
                  </a:lnTo>
                  <a:lnTo>
                    <a:pt x="217" y="306"/>
                  </a:lnTo>
                  <a:lnTo>
                    <a:pt x="233" y="313"/>
                  </a:lnTo>
                  <a:lnTo>
                    <a:pt x="244" y="315"/>
                  </a:lnTo>
                  <a:lnTo>
                    <a:pt x="249" y="317"/>
                  </a:lnTo>
                  <a:lnTo>
                    <a:pt x="249" y="317"/>
                  </a:lnTo>
                  <a:lnTo>
                    <a:pt x="251" y="315"/>
                  </a:lnTo>
                  <a:lnTo>
                    <a:pt x="256" y="309"/>
                  </a:lnTo>
                  <a:lnTo>
                    <a:pt x="260" y="306"/>
                  </a:lnTo>
                  <a:lnTo>
                    <a:pt x="262" y="304"/>
                  </a:lnTo>
                  <a:lnTo>
                    <a:pt x="262" y="304"/>
                  </a:lnTo>
                  <a:lnTo>
                    <a:pt x="265" y="301"/>
                  </a:lnTo>
                  <a:lnTo>
                    <a:pt x="267" y="299"/>
                  </a:lnTo>
                  <a:lnTo>
                    <a:pt x="267" y="293"/>
                  </a:lnTo>
                  <a:lnTo>
                    <a:pt x="267" y="293"/>
                  </a:lnTo>
                  <a:lnTo>
                    <a:pt x="267" y="293"/>
                  </a:lnTo>
                  <a:lnTo>
                    <a:pt x="267" y="290"/>
                  </a:lnTo>
                  <a:lnTo>
                    <a:pt x="265" y="286"/>
                  </a:lnTo>
                  <a:lnTo>
                    <a:pt x="265" y="286"/>
                  </a:lnTo>
                  <a:lnTo>
                    <a:pt x="258" y="285"/>
                  </a:lnTo>
                  <a:lnTo>
                    <a:pt x="256" y="281"/>
                  </a:lnTo>
                  <a:lnTo>
                    <a:pt x="255" y="277"/>
                  </a:lnTo>
                  <a:lnTo>
                    <a:pt x="255" y="277"/>
                  </a:lnTo>
                  <a:lnTo>
                    <a:pt x="256" y="274"/>
                  </a:lnTo>
                  <a:lnTo>
                    <a:pt x="256" y="270"/>
                  </a:lnTo>
                  <a:lnTo>
                    <a:pt x="255" y="270"/>
                  </a:lnTo>
                  <a:lnTo>
                    <a:pt x="255" y="270"/>
                  </a:lnTo>
                  <a:lnTo>
                    <a:pt x="249" y="265"/>
                  </a:lnTo>
                  <a:lnTo>
                    <a:pt x="246" y="260"/>
                  </a:lnTo>
                  <a:lnTo>
                    <a:pt x="246" y="260"/>
                  </a:lnTo>
                  <a:lnTo>
                    <a:pt x="246" y="260"/>
                  </a:lnTo>
                  <a:lnTo>
                    <a:pt x="246" y="260"/>
                  </a:lnTo>
                  <a:lnTo>
                    <a:pt x="253" y="256"/>
                  </a:lnTo>
                  <a:lnTo>
                    <a:pt x="253" y="256"/>
                  </a:lnTo>
                  <a:lnTo>
                    <a:pt x="248" y="251"/>
                  </a:lnTo>
                  <a:lnTo>
                    <a:pt x="244" y="247"/>
                  </a:lnTo>
                  <a:lnTo>
                    <a:pt x="244" y="247"/>
                  </a:lnTo>
                  <a:lnTo>
                    <a:pt x="244" y="245"/>
                  </a:lnTo>
                  <a:lnTo>
                    <a:pt x="244" y="245"/>
                  </a:lnTo>
                  <a:lnTo>
                    <a:pt x="246" y="244"/>
                  </a:lnTo>
                  <a:lnTo>
                    <a:pt x="249" y="244"/>
                  </a:lnTo>
                  <a:lnTo>
                    <a:pt x="249" y="244"/>
                  </a:lnTo>
                  <a:lnTo>
                    <a:pt x="246" y="237"/>
                  </a:lnTo>
                  <a:lnTo>
                    <a:pt x="246" y="235"/>
                  </a:lnTo>
                  <a:lnTo>
                    <a:pt x="246" y="235"/>
                  </a:lnTo>
                  <a:lnTo>
                    <a:pt x="246" y="235"/>
                  </a:lnTo>
                  <a:lnTo>
                    <a:pt x="246" y="235"/>
                  </a:lnTo>
                  <a:lnTo>
                    <a:pt x="246" y="235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Freeform 57"/>
            <p:cNvSpPr>
              <a:spLocks/>
            </p:cNvSpPr>
            <p:nvPr/>
          </p:nvSpPr>
          <p:spPr bwMode="auto">
            <a:xfrm>
              <a:off x="2378955" y="2127139"/>
              <a:ext cx="213924" cy="273823"/>
            </a:xfrm>
            <a:custGeom>
              <a:avLst/>
              <a:gdLst>
                <a:gd name="T0" fmla="*/ 343 w 375"/>
                <a:gd name="T1" fmla="*/ 84 h 480"/>
                <a:gd name="T2" fmla="*/ 297 w 375"/>
                <a:gd name="T3" fmla="*/ 45 h 480"/>
                <a:gd name="T4" fmla="*/ 261 w 375"/>
                <a:gd name="T5" fmla="*/ 7 h 480"/>
                <a:gd name="T6" fmla="*/ 237 w 375"/>
                <a:gd name="T7" fmla="*/ 13 h 480"/>
                <a:gd name="T8" fmla="*/ 206 w 375"/>
                <a:gd name="T9" fmla="*/ 23 h 480"/>
                <a:gd name="T10" fmla="*/ 181 w 375"/>
                <a:gd name="T11" fmla="*/ 34 h 480"/>
                <a:gd name="T12" fmla="*/ 144 w 375"/>
                <a:gd name="T13" fmla="*/ 39 h 480"/>
                <a:gd name="T14" fmla="*/ 114 w 375"/>
                <a:gd name="T15" fmla="*/ 34 h 480"/>
                <a:gd name="T16" fmla="*/ 105 w 375"/>
                <a:gd name="T17" fmla="*/ 68 h 480"/>
                <a:gd name="T18" fmla="*/ 64 w 375"/>
                <a:gd name="T19" fmla="*/ 100 h 480"/>
                <a:gd name="T20" fmla="*/ 69 w 375"/>
                <a:gd name="T21" fmla="*/ 107 h 480"/>
                <a:gd name="T22" fmla="*/ 62 w 375"/>
                <a:gd name="T23" fmla="*/ 128 h 480"/>
                <a:gd name="T24" fmla="*/ 69 w 375"/>
                <a:gd name="T25" fmla="*/ 133 h 480"/>
                <a:gd name="T26" fmla="*/ 78 w 375"/>
                <a:gd name="T27" fmla="*/ 153 h 480"/>
                <a:gd name="T28" fmla="*/ 73 w 375"/>
                <a:gd name="T29" fmla="*/ 171 h 480"/>
                <a:gd name="T30" fmla="*/ 91 w 375"/>
                <a:gd name="T31" fmla="*/ 176 h 480"/>
                <a:gd name="T32" fmla="*/ 98 w 375"/>
                <a:gd name="T33" fmla="*/ 197 h 480"/>
                <a:gd name="T34" fmla="*/ 82 w 375"/>
                <a:gd name="T35" fmla="*/ 215 h 480"/>
                <a:gd name="T36" fmla="*/ 73 w 375"/>
                <a:gd name="T37" fmla="*/ 229 h 480"/>
                <a:gd name="T38" fmla="*/ 69 w 375"/>
                <a:gd name="T39" fmla="*/ 238 h 480"/>
                <a:gd name="T40" fmla="*/ 59 w 375"/>
                <a:gd name="T41" fmla="*/ 235 h 480"/>
                <a:gd name="T42" fmla="*/ 48 w 375"/>
                <a:gd name="T43" fmla="*/ 245 h 480"/>
                <a:gd name="T44" fmla="*/ 34 w 375"/>
                <a:gd name="T45" fmla="*/ 254 h 480"/>
                <a:gd name="T46" fmla="*/ 23 w 375"/>
                <a:gd name="T47" fmla="*/ 260 h 480"/>
                <a:gd name="T48" fmla="*/ 32 w 375"/>
                <a:gd name="T49" fmla="*/ 270 h 480"/>
                <a:gd name="T50" fmla="*/ 30 w 375"/>
                <a:gd name="T51" fmla="*/ 286 h 480"/>
                <a:gd name="T52" fmla="*/ 9 w 375"/>
                <a:gd name="T53" fmla="*/ 293 h 480"/>
                <a:gd name="T54" fmla="*/ 4 w 375"/>
                <a:gd name="T55" fmla="*/ 311 h 480"/>
                <a:gd name="T56" fmla="*/ 5 w 375"/>
                <a:gd name="T57" fmla="*/ 336 h 480"/>
                <a:gd name="T58" fmla="*/ 30 w 375"/>
                <a:gd name="T59" fmla="*/ 372 h 480"/>
                <a:gd name="T60" fmla="*/ 46 w 375"/>
                <a:gd name="T61" fmla="*/ 407 h 480"/>
                <a:gd name="T62" fmla="*/ 87 w 375"/>
                <a:gd name="T63" fmla="*/ 395 h 480"/>
                <a:gd name="T64" fmla="*/ 114 w 375"/>
                <a:gd name="T65" fmla="*/ 446 h 480"/>
                <a:gd name="T66" fmla="*/ 187 w 375"/>
                <a:gd name="T67" fmla="*/ 477 h 480"/>
                <a:gd name="T68" fmla="*/ 203 w 375"/>
                <a:gd name="T69" fmla="*/ 457 h 480"/>
                <a:gd name="T70" fmla="*/ 222 w 375"/>
                <a:gd name="T71" fmla="*/ 452 h 480"/>
                <a:gd name="T72" fmla="*/ 213 w 375"/>
                <a:gd name="T73" fmla="*/ 430 h 480"/>
                <a:gd name="T74" fmla="*/ 247 w 375"/>
                <a:gd name="T75" fmla="*/ 411 h 480"/>
                <a:gd name="T76" fmla="*/ 258 w 375"/>
                <a:gd name="T77" fmla="*/ 397 h 480"/>
                <a:gd name="T78" fmla="*/ 285 w 375"/>
                <a:gd name="T79" fmla="*/ 398 h 480"/>
                <a:gd name="T80" fmla="*/ 276 w 375"/>
                <a:gd name="T81" fmla="*/ 420 h 480"/>
                <a:gd name="T82" fmla="*/ 295 w 375"/>
                <a:gd name="T83" fmla="*/ 407 h 480"/>
                <a:gd name="T84" fmla="*/ 309 w 375"/>
                <a:gd name="T85" fmla="*/ 395 h 480"/>
                <a:gd name="T86" fmla="*/ 313 w 375"/>
                <a:gd name="T87" fmla="*/ 370 h 480"/>
                <a:gd name="T88" fmla="*/ 331 w 375"/>
                <a:gd name="T89" fmla="*/ 359 h 480"/>
                <a:gd name="T90" fmla="*/ 343 w 375"/>
                <a:gd name="T91" fmla="*/ 338 h 480"/>
                <a:gd name="T92" fmla="*/ 333 w 375"/>
                <a:gd name="T93" fmla="*/ 331 h 480"/>
                <a:gd name="T94" fmla="*/ 311 w 375"/>
                <a:gd name="T95" fmla="*/ 345 h 480"/>
                <a:gd name="T96" fmla="*/ 297 w 375"/>
                <a:gd name="T97" fmla="*/ 306 h 480"/>
                <a:gd name="T98" fmla="*/ 292 w 375"/>
                <a:gd name="T99" fmla="*/ 258 h 480"/>
                <a:gd name="T100" fmla="*/ 290 w 375"/>
                <a:gd name="T101" fmla="*/ 235 h 480"/>
                <a:gd name="T102" fmla="*/ 285 w 375"/>
                <a:gd name="T103" fmla="*/ 206 h 480"/>
                <a:gd name="T104" fmla="*/ 299 w 375"/>
                <a:gd name="T105" fmla="*/ 178 h 480"/>
                <a:gd name="T106" fmla="*/ 308 w 375"/>
                <a:gd name="T107" fmla="*/ 164 h 480"/>
                <a:gd name="T108" fmla="*/ 322 w 375"/>
                <a:gd name="T109" fmla="*/ 164 h 480"/>
                <a:gd name="T110" fmla="*/ 325 w 375"/>
                <a:gd name="T111" fmla="*/ 149 h 480"/>
                <a:gd name="T112" fmla="*/ 363 w 375"/>
                <a:gd name="T113" fmla="*/ 176 h 480"/>
                <a:gd name="T114" fmla="*/ 373 w 375"/>
                <a:gd name="T115" fmla="*/ 187 h 480"/>
                <a:gd name="T116" fmla="*/ 368 w 375"/>
                <a:gd name="T117" fmla="*/ 128 h 480"/>
                <a:gd name="T118" fmla="*/ 352 w 375"/>
                <a:gd name="T119" fmla="*/ 10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5" h="480">
                  <a:moveTo>
                    <a:pt x="343" y="101"/>
                  </a:moveTo>
                  <a:lnTo>
                    <a:pt x="343" y="101"/>
                  </a:lnTo>
                  <a:lnTo>
                    <a:pt x="345" y="93"/>
                  </a:lnTo>
                  <a:lnTo>
                    <a:pt x="343" y="87"/>
                  </a:lnTo>
                  <a:lnTo>
                    <a:pt x="343" y="85"/>
                  </a:lnTo>
                  <a:lnTo>
                    <a:pt x="343" y="84"/>
                  </a:lnTo>
                  <a:lnTo>
                    <a:pt x="343" y="84"/>
                  </a:lnTo>
                  <a:lnTo>
                    <a:pt x="333" y="78"/>
                  </a:lnTo>
                  <a:lnTo>
                    <a:pt x="329" y="73"/>
                  </a:lnTo>
                  <a:lnTo>
                    <a:pt x="306" y="73"/>
                  </a:lnTo>
                  <a:lnTo>
                    <a:pt x="304" y="55"/>
                  </a:lnTo>
                  <a:lnTo>
                    <a:pt x="304" y="55"/>
                  </a:lnTo>
                  <a:lnTo>
                    <a:pt x="299" y="50"/>
                  </a:lnTo>
                  <a:lnTo>
                    <a:pt x="297" y="45"/>
                  </a:lnTo>
                  <a:lnTo>
                    <a:pt x="293" y="43"/>
                  </a:lnTo>
                  <a:lnTo>
                    <a:pt x="290" y="41"/>
                  </a:lnTo>
                  <a:lnTo>
                    <a:pt x="290" y="41"/>
                  </a:lnTo>
                  <a:lnTo>
                    <a:pt x="285" y="37"/>
                  </a:lnTo>
                  <a:lnTo>
                    <a:pt x="274" y="32"/>
                  </a:lnTo>
                  <a:lnTo>
                    <a:pt x="267" y="25"/>
                  </a:lnTo>
                  <a:lnTo>
                    <a:pt x="261" y="7"/>
                  </a:lnTo>
                  <a:lnTo>
                    <a:pt x="242" y="0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242" y="5"/>
                  </a:lnTo>
                  <a:lnTo>
                    <a:pt x="238" y="11"/>
                  </a:lnTo>
                  <a:lnTo>
                    <a:pt x="237" y="13"/>
                  </a:lnTo>
                  <a:lnTo>
                    <a:pt x="237" y="13"/>
                  </a:lnTo>
                  <a:lnTo>
                    <a:pt x="233" y="18"/>
                  </a:lnTo>
                  <a:lnTo>
                    <a:pt x="229" y="20"/>
                  </a:lnTo>
                  <a:lnTo>
                    <a:pt x="224" y="23"/>
                  </a:lnTo>
                  <a:lnTo>
                    <a:pt x="215" y="23"/>
                  </a:lnTo>
                  <a:lnTo>
                    <a:pt x="215" y="23"/>
                  </a:lnTo>
                  <a:lnTo>
                    <a:pt x="210" y="23"/>
                  </a:lnTo>
                  <a:lnTo>
                    <a:pt x="206" y="23"/>
                  </a:lnTo>
                  <a:lnTo>
                    <a:pt x="201" y="27"/>
                  </a:lnTo>
                  <a:lnTo>
                    <a:pt x="194" y="30"/>
                  </a:lnTo>
                  <a:lnTo>
                    <a:pt x="194" y="30"/>
                  </a:lnTo>
                  <a:lnTo>
                    <a:pt x="194" y="32"/>
                  </a:lnTo>
                  <a:lnTo>
                    <a:pt x="190" y="34"/>
                  </a:lnTo>
                  <a:lnTo>
                    <a:pt x="187" y="34"/>
                  </a:lnTo>
                  <a:lnTo>
                    <a:pt x="181" y="34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67" y="34"/>
                  </a:lnTo>
                  <a:lnTo>
                    <a:pt x="157" y="34"/>
                  </a:lnTo>
                  <a:lnTo>
                    <a:pt x="149" y="39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2" y="39"/>
                  </a:lnTo>
                  <a:lnTo>
                    <a:pt x="141" y="37"/>
                  </a:lnTo>
                  <a:lnTo>
                    <a:pt x="133" y="32"/>
                  </a:lnTo>
                  <a:lnTo>
                    <a:pt x="128" y="25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21" y="37"/>
                  </a:lnTo>
                  <a:lnTo>
                    <a:pt x="125" y="43"/>
                  </a:lnTo>
                  <a:lnTo>
                    <a:pt x="121" y="45"/>
                  </a:lnTo>
                  <a:lnTo>
                    <a:pt x="116" y="53"/>
                  </a:lnTo>
                  <a:lnTo>
                    <a:pt x="119" y="66"/>
                  </a:lnTo>
                  <a:lnTo>
                    <a:pt x="105" y="68"/>
                  </a:lnTo>
                  <a:lnTo>
                    <a:pt x="94" y="69"/>
                  </a:lnTo>
                  <a:lnTo>
                    <a:pt x="98" y="78"/>
                  </a:lnTo>
                  <a:lnTo>
                    <a:pt x="75" y="89"/>
                  </a:lnTo>
                  <a:lnTo>
                    <a:pt x="73" y="94"/>
                  </a:lnTo>
                  <a:lnTo>
                    <a:pt x="73" y="94"/>
                  </a:lnTo>
                  <a:lnTo>
                    <a:pt x="71" y="94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2" y="100"/>
                  </a:lnTo>
                  <a:lnTo>
                    <a:pt x="62" y="101"/>
                  </a:lnTo>
                  <a:lnTo>
                    <a:pt x="62" y="105"/>
                  </a:lnTo>
                  <a:lnTo>
                    <a:pt x="66" y="109"/>
                  </a:lnTo>
                  <a:lnTo>
                    <a:pt x="66" y="109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71" y="110"/>
                  </a:lnTo>
                  <a:lnTo>
                    <a:pt x="73" y="114"/>
                  </a:lnTo>
                  <a:lnTo>
                    <a:pt x="73" y="121"/>
                  </a:lnTo>
                  <a:lnTo>
                    <a:pt x="71" y="123"/>
                  </a:lnTo>
                  <a:lnTo>
                    <a:pt x="71" y="123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9" y="132"/>
                  </a:lnTo>
                  <a:lnTo>
                    <a:pt x="69" y="132"/>
                  </a:lnTo>
                  <a:lnTo>
                    <a:pt x="69" y="133"/>
                  </a:lnTo>
                  <a:lnTo>
                    <a:pt x="71" y="137"/>
                  </a:lnTo>
                  <a:lnTo>
                    <a:pt x="71" y="142"/>
                  </a:lnTo>
                  <a:lnTo>
                    <a:pt x="78" y="144"/>
                  </a:lnTo>
                  <a:lnTo>
                    <a:pt x="78" y="144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7"/>
                  </a:lnTo>
                  <a:lnTo>
                    <a:pt x="75" y="160"/>
                  </a:lnTo>
                  <a:lnTo>
                    <a:pt x="73" y="162"/>
                  </a:lnTo>
                  <a:lnTo>
                    <a:pt x="73" y="162"/>
                  </a:lnTo>
                  <a:lnTo>
                    <a:pt x="71" y="164"/>
                  </a:lnTo>
                  <a:lnTo>
                    <a:pt x="71" y="167"/>
                  </a:lnTo>
                  <a:lnTo>
                    <a:pt x="73" y="171"/>
                  </a:lnTo>
                  <a:lnTo>
                    <a:pt x="73" y="171"/>
                  </a:lnTo>
                  <a:lnTo>
                    <a:pt x="78" y="173"/>
                  </a:lnTo>
                  <a:lnTo>
                    <a:pt x="82" y="174"/>
                  </a:lnTo>
                  <a:lnTo>
                    <a:pt x="85" y="174"/>
                  </a:lnTo>
                  <a:lnTo>
                    <a:pt x="89" y="176"/>
                  </a:lnTo>
                  <a:lnTo>
                    <a:pt x="89" y="176"/>
                  </a:lnTo>
                  <a:lnTo>
                    <a:pt x="91" y="176"/>
                  </a:lnTo>
                  <a:lnTo>
                    <a:pt x="93" y="178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4" y="194"/>
                  </a:lnTo>
                  <a:lnTo>
                    <a:pt x="94" y="196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94" y="201"/>
                  </a:lnTo>
                  <a:lnTo>
                    <a:pt x="93" y="203"/>
                  </a:lnTo>
                  <a:lnTo>
                    <a:pt x="93" y="203"/>
                  </a:lnTo>
                  <a:lnTo>
                    <a:pt x="87" y="208"/>
                  </a:lnTo>
                  <a:lnTo>
                    <a:pt x="82" y="215"/>
                  </a:lnTo>
                  <a:lnTo>
                    <a:pt x="82" y="215"/>
                  </a:lnTo>
                  <a:lnTo>
                    <a:pt x="82" y="217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78" y="224"/>
                  </a:lnTo>
                  <a:lnTo>
                    <a:pt x="78" y="226"/>
                  </a:lnTo>
                  <a:lnTo>
                    <a:pt x="73" y="229"/>
                  </a:lnTo>
                  <a:lnTo>
                    <a:pt x="73" y="229"/>
                  </a:lnTo>
                  <a:lnTo>
                    <a:pt x="71" y="229"/>
                  </a:lnTo>
                  <a:lnTo>
                    <a:pt x="73" y="233"/>
                  </a:lnTo>
                  <a:lnTo>
                    <a:pt x="78" y="233"/>
                  </a:lnTo>
                  <a:lnTo>
                    <a:pt x="78" y="233"/>
                  </a:lnTo>
                  <a:lnTo>
                    <a:pt x="73" y="235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68" y="238"/>
                  </a:lnTo>
                  <a:lnTo>
                    <a:pt x="64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1" y="235"/>
                  </a:lnTo>
                  <a:lnTo>
                    <a:pt x="59" y="235"/>
                  </a:lnTo>
                  <a:lnTo>
                    <a:pt x="57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48" y="235"/>
                  </a:lnTo>
                  <a:lnTo>
                    <a:pt x="46" y="238"/>
                  </a:lnTo>
                  <a:lnTo>
                    <a:pt x="48" y="245"/>
                  </a:lnTo>
                  <a:lnTo>
                    <a:pt x="48" y="245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3" y="251"/>
                  </a:lnTo>
                  <a:lnTo>
                    <a:pt x="39" y="251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2" y="254"/>
                  </a:lnTo>
                  <a:lnTo>
                    <a:pt x="29" y="254"/>
                  </a:lnTo>
                  <a:lnTo>
                    <a:pt x="27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6"/>
                  </a:lnTo>
                  <a:lnTo>
                    <a:pt x="23" y="260"/>
                  </a:lnTo>
                  <a:lnTo>
                    <a:pt x="23" y="267"/>
                  </a:lnTo>
                  <a:lnTo>
                    <a:pt x="23" y="267"/>
                  </a:lnTo>
                  <a:lnTo>
                    <a:pt x="27" y="269"/>
                  </a:lnTo>
                  <a:lnTo>
                    <a:pt x="29" y="270"/>
                  </a:lnTo>
                  <a:lnTo>
                    <a:pt x="30" y="270"/>
                  </a:lnTo>
                  <a:lnTo>
                    <a:pt x="30" y="270"/>
                  </a:lnTo>
                  <a:lnTo>
                    <a:pt x="32" y="270"/>
                  </a:lnTo>
                  <a:lnTo>
                    <a:pt x="34" y="272"/>
                  </a:lnTo>
                  <a:lnTo>
                    <a:pt x="37" y="277"/>
                  </a:lnTo>
                  <a:lnTo>
                    <a:pt x="39" y="288"/>
                  </a:lnTo>
                  <a:lnTo>
                    <a:pt x="39" y="288"/>
                  </a:lnTo>
                  <a:lnTo>
                    <a:pt x="37" y="290"/>
                  </a:lnTo>
                  <a:lnTo>
                    <a:pt x="34" y="288"/>
                  </a:lnTo>
                  <a:lnTo>
                    <a:pt x="30" y="286"/>
                  </a:lnTo>
                  <a:lnTo>
                    <a:pt x="25" y="283"/>
                  </a:lnTo>
                  <a:lnTo>
                    <a:pt x="21" y="286"/>
                  </a:lnTo>
                  <a:lnTo>
                    <a:pt x="21" y="292"/>
                  </a:lnTo>
                  <a:lnTo>
                    <a:pt x="21" y="292"/>
                  </a:lnTo>
                  <a:lnTo>
                    <a:pt x="18" y="292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5" y="293"/>
                  </a:lnTo>
                  <a:lnTo>
                    <a:pt x="4" y="297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2" y="304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5"/>
                  </a:lnTo>
                  <a:lnTo>
                    <a:pt x="2" y="318"/>
                  </a:lnTo>
                  <a:lnTo>
                    <a:pt x="0" y="325"/>
                  </a:lnTo>
                  <a:lnTo>
                    <a:pt x="0" y="325"/>
                  </a:lnTo>
                  <a:lnTo>
                    <a:pt x="2" y="329"/>
                  </a:lnTo>
                  <a:lnTo>
                    <a:pt x="4" y="334"/>
                  </a:lnTo>
                  <a:lnTo>
                    <a:pt x="5" y="336"/>
                  </a:lnTo>
                  <a:lnTo>
                    <a:pt x="5" y="336"/>
                  </a:lnTo>
                  <a:lnTo>
                    <a:pt x="9" y="343"/>
                  </a:lnTo>
                  <a:lnTo>
                    <a:pt x="9" y="349"/>
                  </a:lnTo>
                  <a:lnTo>
                    <a:pt x="9" y="356"/>
                  </a:lnTo>
                  <a:lnTo>
                    <a:pt x="9" y="356"/>
                  </a:lnTo>
                  <a:lnTo>
                    <a:pt x="21" y="361"/>
                  </a:lnTo>
                  <a:lnTo>
                    <a:pt x="30" y="372"/>
                  </a:lnTo>
                  <a:lnTo>
                    <a:pt x="30" y="372"/>
                  </a:lnTo>
                  <a:lnTo>
                    <a:pt x="32" y="377"/>
                  </a:lnTo>
                  <a:lnTo>
                    <a:pt x="34" y="381"/>
                  </a:lnTo>
                  <a:lnTo>
                    <a:pt x="37" y="389"/>
                  </a:lnTo>
                  <a:lnTo>
                    <a:pt x="37" y="389"/>
                  </a:lnTo>
                  <a:lnTo>
                    <a:pt x="41" y="407"/>
                  </a:lnTo>
                  <a:lnTo>
                    <a:pt x="46" y="407"/>
                  </a:lnTo>
                  <a:lnTo>
                    <a:pt x="46" y="407"/>
                  </a:lnTo>
                  <a:lnTo>
                    <a:pt x="71" y="395"/>
                  </a:lnTo>
                  <a:lnTo>
                    <a:pt x="71" y="395"/>
                  </a:lnTo>
                  <a:lnTo>
                    <a:pt x="75" y="393"/>
                  </a:lnTo>
                  <a:lnTo>
                    <a:pt x="80" y="393"/>
                  </a:lnTo>
                  <a:lnTo>
                    <a:pt x="84" y="395"/>
                  </a:lnTo>
                  <a:lnTo>
                    <a:pt x="87" y="395"/>
                  </a:lnTo>
                  <a:lnTo>
                    <a:pt x="98" y="402"/>
                  </a:lnTo>
                  <a:lnTo>
                    <a:pt x="98" y="402"/>
                  </a:lnTo>
                  <a:lnTo>
                    <a:pt x="103" y="409"/>
                  </a:lnTo>
                  <a:lnTo>
                    <a:pt x="110" y="414"/>
                  </a:lnTo>
                  <a:lnTo>
                    <a:pt x="121" y="425"/>
                  </a:lnTo>
                  <a:lnTo>
                    <a:pt x="121" y="437"/>
                  </a:lnTo>
                  <a:lnTo>
                    <a:pt x="114" y="446"/>
                  </a:lnTo>
                  <a:lnTo>
                    <a:pt x="112" y="462"/>
                  </a:lnTo>
                  <a:lnTo>
                    <a:pt x="126" y="462"/>
                  </a:lnTo>
                  <a:lnTo>
                    <a:pt x="153" y="453"/>
                  </a:lnTo>
                  <a:lnTo>
                    <a:pt x="169" y="466"/>
                  </a:lnTo>
                  <a:lnTo>
                    <a:pt x="180" y="480"/>
                  </a:lnTo>
                  <a:lnTo>
                    <a:pt x="180" y="480"/>
                  </a:lnTo>
                  <a:lnTo>
                    <a:pt x="187" y="477"/>
                  </a:lnTo>
                  <a:lnTo>
                    <a:pt x="194" y="475"/>
                  </a:lnTo>
                  <a:lnTo>
                    <a:pt x="194" y="475"/>
                  </a:lnTo>
                  <a:lnTo>
                    <a:pt x="196" y="471"/>
                  </a:lnTo>
                  <a:lnTo>
                    <a:pt x="197" y="469"/>
                  </a:lnTo>
                  <a:lnTo>
                    <a:pt x="201" y="462"/>
                  </a:lnTo>
                  <a:lnTo>
                    <a:pt x="203" y="457"/>
                  </a:lnTo>
                  <a:lnTo>
                    <a:pt x="203" y="457"/>
                  </a:lnTo>
                  <a:lnTo>
                    <a:pt x="206" y="455"/>
                  </a:lnTo>
                  <a:lnTo>
                    <a:pt x="206" y="455"/>
                  </a:lnTo>
                  <a:lnTo>
                    <a:pt x="213" y="457"/>
                  </a:lnTo>
                  <a:lnTo>
                    <a:pt x="213" y="457"/>
                  </a:lnTo>
                  <a:lnTo>
                    <a:pt x="217" y="455"/>
                  </a:lnTo>
                  <a:lnTo>
                    <a:pt x="222" y="453"/>
                  </a:lnTo>
                  <a:lnTo>
                    <a:pt x="222" y="452"/>
                  </a:lnTo>
                  <a:lnTo>
                    <a:pt x="222" y="450"/>
                  </a:lnTo>
                  <a:lnTo>
                    <a:pt x="222" y="450"/>
                  </a:lnTo>
                  <a:lnTo>
                    <a:pt x="217" y="446"/>
                  </a:lnTo>
                  <a:lnTo>
                    <a:pt x="213" y="441"/>
                  </a:lnTo>
                  <a:lnTo>
                    <a:pt x="213" y="437"/>
                  </a:lnTo>
                  <a:lnTo>
                    <a:pt x="213" y="434"/>
                  </a:lnTo>
                  <a:lnTo>
                    <a:pt x="213" y="430"/>
                  </a:lnTo>
                  <a:lnTo>
                    <a:pt x="215" y="429"/>
                  </a:lnTo>
                  <a:lnTo>
                    <a:pt x="215" y="429"/>
                  </a:lnTo>
                  <a:lnTo>
                    <a:pt x="217" y="425"/>
                  </a:lnTo>
                  <a:lnTo>
                    <a:pt x="224" y="420"/>
                  </a:lnTo>
                  <a:lnTo>
                    <a:pt x="231" y="414"/>
                  </a:lnTo>
                  <a:lnTo>
                    <a:pt x="242" y="413"/>
                  </a:lnTo>
                  <a:lnTo>
                    <a:pt x="247" y="411"/>
                  </a:lnTo>
                  <a:lnTo>
                    <a:pt x="247" y="411"/>
                  </a:lnTo>
                  <a:lnTo>
                    <a:pt x="247" y="411"/>
                  </a:lnTo>
                  <a:lnTo>
                    <a:pt x="249" y="409"/>
                  </a:lnTo>
                  <a:lnTo>
                    <a:pt x="251" y="405"/>
                  </a:lnTo>
                  <a:lnTo>
                    <a:pt x="253" y="400"/>
                  </a:lnTo>
                  <a:lnTo>
                    <a:pt x="254" y="398"/>
                  </a:lnTo>
                  <a:lnTo>
                    <a:pt x="258" y="397"/>
                  </a:lnTo>
                  <a:lnTo>
                    <a:pt x="258" y="397"/>
                  </a:lnTo>
                  <a:lnTo>
                    <a:pt x="277" y="391"/>
                  </a:lnTo>
                  <a:lnTo>
                    <a:pt x="285" y="391"/>
                  </a:lnTo>
                  <a:lnTo>
                    <a:pt x="286" y="391"/>
                  </a:lnTo>
                  <a:lnTo>
                    <a:pt x="286" y="395"/>
                  </a:lnTo>
                  <a:lnTo>
                    <a:pt x="286" y="395"/>
                  </a:lnTo>
                  <a:lnTo>
                    <a:pt x="285" y="398"/>
                  </a:lnTo>
                  <a:lnTo>
                    <a:pt x="281" y="402"/>
                  </a:lnTo>
                  <a:lnTo>
                    <a:pt x="274" y="411"/>
                  </a:lnTo>
                  <a:lnTo>
                    <a:pt x="274" y="411"/>
                  </a:lnTo>
                  <a:lnTo>
                    <a:pt x="270" y="414"/>
                  </a:lnTo>
                  <a:lnTo>
                    <a:pt x="270" y="416"/>
                  </a:lnTo>
                  <a:lnTo>
                    <a:pt x="274" y="418"/>
                  </a:lnTo>
                  <a:lnTo>
                    <a:pt x="276" y="420"/>
                  </a:lnTo>
                  <a:lnTo>
                    <a:pt x="276" y="420"/>
                  </a:lnTo>
                  <a:lnTo>
                    <a:pt x="283" y="418"/>
                  </a:lnTo>
                  <a:lnTo>
                    <a:pt x="286" y="418"/>
                  </a:lnTo>
                  <a:lnTo>
                    <a:pt x="290" y="414"/>
                  </a:lnTo>
                  <a:lnTo>
                    <a:pt x="293" y="411"/>
                  </a:lnTo>
                  <a:lnTo>
                    <a:pt x="293" y="411"/>
                  </a:lnTo>
                  <a:lnTo>
                    <a:pt x="295" y="407"/>
                  </a:lnTo>
                  <a:lnTo>
                    <a:pt x="295" y="402"/>
                  </a:lnTo>
                  <a:lnTo>
                    <a:pt x="297" y="398"/>
                  </a:lnTo>
                  <a:lnTo>
                    <a:pt x="297" y="398"/>
                  </a:lnTo>
                  <a:lnTo>
                    <a:pt x="299" y="397"/>
                  </a:lnTo>
                  <a:lnTo>
                    <a:pt x="299" y="397"/>
                  </a:lnTo>
                  <a:lnTo>
                    <a:pt x="306" y="395"/>
                  </a:lnTo>
                  <a:lnTo>
                    <a:pt x="309" y="395"/>
                  </a:lnTo>
                  <a:lnTo>
                    <a:pt x="311" y="391"/>
                  </a:lnTo>
                  <a:lnTo>
                    <a:pt x="311" y="388"/>
                  </a:lnTo>
                  <a:lnTo>
                    <a:pt x="311" y="388"/>
                  </a:lnTo>
                  <a:lnTo>
                    <a:pt x="311" y="381"/>
                  </a:lnTo>
                  <a:lnTo>
                    <a:pt x="311" y="375"/>
                  </a:lnTo>
                  <a:lnTo>
                    <a:pt x="311" y="372"/>
                  </a:lnTo>
                  <a:lnTo>
                    <a:pt x="313" y="370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22" y="366"/>
                  </a:lnTo>
                  <a:lnTo>
                    <a:pt x="327" y="365"/>
                  </a:lnTo>
                  <a:lnTo>
                    <a:pt x="329" y="361"/>
                  </a:lnTo>
                  <a:lnTo>
                    <a:pt x="331" y="361"/>
                  </a:lnTo>
                  <a:lnTo>
                    <a:pt x="331" y="359"/>
                  </a:lnTo>
                  <a:lnTo>
                    <a:pt x="331" y="359"/>
                  </a:lnTo>
                  <a:lnTo>
                    <a:pt x="331" y="356"/>
                  </a:lnTo>
                  <a:lnTo>
                    <a:pt x="333" y="352"/>
                  </a:lnTo>
                  <a:lnTo>
                    <a:pt x="334" y="347"/>
                  </a:lnTo>
                  <a:lnTo>
                    <a:pt x="338" y="343"/>
                  </a:lnTo>
                  <a:lnTo>
                    <a:pt x="338" y="343"/>
                  </a:lnTo>
                  <a:lnTo>
                    <a:pt x="343" y="338"/>
                  </a:lnTo>
                  <a:lnTo>
                    <a:pt x="343" y="334"/>
                  </a:lnTo>
                  <a:lnTo>
                    <a:pt x="343" y="333"/>
                  </a:lnTo>
                  <a:lnTo>
                    <a:pt x="343" y="331"/>
                  </a:lnTo>
                  <a:lnTo>
                    <a:pt x="338" y="331"/>
                  </a:lnTo>
                  <a:lnTo>
                    <a:pt x="336" y="329"/>
                  </a:lnTo>
                  <a:lnTo>
                    <a:pt x="336" y="329"/>
                  </a:lnTo>
                  <a:lnTo>
                    <a:pt x="333" y="331"/>
                  </a:lnTo>
                  <a:lnTo>
                    <a:pt x="329" y="333"/>
                  </a:lnTo>
                  <a:lnTo>
                    <a:pt x="324" y="338"/>
                  </a:lnTo>
                  <a:lnTo>
                    <a:pt x="317" y="345"/>
                  </a:lnTo>
                  <a:lnTo>
                    <a:pt x="315" y="347"/>
                  </a:lnTo>
                  <a:lnTo>
                    <a:pt x="313" y="347"/>
                  </a:lnTo>
                  <a:lnTo>
                    <a:pt x="313" y="347"/>
                  </a:lnTo>
                  <a:lnTo>
                    <a:pt x="311" y="345"/>
                  </a:lnTo>
                  <a:lnTo>
                    <a:pt x="309" y="340"/>
                  </a:lnTo>
                  <a:lnTo>
                    <a:pt x="308" y="333"/>
                  </a:lnTo>
                  <a:lnTo>
                    <a:pt x="308" y="333"/>
                  </a:lnTo>
                  <a:lnTo>
                    <a:pt x="302" y="324"/>
                  </a:lnTo>
                  <a:lnTo>
                    <a:pt x="299" y="315"/>
                  </a:lnTo>
                  <a:lnTo>
                    <a:pt x="297" y="306"/>
                  </a:lnTo>
                  <a:lnTo>
                    <a:pt x="297" y="306"/>
                  </a:lnTo>
                  <a:lnTo>
                    <a:pt x="297" y="293"/>
                  </a:lnTo>
                  <a:lnTo>
                    <a:pt x="297" y="286"/>
                  </a:lnTo>
                  <a:lnTo>
                    <a:pt x="299" y="277"/>
                  </a:lnTo>
                  <a:lnTo>
                    <a:pt x="297" y="270"/>
                  </a:lnTo>
                  <a:lnTo>
                    <a:pt x="297" y="270"/>
                  </a:lnTo>
                  <a:lnTo>
                    <a:pt x="293" y="263"/>
                  </a:lnTo>
                  <a:lnTo>
                    <a:pt x="292" y="258"/>
                  </a:lnTo>
                  <a:lnTo>
                    <a:pt x="290" y="251"/>
                  </a:lnTo>
                  <a:lnTo>
                    <a:pt x="290" y="251"/>
                  </a:lnTo>
                  <a:lnTo>
                    <a:pt x="290" y="247"/>
                  </a:lnTo>
                  <a:lnTo>
                    <a:pt x="292" y="244"/>
                  </a:lnTo>
                  <a:lnTo>
                    <a:pt x="293" y="242"/>
                  </a:lnTo>
                  <a:lnTo>
                    <a:pt x="290" y="235"/>
                  </a:lnTo>
                  <a:lnTo>
                    <a:pt x="290" y="235"/>
                  </a:lnTo>
                  <a:lnTo>
                    <a:pt x="286" y="233"/>
                  </a:lnTo>
                  <a:lnTo>
                    <a:pt x="285" y="229"/>
                  </a:lnTo>
                  <a:lnTo>
                    <a:pt x="283" y="226"/>
                  </a:lnTo>
                  <a:lnTo>
                    <a:pt x="283" y="222"/>
                  </a:lnTo>
                  <a:lnTo>
                    <a:pt x="283" y="222"/>
                  </a:lnTo>
                  <a:lnTo>
                    <a:pt x="283" y="213"/>
                  </a:lnTo>
                  <a:lnTo>
                    <a:pt x="285" y="206"/>
                  </a:lnTo>
                  <a:lnTo>
                    <a:pt x="288" y="201"/>
                  </a:lnTo>
                  <a:lnTo>
                    <a:pt x="290" y="197"/>
                  </a:lnTo>
                  <a:lnTo>
                    <a:pt x="290" y="197"/>
                  </a:lnTo>
                  <a:lnTo>
                    <a:pt x="293" y="194"/>
                  </a:lnTo>
                  <a:lnTo>
                    <a:pt x="297" y="190"/>
                  </a:lnTo>
                  <a:lnTo>
                    <a:pt x="297" y="185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299" y="174"/>
                  </a:lnTo>
                  <a:lnTo>
                    <a:pt x="299" y="171"/>
                  </a:lnTo>
                  <a:lnTo>
                    <a:pt x="304" y="167"/>
                  </a:lnTo>
                  <a:lnTo>
                    <a:pt x="306" y="165"/>
                  </a:lnTo>
                  <a:lnTo>
                    <a:pt x="308" y="164"/>
                  </a:lnTo>
                  <a:lnTo>
                    <a:pt x="308" y="164"/>
                  </a:lnTo>
                  <a:lnTo>
                    <a:pt x="311" y="165"/>
                  </a:lnTo>
                  <a:lnTo>
                    <a:pt x="317" y="167"/>
                  </a:lnTo>
                  <a:lnTo>
                    <a:pt x="318" y="169"/>
                  </a:lnTo>
                  <a:lnTo>
                    <a:pt x="322" y="169"/>
                  </a:lnTo>
                  <a:lnTo>
                    <a:pt x="322" y="167"/>
                  </a:lnTo>
                  <a:lnTo>
                    <a:pt x="322" y="167"/>
                  </a:lnTo>
                  <a:lnTo>
                    <a:pt x="322" y="164"/>
                  </a:lnTo>
                  <a:lnTo>
                    <a:pt x="318" y="153"/>
                  </a:lnTo>
                  <a:lnTo>
                    <a:pt x="318" y="148"/>
                  </a:lnTo>
                  <a:lnTo>
                    <a:pt x="318" y="146"/>
                  </a:lnTo>
                  <a:lnTo>
                    <a:pt x="322" y="146"/>
                  </a:lnTo>
                  <a:lnTo>
                    <a:pt x="322" y="146"/>
                  </a:lnTo>
                  <a:lnTo>
                    <a:pt x="324" y="146"/>
                  </a:lnTo>
                  <a:lnTo>
                    <a:pt x="325" y="149"/>
                  </a:lnTo>
                  <a:lnTo>
                    <a:pt x="331" y="157"/>
                  </a:lnTo>
                  <a:lnTo>
                    <a:pt x="334" y="165"/>
                  </a:lnTo>
                  <a:lnTo>
                    <a:pt x="343" y="173"/>
                  </a:lnTo>
                  <a:lnTo>
                    <a:pt x="343" y="173"/>
                  </a:lnTo>
                  <a:lnTo>
                    <a:pt x="347" y="174"/>
                  </a:lnTo>
                  <a:lnTo>
                    <a:pt x="352" y="174"/>
                  </a:lnTo>
                  <a:lnTo>
                    <a:pt x="363" y="176"/>
                  </a:lnTo>
                  <a:lnTo>
                    <a:pt x="363" y="176"/>
                  </a:lnTo>
                  <a:lnTo>
                    <a:pt x="363" y="176"/>
                  </a:lnTo>
                  <a:lnTo>
                    <a:pt x="365" y="178"/>
                  </a:lnTo>
                  <a:lnTo>
                    <a:pt x="368" y="183"/>
                  </a:lnTo>
                  <a:lnTo>
                    <a:pt x="372" y="187"/>
                  </a:lnTo>
                  <a:lnTo>
                    <a:pt x="372" y="187"/>
                  </a:lnTo>
                  <a:lnTo>
                    <a:pt x="373" y="187"/>
                  </a:lnTo>
                  <a:lnTo>
                    <a:pt x="373" y="187"/>
                  </a:lnTo>
                  <a:lnTo>
                    <a:pt x="375" y="178"/>
                  </a:lnTo>
                  <a:lnTo>
                    <a:pt x="375" y="171"/>
                  </a:lnTo>
                  <a:lnTo>
                    <a:pt x="375" y="162"/>
                  </a:lnTo>
                  <a:lnTo>
                    <a:pt x="372" y="151"/>
                  </a:lnTo>
                  <a:lnTo>
                    <a:pt x="372" y="151"/>
                  </a:lnTo>
                  <a:lnTo>
                    <a:pt x="368" y="128"/>
                  </a:lnTo>
                  <a:lnTo>
                    <a:pt x="366" y="116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57" y="105"/>
                  </a:lnTo>
                  <a:lnTo>
                    <a:pt x="352" y="101"/>
                  </a:lnTo>
                  <a:lnTo>
                    <a:pt x="352" y="101"/>
                  </a:lnTo>
                  <a:lnTo>
                    <a:pt x="343" y="101"/>
                  </a:lnTo>
                  <a:lnTo>
                    <a:pt x="343" y="101"/>
                  </a:lnTo>
                  <a:lnTo>
                    <a:pt x="343" y="101"/>
                  </a:lnTo>
                  <a:lnTo>
                    <a:pt x="343" y="101"/>
                  </a:lnTo>
                  <a:lnTo>
                    <a:pt x="343" y="10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Freeform 58"/>
            <p:cNvSpPr>
              <a:spLocks/>
            </p:cNvSpPr>
            <p:nvPr/>
          </p:nvSpPr>
          <p:spPr bwMode="auto">
            <a:xfrm>
              <a:off x="2292815" y="2351332"/>
              <a:ext cx="286944" cy="490599"/>
            </a:xfrm>
            <a:custGeom>
              <a:avLst/>
              <a:gdLst>
                <a:gd name="T0" fmla="*/ 235 w 503"/>
                <a:gd name="T1" fmla="*/ 2 h 860"/>
                <a:gd name="T2" fmla="*/ 188 w 503"/>
                <a:gd name="T3" fmla="*/ 41 h 860"/>
                <a:gd name="T4" fmla="*/ 174 w 503"/>
                <a:gd name="T5" fmla="*/ 41 h 860"/>
                <a:gd name="T6" fmla="*/ 153 w 503"/>
                <a:gd name="T7" fmla="*/ 53 h 860"/>
                <a:gd name="T8" fmla="*/ 132 w 503"/>
                <a:gd name="T9" fmla="*/ 60 h 860"/>
                <a:gd name="T10" fmla="*/ 92 w 503"/>
                <a:gd name="T11" fmla="*/ 64 h 860"/>
                <a:gd name="T12" fmla="*/ 101 w 503"/>
                <a:gd name="T13" fmla="*/ 108 h 860"/>
                <a:gd name="T14" fmla="*/ 87 w 503"/>
                <a:gd name="T15" fmla="*/ 135 h 860"/>
                <a:gd name="T16" fmla="*/ 96 w 503"/>
                <a:gd name="T17" fmla="*/ 165 h 860"/>
                <a:gd name="T18" fmla="*/ 117 w 503"/>
                <a:gd name="T19" fmla="*/ 206 h 860"/>
                <a:gd name="T20" fmla="*/ 110 w 503"/>
                <a:gd name="T21" fmla="*/ 220 h 860"/>
                <a:gd name="T22" fmla="*/ 96 w 503"/>
                <a:gd name="T23" fmla="*/ 249 h 860"/>
                <a:gd name="T24" fmla="*/ 66 w 503"/>
                <a:gd name="T25" fmla="*/ 268 h 860"/>
                <a:gd name="T26" fmla="*/ 20 w 503"/>
                <a:gd name="T27" fmla="*/ 300 h 860"/>
                <a:gd name="T28" fmla="*/ 14 w 503"/>
                <a:gd name="T29" fmla="*/ 363 h 860"/>
                <a:gd name="T30" fmla="*/ 20 w 503"/>
                <a:gd name="T31" fmla="*/ 396 h 860"/>
                <a:gd name="T32" fmla="*/ 39 w 503"/>
                <a:gd name="T33" fmla="*/ 432 h 860"/>
                <a:gd name="T34" fmla="*/ 36 w 503"/>
                <a:gd name="T35" fmla="*/ 468 h 860"/>
                <a:gd name="T36" fmla="*/ 68 w 503"/>
                <a:gd name="T37" fmla="*/ 484 h 860"/>
                <a:gd name="T38" fmla="*/ 96 w 503"/>
                <a:gd name="T39" fmla="*/ 478 h 860"/>
                <a:gd name="T40" fmla="*/ 76 w 503"/>
                <a:gd name="T41" fmla="*/ 535 h 860"/>
                <a:gd name="T42" fmla="*/ 71 w 503"/>
                <a:gd name="T43" fmla="*/ 585 h 860"/>
                <a:gd name="T44" fmla="*/ 108 w 503"/>
                <a:gd name="T45" fmla="*/ 585 h 860"/>
                <a:gd name="T46" fmla="*/ 133 w 503"/>
                <a:gd name="T47" fmla="*/ 596 h 860"/>
                <a:gd name="T48" fmla="*/ 167 w 503"/>
                <a:gd name="T49" fmla="*/ 569 h 860"/>
                <a:gd name="T50" fmla="*/ 219 w 503"/>
                <a:gd name="T51" fmla="*/ 542 h 860"/>
                <a:gd name="T52" fmla="*/ 233 w 503"/>
                <a:gd name="T53" fmla="*/ 592 h 860"/>
                <a:gd name="T54" fmla="*/ 194 w 503"/>
                <a:gd name="T55" fmla="*/ 604 h 860"/>
                <a:gd name="T56" fmla="*/ 188 w 503"/>
                <a:gd name="T57" fmla="*/ 629 h 860"/>
                <a:gd name="T58" fmla="*/ 164 w 503"/>
                <a:gd name="T59" fmla="*/ 672 h 860"/>
                <a:gd name="T60" fmla="*/ 160 w 503"/>
                <a:gd name="T61" fmla="*/ 691 h 860"/>
                <a:gd name="T62" fmla="*/ 155 w 503"/>
                <a:gd name="T63" fmla="*/ 716 h 860"/>
                <a:gd name="T64" fmla="*/ 171 w 503"/>
                <a:gd name="T65" fmla="*/ 731 h 860"/>
                <a:gd name="T66" fmla="*/ 199 w 503"/>
                <a:gd name="T67" fmla="*/ 741 h 860"/>
                <a:gd name="T68" fmla="*/ 222 w 503"/>
                <a:gd name="T69" fmla="*/ 782 h 860"/>
                <a:gd name="T70" fmla="*/ 245 w 503"/>
                <a:gd name="T71" fmla="*/ 768 h 860"/>
                <a:gd name="T72" fmla="*/ 290 w 503"/>
                <a:gd name="T73" fmla="*/ 770 h 860"/>
                <a:gd name="T74" fmla="*/ 325 w 503"/>
                <a:gd name="T75" fmla="*/ 761 h 860"/>
                <a:gd name="T76" fmla="*/ 347 w 503"/>
                <a:gd name="T77" fmla="*/ 777 h 860"/>
                <a:gd name="T78" fmla="*/ 361 w 503"/>
                <a:gd name="T79" fmla="*/ 812 h 860"/>
                <a:gd name="T80" fmla="*/ 364 w 503"/>
                <a:gd name="T81" fmla="*/ 860 h 860"/>
                <a:gd name="T82" fmla="*/ 380 w 503"/>
                <a:gd name="T83" fmla="*/ 823 h 860"/>
                <a:gd name="T84" fmla="*/ 412 w 503"/>
                <a:gd name="T85" fmla="*/ 816 h 860"/>
                <a:gd name="T86" fmla="*/ 446 w 503"/>
                <a:gd name="T87" fmla="*/ 796 h 860"/>
                <a:gd name="T88" fmla="*/ 462 w 503"/>
                <a:gd name="T89" fmla="*/ 763 h 860"/>
                <a:gd name="T90" fmla="*/ 444 w 503"/>
                <a:gd name="T91" fmla="*/ 743 h 860"/>
                <a:gd name="T92" fmla="*/ 439 w 503"/>
                <a:gd name="T93" fmla="*/ 722 h 860"/>
                <a:gd name="T94" fmla="*/ 464 w 503"/>
                <a:gd name="T95" fmla="*/ 709 h 860"/>
                <a:gd name="T96" fmla="*/ 485 w 503"/>
                <a:gd name="T97" fmla="*/ 736 h 860"/>
                <a:gd name="T98" fmla="*/ 503 w 503"/>
                <a:gd name="T99" fmla="*/ 665 h 860"/>
                <a:gd name="T100" fmla="*/ 436 w 503"/>
                <a:gd name="T101" fmla="*/ 533 h 860"/>
                <a:gd name="T102" fmla="*/ 418 w 503"/>
                <a:gd name="T103" fmla="*/ 476 h 860"/>
                <a:gd name="T104" fmla="*/ 400 w 503"/>
                <a:gd name="T105" fmla="*/ 443 h 860"/>
                <a:gd name="T106" fmla="*/ 341 w 503"/>
                <a:gd name="T107" fmla="*/ 427 h 860"/>
                <a:gd name="T108" fmla="*/ 300 w 503"/>
                <a:gd name="T109" fmla="*/ 446 h 860"/>
                <a:gd name="T110" fmla="*/ 283 w 503"/>
                <a:gd name="T111" fmla="*/ 478 h 860"/>
                <a:gd name="T112" fmla="*/ 265 w 503"/>
                <a:gd name="T113" fmla="*/ 489 h 860"/>
                <a:gd name="T114" fmla="*/ 236 w 503"/>
                <a:gd name="T115" fmla="*/ 457 h 860"/>
                <a:gd name="T116" fmla="*/ 196 w 503"/>
                <a:gd name="T117" fmla="*/ 450 h 860"/>
                <a:gd name="T118" fmla="*/ 219 w 503"/>
                <a:gd name="T119" fmla="*/ 338 h 860"/>
                <a:gd name="T120" fmla="*/ 229 w 503"/>
                <a:gd name="T121" fmla="*/ 228 h 860"/>
                <a:gd name="T122" fmla="*/ 254 w 503"/>
                <a:gd name="T123" fmla="*/ 146 h 860"/>
                <a:gd name="T124" fmla="*/ 318 w 503"/>
                <a:gd name="T125" fmla="*/ 108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3" h="860">
                  <a:moveTo>
                    <a:pt x="304" y="60"/>
                  </a:moveTo>
                  <a:lnTo>
                    <a:pt x="277" y="69"/>
                  </a:lnTo>
                  <a:lnTo>
                    <a:pt x="263" y="69"/>
                  </a:lnTo>
                  <a:lnTo>
                    <a:pt x="265" y="53"/>
                  </a:lnTo>
                  <a:lnTo>
                    <a:pt x="272" y="44"/>
                  </a:lnTo>
                  <a:lnTo>
                    <a:pt x="272" y="32"/>
                  </a:lnTo>
                  <a:lnTo>
                    <a:pt x="272" y="32"/>
                  </a:lnTo>
                  <a:lnTo>
                    <a:pt x="261" y="21"/>
                  </a:lnTo>
                  <a:lnTo>
                    <a:pt x="254" y="16"/>
                  </a:lnTo>
                  <a:lnTo>
                    <a:pt x="249" y="9"/>
                  </a:lnTo>
                  <a:lnTo>
                    <a:pt x="249" y="9"/>
                  </a:lnTo>
                  <a:lnTo>
                    <a:pt x="238" y="2"/>
                  </a:lnTo>
                  <a:lnTo>
                    <a:pt x="235" y="2"/>
                  </a:lnTo>
                  <a:lnTo>
                    <a:pt x="231" y="0"/>
                  </a:lnTo>
                  <a:lnTo>
                    <a:pt x="226" y="0"/>
                  </a:lnTo>
                  <a:lnTo>
                    <a:pt x="222" y="2"/>
                  </a:lnTo>
                  <a:lnTo>
                    <a:pt x="222" y="2"/>
                  </a:lnTo>
                  <a:lnTo>
                    <a:pt x="197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4" y="23"/>
                  </a:lnTo>
                  <a:lnTo>
                    <a:pt x="194" y="23"/>
                  </a:lnTo>
                  <a:lnTo>
                    <a:pt x="194" y="27"/>
                  </a:lnTo>
                  <a:lnTo>
                    <a:pt x="194" y="34"/>
                  </a:lnTo>
                  <a:lnTo>
                    <a:pt x="192" y="37"/>
                  </a:lnTo>
                  <a:lnTo>
                    <a:pt x="188" y="41"/>
                  </a:lnTo>
                  <a:lnTo>
                    <a:pt x="188" y="41"/>
                  </a:lnTo>
                  <a:lnTo>
                    <a:pt x="185" y="41"/>
                  </a:lnTo>
                  <a:lnTo>
                    <a:pt x="185" y="41"/>
                  </a:lnTo>
                  <a:lnTo>
                    <a:pt x="181" y="39"/>
                  </a:lnTo>
                  <a:lnTo>
                    <a:pt x="181" y="37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78" y="34"/>
                  </a:lnTo>
                  <a:lnTo>
                    <a:pt x="178" y="36"/>
                  </a:lnTo>
                  <a:lnTo>
                    <a:pt x="178" y="37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4" y="41"/>
                  </a:lnTo>
                  <a:lnTo>
                    <a:pt x="174" y="41"/>
                  </a:lnTo>
                  <a:lnTo>
                    <a:pt x="172" y="39"/>
                  </a:lnTo>
                  <a:lnTo>
                    <a:pt x="172" y="39"/>
                  </a:lnTo>
                  <a:lnTo>
                    <a:pt x="171" y="37"/>
                  </a:lnTo>
                  <a:lnTo>
                    <a:pt x="164" y="37"/>
                  </a:lnTo>
                  <a:lnTo>
                    <a:pt x="160" y="37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58" y="48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3" y="53"/>
                  </a:lnTo>
                  <a:lnTo>
                    <a:pt x="153" y="53"/>
                  </a:lnTo>
                  <a:lnTo>
                    <a:pt x="153" y="57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8" y="60"/>
                  </a:lnTo>
                  <a:lnTo>
                    <a:pt x="144" y="59"/>
                  </a:lnTo>
                  <a:lnTo>
                    <a:pt x="140" y="57"/>
                  </a:lnTo>
                  <a:lnTo>
                    <a:pt x="140" y="57"/>
                  </a:lnTo>
                  <a:lnTo>
                    <a:pt x="137" y="57"/>
                  </a:lnTo>
                  <a:lnTo>
                    <a:pt x="137" y="57"/>
                  </a:lnTo>
                  <a:lnTo>
                    <a:pt x="133" y="60"/>
                  </a:lnTo>
                  <a:lnTo>
                    <a:pt x="133" y="60"/>
                  </a:lnTo>
                  <a:lnTo>
                    <a:pt x="133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0" y="55"/>
                  </a:lnTo>
                  <a:lnTo>
                    <a:pt x="103" y="55"/>
                  </a:lnTo>
                  <a:lnTo>
                    <a:pt x="103" y="55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55"/>
                  </a:lnTo>
                  <a:lnTo>
                    <a:pt x="96" y="57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6"/>
                  </a:lnTo>
                  <a:lnTo>
                    <a:pt x="92" y="68"/>
                  </a:lnTo>
                  <a:lnTo>
                    <a:pt x="92" y="75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1" y="108"/>
                  </a:lnTo>
                  <a:lnTo>
                    <a:pt x="101" y="114"/>
                  </a:lnTo>
                  <a:lnTo>
                    <a:pt x="100" y="117"/>
                  </a:lnTo>
                  <a:lnTo>
                    <a:pt x="98" y="121"/>
                  </a:lnTo>
                  <a:lnTo>
                    <a:pt x="98" y="121"/>
                  </a:lnTo>
                  <a:lnTo>
                    <a:pt x="96" y="123"/>
                  </a:lnTo>
                  <a:lnTo>
                    <a:pt x="92" y="124"/>
                  </a:lnTo>
                  <a:lnTo>
                    <a:pt x="92" y="126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30"/>
                  </a:lnTo>
                  <a:lnTo>
                    <a:pt x="91" y="130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9" y="140"/>
                  </a:lnTo>
                  <a:lnTo>
                    <a:pt x="89" y="140"/>
                  </a:lnTo>
                  <a:lnTo>
                    <a:pt x="87" y="142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4" y="148"/>
                  </a:lnTo>
                  <a:lnTo>
                    <a:pt x="84" y="149"/>
                  </a:lnTo>
                  <a:lnTo>
                    <a:pt x="87" y="158"/>
                  </a:lnTo>
                  <a:lnTo>
                    <a:pt x="87" y="158"/>
                  </a:lnTo>
                  <a:lnTo>
                    <a:pt x="91" y="164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3" y="178"/>
                  </a:lnTo>
                  <a:lnTo>
                    <a:pt x="103" y="178"/>
                  </a:lnTo>
                  <a:lnTo>
                    <a:pt x="107" y="181"/>
                  </a:lnTo>
                  <a:lnTo>
                    <a:pt x="108" y="183"/>
                  </a:lnTo>
                  <a:lnTo>
                    <a:pt x="108" y="185"/>
                  </a:lnTo>
                  <a:lnTo>
                    <a:pt x="108" y="185"/>
                  </a:lnTo>
                  <a:lnTo>
                    <a:pt x="110" y="190"/>
                  </a:lnTo>
                  <a:lnTo>
                    <a:pt x="112" y="197"/>
                  </a:lnTo>
                  <a:lnTo>
                    <a:pt x="117" y="206"/>
                  </a:lnTo>
                  <a:lnTo>
                    <a:pt x="117" y="206"/>
                  </a:lnTo>
                  <a:lnTo>
                    <a:pt x="121" y="212"/>
                  </a:lnTo>
                  <a:lnTo>
                    <a:pt x="121" y="213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19" y="217"/>
                  </a:lnTo>
                  <a:lnTo>
                    <a:pt x="117" y="213"/>
                  </a:lnTo>
                  <a:lnTo>
                    <a:pt x="117" y="213"/>
                  </a:lnTo>
                  <a:lnTo>
                    <a:pt x="117" y="212"/>
                  </a:lnTo>
                  <a:lnTo>
                    <a:pt x="116" y="212"/>
                  </a:lnTo>
                  <a:lnTo>
                    <a:pt x="114" y="217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08" y="222"/>
                  </a:lnTo>
                  <a:lnTo>
                    <a:pt x="108" y="224"/>
                  </a:lnTo>
                  <a:lnTo>
                    <a:pt x="108" y="226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110" y="229"/>
                  </a:lnTo>
                  <a:lnTo>
                    <a:pt x="110" y="231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3" y="242"/>
                  </a:lnTo>
                  <a:lnTo>
                    <a:pt x="101" y="245"/>
                  </a:lnTo>
                  <a:lnTo>
                    <a:pt x="96" y="249"/>
                  </a:lnTo>
                  <a:lnTo>
                    <a:pt x="96" y="249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89" y="251"/>
                  </a:lnTo>
                  <a:lnTo>
                    <a:pt x="87" y="252"/>
                  </a:lnTo>
                  <a:lnTo>
                    <a:pt x="87" y="252"/>
                  </a:lnTo>
                  <a:lnTo>
                    <a:pt x="80" y="252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69" y="254"/>
                  </a:lnTo>
                  <a:lnTo>
                    <a:pt x="69" y="258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72"/>
                  </a:lnTo>
                  <a:lnTo>
                    <a:pt x="69" y="283"/>
                  </a:lnTo>
                  <a:lnTo>
                    <a:pt x="57" y="284"/>
                  </a:lnTo>
                  <a:lnTo>
                    <a:pt x="53" y="284"/>
                  </a:lnTo>
                  <a:lnTo>
                    <a:pt x="50" y="288"/>
                  </a:lnTo>
                  <a:lnTo>
                    <a:pt x="37" y="290"/>
                  </a:lnTo>
                  <a:lnTo>
                    <a:pt x="37" y="290"/>
                  </a:lnTo>
                  <a:lnTo>
                    <a:pt x="30" y="293"/>
                  </a:lnTo>
                  <a:lnTo>
                    <a:pt x="30" y="293"/>
                  </a:lnTo>
                  <a:lnTo>
                    <a:pt x="21" y="293"/>
                  </a:lnTo>
                  <a:lnTo>
                    <a:pt x="20" y="300"/>
                  </a:lnTo>
                  <a:lnTo>
                    <a:pt x="20" y="300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4" y="304"/>
                  </a:lnTo>
                  <a:lnTo>
                    <a:pt x="12" y="308"/>
                  </a:lnTo>
                  <a:lnTo>
                    <a:pt x="12" y="313"/>
                  </a:lnTo>
                  <a:lnTo>
                    <a:pt x="14" y="318"/>
                  </a:lnTo>
                  <a:lnTo>
                    <a:pt x="14" y="325"/>
                  </a:lnTo>
                  <a:lnTo>
                    <a:pt x="12" y="327"/>
                  </a:lnTo>
                  <a:lnTo>
                    <a:pt x="14" y="338"/>
                  </a:lnTo>
                  <a:lnTo>
                    <a:pt x="14" y="343"/>
                  </a:lnTo>
                  <a:lnTo>
                    <a:pt x="11" y="348"/>
                  </a:lnTo>
                  <a:lnTo>
                    <a:pt x="14" y="356"/>
                  </a:lnTo>
                  <a:lnTo>
                    <a:pt x="14" y="363"/>
                  </a:lnTo>
                  <a:lnTo>
                    <a:pt x="16" y="368"/>
                  </a:lnTo>
                  <a:lnTo>
                    <a:pt x="16" y="368"/>
                  </a:lnTo>
                  <a:lnTo>
                    <a:pt x="5" y="368"/>
                  </a:lnTo>
                  <a:lnTo>
                    <a:pt x="5" y="368"/>
                  </a:lnTo>
                  <a:lnTo>
                    <a:pt x="2" y="368"/>
                  </a:lnTo>
                  <a:lnTo>
                    <a:pt x="0" y="370"/>
                  </a:lnTo>
                  <a:lnTo>
                    <a:pt x="16" y="380"/>
                  </a:lnTo>
                  <a:lnTo>
                    <a:pt x="27" y="388"/>
                  </a:lnTo>
                  <a:lnTo>
                    <a:pt x="27" y="388"/>
                  </a:lnTo>
                  <a:lnTo>
                    <a:pt x="25" y="391"/>
                  </a:lnTo>
                  <a:lnTo>
                    <a:pt x="20" y="395"/>
                  </a:lnTo>
                  <a:lnTo>
                    <a:pt x="20" y="396"/>
                  </a:lnTo>
                  <a:lnTo>
                    <a:pt x="20" y="396"/>
                  </a:lnTo>
                  <a:lnTo>
                    <a:pt x="21" y="405"/>
                  </a:lnTo>
                  <a:lnTo>
                    <a:pt x="25" y="411"/>
                  </a:lnTo>
                  <a:lnTo>
                    <a:pt x="25" y="411"/>
                  </a:lnTo>
                  <a:lnTo>
                    <a:pt x="25" y="412"/>
                  </a:lnTo>
                  <a:lnTo>
                    <a:pt x="21" y="412"/>
                  </a:lnTo>
                  <a:lnTo>
                    <a:pt x="18" y="412"/>
                  </a:lnTo>
                  <a:lnTo>
                    <a:pt x="14" y="412"/>
                  </a:lnTo>
                  <a:lnTo>
                    <a:pt x="14" y="416"/>
                  </a:lnTo>
                  <a:lnTo>
                    <a:pt x="14" y="416"/>
                  </a:lnTo>
                  <a:lnTo>
                    <a:pt x="25" y="423"/>
                  </a:lnTo>
                  <a:lnTo>
                    <a:pt x="25" y="423"/>
                  </a:lnTo>
                  <a:lnTo>
                    <a:pt x="32" y="428"/>
                  </a:lnTo>
                  <a:lnTo>
                    <a:pt x="39" y="432"/>
                  </a:lnTo>
                  <a:lnTo>
                    <a:pt x="39" y="432"/>
                  </a:lnTo>
                  <a:lnTo>
                    <a:pt x="41" y="436"/>
                  </a:lnTo>
                  <a:lnTo>
                    <a:pt x="43" y="441"/>
                  </a:lnTo>
                  <a:lnTo>
                    <a:pt x="46" y="448"/>
                  </a:lnTo>
                  <a:lnTo>
                    <a:pt x="39" y="450"/>
                  </a:lnTo>
                  <a:lnTo>
                    <a:pt x="39" y="450"/>
                  </a:lnTo>
                  <a:lnTo>
                    <a:pt x="37" y="450"/>
                  </a:lnTo>
                  <a:lnTo>
                    <a:pt x="34" y="453"/>
                  </a:lnTo>
                  <a:lnTo>
                    <a:pt x="34" y="453"/>
                  </a:lnTo>
                  <a:lnTo>
                    <a:pt x="34" y="453"/>
                  </a:lnTo>
                  <a:lnTo>
                    <a:pt x="34" y="457"/>
                  </a:lnTo>
                  <a:lnTo>
                    <a:pt x="34" y="462"/>
                  </a:lnTo>
                  <a:lnTo>
                    <a:pt x="36" y="468"/>
                  </a:lnTo>
                  <a:lnTo>
                    <a:pt x="34" y="469"/>
                  </a:lnTo>
                  <a:lnTo>
                    <a:pt x="34" y="469"/>
                  </a:lnTo>
                  <a:lnTo>
                    <a:pt x="34" y="473"/>
                  </a:lnTo>
                  <a:lnTo>
                    <a:pt x="34" y="476"/>
                  </a:lnTo>
                  <a:lnTo>
                    <a:pt x="36" y="484"/>
                  </a:lnTo>
                  <a:lnTo>
                    <a:pt x="39" y="489"/>
                  </a:lnTo>
                  <a:lnTo>
                    <a:pt x="43" y="494"/>
                  </a:lnTo>
                  <a:lnTo>
                    <a:pt x="43" y="494"/>
                  </a:lnTo>
                  <a:lnTo>
                    <a:pt x="50" y="492"/>
                  </a:lnTo>
                  <a:lnTo>
                    <a:pt x="55" y="491"/>
                  </a:lnTo>
                  <a:lnTo>
                    <a:pt x="55" y="491"/>
                  </a:lnTo>
                  <a:lnTo>
                    <a:pt x="60" y="487"/>
                  </a:lnTo>
                  <a:lnTo>
                    <a:pt x="68" y="484"/>
                  </a:lnTo>
                  <a:lnTo>
                    <a:pt x="73" y="482"/>
                  </a:lnTo>
                  <a:lnTo>
                    <a:pt x="76" y="478"/>
                  </a:lnTo>
                  <a:lnTo>
                    <a:pt x="76" y="478"/>
                  </a:lnTo>
                  <a:lnTo>
                    <a:pt x="78" y="476"/>
                  </a:lnTo>
                  <a:lnTo>
                    <a:pt x="82" y="473"/>
                  </a:lnTo>
                  <a:lnTo>
                    <a:pt x="87" y="471"/>
                  </a:lnTo>
                  <a:lnTo>
                    <a:pt x="89" y="471"/>
                  </a:lnTo>
                  <a:lnTo>
                    <a:pt x="89" y="473"/>
                  </a:lnTo>
                  <a:lnTo>
                    <a:pt x="89" y="473"/>
                  </a:lnTo>
                  <a:lnTo>
                    <a:pt x="92" y="475"/>
                  </a:lnTo>
                  <a:lnTo>
                    <a:pt x="92" y="476"/>
                  </a:lnTo>
                  <a:lnTo>
                    <a:pt x="94" y="478"/>
                  </a:lnTo>
                  <a:lnTo>
                    <a:pt x="96" y="478"/>
                  </a:lnTo>
                  <a:lnTo>
                    <a:pt x="96" y="478"/>
                  </a:lnTo>
                  <a:lnTo>
                    <a:pt x="100" y="478"/>
                  </a:lnTo>
                  <a:lnTo>
                    <a:pt x="103" y="482"/>
                  </a:lnTo>
                  <a:lnTo>
                    <a:pt x="107" y="482"/>
                  </a:lnTo>
                  <a:lnTo>
                    <a:pt x="100" y="487"/>
                  </a:lnTo>
                  <a:lnTo>
                    <a:pt x="100" y="492"/>
                  </a:lnTo>
                  <a:lnTo>
                    <a:pt x="96" y="492"/>
                  </a:lnTo>
                  <a:lnTo>
                    <a:pt x="96" y="501"/>
                  </a:lnTo>
                  <a:lnTo>
                    <a:pt x="91" y="507"/>
                  </a:lnTo>
                  <a:lnTo>
                    <a:pt x="91" y="516"/>
                  </a:lnTo>
                  <a:lnTo>
                    <a:pt x="91" y="516"/>
                  </a:lnTo>
                  <a:lnTo>
                    <a:pt x="82" y="528"/>
                  </a:lnTo>
                  <a:lnTo>
                    <a:pt x="76" y="535"/>
                  </a:lnTo>
                  <a:lnTo>
                    <a:pt x="75" y="539"/>
                  </a:lnTo>
                  <a:lnTo>
                    <a:pt x="75" y="539"/>
                  </a:lnTo>
                  <a:lnTo>
                    <a:pt x="80" y="553"/>
                  </a:lnTo>
                  <a:lnTo>
                    <a:pt x="80" y="553"/>
                  </a:lnTo>
                  <a:lnTo>
                    <a:pt x="75" y="556"/>
                  </a:lnTo>
                  <a:lnTo>
                    <a:pt x="71" y="560"/>
                  </a:lnTo>
                  <a:lnTo>
                    <a:pt x="69" y="565"/>
                  </a:lnTo>
                  <a:lnTo>
                    <a:pt x="69" y="565"/>
                  </a:lnTo>
                  <a:lnTo>
                    <a:pt x="69" y="576"/>
                  </a:lnTo>
                  <a:lnTo>
                    <a:pt x="69" y="583"/>
                  </a:lnTo>
                  <a:lnTo>
                    <a:pt x="69" y="585"/>
                  </a:lnTo>
                  <a:lnTo>
                    <a:pt x="71" y="585"/>
                  </a:lnTo>
                  <a:lnTo>
                    <a:pt x="71" y="585"/>
                  </a:lnTo>
                  <a:lnTo>
                    <a:pt x="78" y="583"/>
                  </a:lnTo>
                  <a:lnTo>
                    <a:pt x="82" y="583"/>
                  </a:lnTo>
                  <a:lnTo>
                    <a:pt x="84" y="583"/>
                  </a:lnTo>
                  <a:lnTo>
                    <a:pt x="84" y="583"/>
                  </a:lnTo>
                  <a:lnTo>
                    <a:pt x="87" y="583"/>
                  </a:lnTo>
                  <a:lnTo>
                    <a:pt x="89" y="580"/>
                  </a:lnTo>
                  <a:lnTo>
                    <a:pt x="94" y="578"/>
                  </a:lnTo>
                  <a:lnTo>
                    <a:pt x="94" y="578"/>
                  </a:lnTo>
                  <a:lnTo>
                    <a:pt x="96" y="578"/>
                  </a:lnTo>
                  <a:lnTo>
                    <a:pt x="101" y="578"/>
                  </a:lnTo>
                  <a:lnTo>
                    <a:pt x="107" y="580"/>
                  </a:lnTo>
                  <a:lnTo>
                    <a:pt x="108" y="585"/>
                  </a:lnTo>
                  <a:lnTo>
                    <a:pt x="108" y="585"/>
                  </a:lnTo>
                  <a:lnTo>
                    <a:pt x="112" y="594"/>
                  </a:lnTo>
                  <a:lnTo>
                    <a:pt x="112" y="599"/>
                  </a:lnTo>
                  <a:lnTo>
                    <a:pt x="114" y="599"/>
                  </a:lnTo>
                  <a:lnTo>
                    <a:pt x="114" y="599"/>
                  </a:lnTo>
                  <a:lnTo>
                    <a:pt x="114" y="599"/>
                  </a:lnTo>
                  <a:lnTo>
                    <a:pt x="117" y="599"/>
                  </a:lnTo>
                  <a:lnTo>
                    <a:pt x="121" y="596"/>
                  </a:lnTo>
                  <a:lnTo>
                    <a:pt x="126" y="596"/>
                  </a:lnTo>
                  <a:lnTo>
                    <a:pt x="126" y="596"/>
                  </a:lnTo>
                  <a:lnTo>
                    <a:pt x="126" y="596"/>
                  </a:lnTo>
                  <a:lnTo>
                    <a:pt x="126" y="596"/>
                  </a:lnTo>
                  <a:lnTo>
                    <a:pt x="130" y="596"/>
                  </a:lnTo>
                  <a:lnTo>
                    <a:pt x="133" y="596"/>
                  </a:lnTo>
                  <a:lnTo>
                    <a:pt x="133" y="596"/>
                  </a:lnTo>
                  <a:lnTo>
                    <a:pt x="137" y="592"/>
                  </a:lnTo>
                  <a:lnTo>
                    <a:pt x="137" y="592"/>
                  </a:lnTo>
                  <a:lnTo>
                    <a:pt x="149" y="588"/>
                  </a:lnTo>
                  <a:lnTo>
                    <a:pt x="160" y="580"/>
                  </a:lnTo>
                  <a:lnTo>
                    <a:pt x="160" y="580"/>
                  </a:lnTo>
                  <a:lnTo>
                    <a:pt x="169" y="576"/>
                  </a:lnTo>
                  <a:lnTo>
                    <a:pt x="171" y="574"/>
                  </a:lnTo>
                  <a:lnTo>
                    <a:pt x="171" y="572"/>
                  </a:lnTo>
                  <a:lnTo>
                    <a:pt x="169" y="572"/>
                  </a:lnTo>
                  <a:lnTo>
                    <a:pt x="169" y="572"/>
                  </a:lnTo>
                  <a:lnTo>
                    <a:pt x="167" y="572"/>
                  </a:lnTo>
                  <a:lnTo>
                    <a:pt x="167" y="569"/>
                  </a:lnTo>
                  <a:lnTo>
                    <a:pt x="169" y="569"/>
                  </a:lnTo>
                  <a:lnTo>
                    <a:pt x="169" y="569"/>
                  </a:lnTo>
                  <a:lnTo>
                    <a:pt x="180" y="556"/>
                  </a:lnTo>
                  <a:lnTo>
                    <a:pt x="185" y="555"/>
                  </a:lnTo>
                  <a:lnTo>
                    <a:pt x="194" y="553"/>
                  </a:lnTo>
                  <a:lnTo>
                    <a:pt x="194" y="553"/>
                  </a:lnTo>
                  <a:lnTo>
                    <a:pt x="197" y="549"/>
                  </a:lnTo>
                  <a:lnTo>
                    <a:pt x="201" y="544"/>
                  </a:lnTo>
                  <a:lnTo>
                    <a:pt x="201" y="544"/>
                  </a:lnTo>
                  <a:lnTo>
                    <a:pt x="201" y="542"/>
                  </a:lnTo>
                  <a:lnTo>
                    <a:pt x="201" y="539"/>
                  </a:lnTo>
                  <a:lnTo>
                    <a:pt x="219" y="542"/>
                  </a:lnTo>
                  <a:lnTo>
                    <a:pt x="219" y="542"/>
                  </a:lnTo>
                  <a:lnTo>
                    <a:pt x="220" y="549"/>
                  </a:lnTo>
                  <a:lnTo>
                    <a:pt x="222" y="553"/>
                  </a:lnTo>
                  <a:lnTo>
                    <a:pt x="222" y="556"/>
                  </a:lnTo>
                  <a:lnTo>
                    <a:pt x="222" y="556"/>
                  </a:lnTo>
                  <a:lnTo>
                    <a:pt x="224" y="560"/>
                  </a:lnTo>
                  <a:lnTo>
                    <a:pt x="224" y="569"/>
                  </a:lnTo>
                  <a:lnTo>
                    <a:pt x="229" y="572"/>
                  </a:lnTo>
                  <a:lnTo>
                    <a:pt x="231" y="576"/>
                  </a:lnTo>
                  <a:lnTo>
                    <a:pt x="231" y="576"/>
                  </a:lnTo>
                  <a:lnTo>
                    <a:pt x="233" y="580"/>
                  </a:lnTo>
                  <a:lnTo>
                    <a:pt x="233" y="585"/>
                  </a:lnTo>
                  <a:lnTo>
                    <a:pt x="233" y="588"/>
                  </a:lnTo>
                  <a:lnTo>
                    <a:pt x="233" y="592"/>
                  </a:lnTo>
                  <a:lnTo>
                    <a:pt x="233" y="592"/>
                  </a:lnTo>
                  <a:lnTo>
                    <a:pt x="229" y="594"/>
                  </a:lnTo>
                  <a:lnTo>
                    <a:pt x="222" y="596"/>
                  </a:lnTo>
                  <a:lnTo>
                    <a:pt x="217" y="596"/>
                  </a:lnTo>
                  <a:lnTo>
                    <a:pt x="210" y="597"/>
                  </a:lnTo>
                  <a:lnTo>
                    <a:pt x="210" y="597"/>
                  </a:lnTo>
                  <a:lnTo>
                    <a:pt x="197" y="596"/>
                  </a:lnTo>
                  <a:lnTo>
                    <a:pt x="194" y="596"/>
                  </a:lnTo>
                  <a:lnTo>
                    <a:pt x="192" y="597"/>
                  </a:lnTo>
                  <a:lnTo>
                    <a:pt x="194" y="597"/>
                  </a:lnTo>
                  <a:lnTo>
                    <a:pt x="194" y="597"/>
                  </a:lnTo>
                  <a:lnTo>
                    <a:pt x="194" y="603"/>
                  </a:lnTo>
                  <a:lnTo>
                    <a:pt x="194" y="604"/>
                  </a:lnTo>
                  <a:lnTo>
                    <a:pt x="194" y="608"/>
                  </a:lnTo>
                  <a:lnTo>
                    <a:pt x="194" y="610"/>
                  </a:lnTo>
                  <a:lnTo>
                    <a:pt x="196" y="610"/>
                  </a:lnTo>
                  <a:lnTo>
                    <a:pt x="196" y="610"/>
                  </a:lnTo>
                  <a:lnTo>
                    <a:pt x="199" y="611"/>
                  </a:lnTo>
                  <a:lnTo>
                    <a:pt x="201" y="615"/>
                  </a:lnTo>
                  <a:lnTo>
                    <a:pt x="204" y="619"/>
                  </a:lnTo>
                  <a:lnTo>
                    <a:pt x="204" y="619"/>
                  </a:lnTo>
                  <a:lnTo>
                    <a:pt x="204" y="619"/>
                  </a:lnTo>
                  <a:lnTo>
                    <a:pt x="204" y="619"/>
                  </a:lnTo>
                  <a:lnTo>
                    <a:pt x="196" y="626"/>
                  </a:lnTo>
                  <a:lnTo>
                    <a:pt x="188" y="629"/>
                  </a:lnTo>
                  <a:lnTo>
                    <a:pt x="188" y="629"/>
                  </a:lnTo>
                  <a:lnTo>
                    <a:pt x="185" y="636"/>
                  </a:lnTo>
                  <a:lnTo>
                    <a:pt x="183" y="640"/>
                  </a:lnTo>
                  <a:lnTo>
                    <a:pt x="183" y="643"/>
                  </a:lnTo>
                  <a:lnTo>
                    <a:pt x="183" y="643"/>
                  </a:lnTo>
                  <a:lnTo>
                    <a:pt x="185" y="651"/>
                  </a:lnTo>
                  <a:lnTo>
                    <a:pt x="183" y="652"/>
                  </a:lnTo>
                  <a:lnTo>
                    <a:pt x="181" y="654"/>
                  </a:lnTo>
                  <a:lnTo>
                    <a:pt x="181" y="654"/>
                  </a:lnTo>
                  <a:lnTo>
                    <a:pt x="178" y="659"/>
                  </a:lnTo>
                  <a:lnTo>
                    <a:pt x="178" y="659"/>
                  </a:lnTo>
                  <a:lnTo>
                    <a:pt x="172" y="667"/>
                  </a:lnTo>
                  <a:lnTo>
                    <a:pt x="169" y="668"/>
                  </a:lnTo>
                  <a:lnTo>
                    <a:pt x="164" y="672"/>
                  </a:lnTo>
                  <a:lnTo>
                    <a:pt x="164" y="672"/>
                  </a:lnTo>
                  <a:lnTo>
                    <a:pt x="156" y="674"/>
                  </a:lnTo>
                  <a:lnTo>
                    <a:pt x="156" y="675"/>
                  </a:lnTo>
                  <a:lnTo>
                    <a:pt x="156" y="675"/>
                  </a:lnTo>
                  <a:lnTo>
                    <a:pt x="156" y="675"/>
                  </a:lnTo>
                  <a:lnTo>
                    <a:pt x="164" y="684"/>
                  </a:lnTo>
                  <a:lnTo>
                    <a:pt x="169" y="688"/>
                  </a:lnTo>
                  <a:lnTo>
                    <a:pt x="169" y="688"/>
                  </a:lnTo>
                  <a:lnTo>
                    <a:pt x="169" y="690"/>
                  </a:lnTo>
                  <a:lnTo>
                    <a:pt x="169" y="690"/>
                  </a:lnTo>
                  <a:lnTo>
                    <a:pt x="164" y="690"/>
                  </a:lnTo>
                  <a:lnTo>
                    <a:pt x="162" y="691"/>
                  </a:lnTo>
                  <a:lnTo>
                    <a:pt x="160" y="691"/>
                  </a:lnTo>
                  <a:lnTo>
                    <a:pt x="160" y="691"/>
                  </a:lnTo>
                  <a:lnTo>
                    <a:pt x="160" y="695"/>
                  </a:lnTo>
                  <a:lnTo>
                    <a:pt x="156" y="695"/>
                  </a:lnTo>
                  <a:lnTo>
                    <a:pt x="155" y="697"/>
                  </a:lnTo>
                  <a:lnTo>
                    <a:pt x="155" y="697"/>
                  </a:lnTo>
                  <a:lnTo>
                    <a:pt x="155" y="699"/>
                  </a:lnTo>
                  <a:lnTo>
                    <a:pt x="155" y="699"/>
                  </a:lnTo>
                  <a:lnTo>
                    <a:pt x="156" y="707"/>
                  </a:lnTo>
                  <a:lnTo>
                    <a:pt x="156" y="711"/>
                  </a:lnTo>
                  <a:lnTo>
                    <a:pt x="155" y="713"/>
                  </a:lnTo>
                  <a:lnTo>
                    <a:pt x="155" y="713"/>
                  </a:lnTo>
                  <a:lnTo>
                    <a:pt x="155" y="715"/>
                  </a:lnTo>
                  <a:lnTo>
                    <a:pt x="155" y="716"/>
                  </a:lnTo>
                  <a:lnTo>
                    <a:pt x="155" y="716"/>
                  </a:lnTo>
                  <a:lnTo>
                    <a:pt x="155" y="718"/>
                  </a:lnTo>
                  <a:lnTo>
                    <a:pt x="155" y="718"/>
                  </a:lnTo>
                  <a:lnTo>
                    <a:pt x="156" y="720"/>
                  </a:lnTo>
                  <a:lnTo>
                    <a:pt x="156" y="720"/>
                  </a:lnTo>
                  <a:lnTo>
                    <a:pt x="156" y="725"/>
                  </a:lnTo>
                  <a:lnTo>
                    <a:pt x="156" y="725"/>
                  </a:lnTo>
                  <a:lnTo>
                    <a:pt x="156" y="732"/>
                  </a:lnTo>
                  <a:lnTo>
                    <a:pt x="156" y="734"/>
                  </a:lnTo>
                  <a:lnTo>
                    <a:pt x="158" y="734"/>
                  </a:lnTo>
                  <a:lnTo>
                    <a:pt x="160" y="734"/>
                  </a:lnTo>
                  <a:lnTo>
                    <a:pt x="160" y="734"/>
                  </a:lnTo>
                  <a:lnTo>
                    <a:pt x="171" y="731"/>
                  </a:lnTo>
                  <a:lnTo>
                    <a:pt x="172" y="729"/>
                  </a:lnTo>
                  <a:lnTo>
                    <a:pt x="174" y="731"/>
                  </a:lnTo>
                  <a:lnTo>
                    <a:pt x="174" y="732"/>
                  </a:lnTo>
                  <a:lnTo>
                    <a:pt x="174" y="732"/>
                  </a:lnTo>
                  <a:lnTo>
                    <a:pt x="176" y="734"/>
                  </a:lnTo>
                  <a:lnTo>
                    <a:pt x="178" y="736"/>
                  </a:lnTo>
                  <a:lnTo>
                    <a:pt x="180" y="736"/>
                  </a:lnTo>
                  <a:lnTo>
                    <a:pt x="183" y="736"/>
                  </a:lnTo>
                  <a:lnTo>
                    <a:pt x="183" y="736"/>
                  </a:lnTo>
                  <a:lnTo>
                    <a:pt x="188" y="736"/>
                  </a:lnTo>
                  <a:lnTo>
                    <a:pt x="194" y="738"/>
                  </a:lnTo>
                  <a:lnTo>
                    <a:pt x="199" y="741"/>
                  </a:lnTo>
                  <a:lnTo>
                    <a:pt x="199" y="741"/>
                  </a:lnTo>
                  <a:lnTo>
                    <a:pt x="201" y="747"/>
                  </a:lnTo>
                  <a:lnTo>
                    <a:pt x="204" y="754"/>
                  </a:lnTo>
                  <a:lnTo>
                    <a:pt x="212" y="761"/>
                  </a:lnTo>
                  <a:lnTo>
                    <a:pt x="210" y="768"/>
                  </a:lnTo>
                  <a:lnTo>
                    <a:pt x="210" y="768"/>
                  </a:lnTo>
                  <a:lnTo>
                    <a:pt x="213" y="770"/>
                  </a:lnTo>
                  <a:lnTo>
                    <a:pt x="217" y="773"/>
                  </a:lnTo>
                  <a:lnTo>
                    <a:pt x="220" y="777"/>
                  </a:lnTo>
                  <a:lnTo>
                    <a:pt x="220" y="777"/>
                  </a:lnTo>
                  <a:lnTo>
                    <a:pt x="220" y="782"/>
                  </a:lnTo>
                  <a:lnTo>
                    <a:pt x="220" y="787"/>
                  </a:lnTo>
                  <a:lnTo>
                    <a:pt x="220" y="787"/>
                  </a:lnTo>
                  <a:lnTo>
                    <a:pt x="222" y="782"/>
                  </a:lnTo>
                  <a:lnTo>
                    <a:pt x="226" y="780"/>
                  </a:lnTo>
                  <a:lnTo>
                    <a:pt x="233" y="777"/>
                  </a:lnTo>
                  <a:lnTo>
                    <a:pt x="233" y="777"/>
                  </a:lnTo>
                  <a:lnTo>
                    <a:pt x="238" y="777"/>
                  </a:lnTo>
                  <a:lnTo>
                    <a:pt x="238" y="775"/>
                  </a:lnTo>
                  <a:lnTo>
                    <a:pt x="238" y="775"/>
                  </a:lnTo>
                  <a:lnTo>
                    <a:pt x="236" y="770"/>
                  </a:lnTo>
                  <a:lnTo>
                    <a:pt x="236" y="768"/>
                  </a:lnTo>
                  <a:lnTo>
                    <a:pt x="236" y="766"/>
                  </a:lnTo>
                  <a:lnTo>
                    <a:pt x="238" y="763"/>
                  </a:lnTo>
                  <a:lnTo>
                    <a:pt x="238" y="763"/>
                  </a:lnTo>
                  <a:lnTo>
                    <a:pt x="242" y="763"/>
                  </a:lnTo>
                  <a:lnTo>
                    <a:pt x="245" y="768"/>
                  </a:lnTo>
                  <a:lnTo>
                    <a:pt x="252" y="768"/>
                  </a:lnTo>
                  <a:lnTo>
                    <a:pt x="252" y="768"/>
                  </a:lnTo>
                  <a:lnTo>
                    <a:pt x="256" y="766"/>
                  </a:lnTo>
                  <a:lnTo>
                    <a:pt x="258" y="763"/>
                  </a:lnTo>
                  <a:lnTo>
                    <a:pt x="261" y="759"/>
                  </a:lnTo>
                  <a:lnTo>
                    <a:pt x="261" y="759"/>
                  </a:lnTo>
                  <a:lnTo>
                    <a:pt x="261" y="759"/>
                  </a:lnTo>
                  <a:lnTo>
                    <a:pt x="261" y="759"/>
                  </a:lnTo>
                  <a:lnTo>
                    <a:pt x="270" y="761"/>
                  </a:lnTo>
                  <a:lnTo>
                    <a:pt x="270" y="761"/>
                  </a:lnTo>
                  <a:lnTo>
                    <a:pt x="274" y="763"/>
                  </a:lnTo>
                  <a:lnTo>
                    <a:pt x="281" y="768"/>
                  </a:lnTo>
                  <a:lnTo>
                    <a:pt x="290" y="770"/>
                  </a:lnTo>
                  <a:lnTo>
                    <a:pt x="293" y="771"/>
                  </a:lnTo>
                  <a:lnTo>
                    <a:pt x="293" y="771"/>
                  </a:lnTo>
                  <a:lnTo>
                    <a:pt x="297" y="773"/>
                  </a:lnTo>
                  <a:lnTo>
                    <a:pt x="302" y="773"/>
                  </a:lnTo>
                  <a:lnTo>
                    <a:pt x="308" y="773"/>
                  </a:lnTo>
                  <a:lnTo>
                    <a:pt x="308" y="773"/>
                  </a:lnTo>
                  <a:lnTo>
                    <a:pt x="315" y="773"/>
                  </a:lnTo>
                  <a:lnTo>
                    <a:pt x="316" y="771"/>
                  </a:lnTo>
                  <a:lnTo>
                    <a:pt x="318" y="770"/>
                  </a:lnTo>
                  <a:lnTo>
                    <a:pt x="320" y="768"/>
                  </a:lnTo>
                  <a:lnTo>
                    <a:pt x="320" y="768"/>
                  </a:lnTo>
                  <a:lnTo>
                    <a:pt x="322" y="763"/>
                  </a:lnTo>
                  <a:lnTo>
                    <a:pt x="325" y="761"/>
                  </a:lnTo>
                  <a:lnTo>
                    <a:pt x="327" y="761"/>
                  </a:lnTo>
                  <a:lnTo>
                    <a:pt x="327" y="761"/>
                  </a:lnTo>
                  <a:lnTo>
                    <a:pt x="334" y="759"/>
                  </a:lnTo>
                  <a:lnTo>
                    <a:pt x="338" y="759"/>
                  </a:lnTo>
                  <a:lnTo>
                    <a:pt x="341" y="757"/>
                  </a:lnTo>
                  <a:lnTo>
                    <a:pt x="341" y="757"/>
                  </a:lnTo>
                  <a:lnTo>
                    <a:pt x="341" y="757"/>
                  </a:lnTo>
                  <a:lnTo>
                    <a:pt x="345" y="757"/>
                  </a:lnTo>
                  <a:lnTo>
                    <a:pt x="347" y="759"/>
                  </a:lnTo>
                  <a:lnTo>
                    <a:pt x="348" y="761"/>
                  </a:lnTo>
                  <a:lnTo>
                    <a:pt x="345" y="775"/>
                  </a:lnTo>
                  <a:lnTo>
                    <a:pt x="345" y="775"/>
                  </a:lnTo>
                  <a:lnTo>
                    <a:pt x="347" y="777"/>
                  </a:lnTo>
                  <a:lnTo>
                    <a:pt x="347" y="777"/>
                  </a:lnTo>
                  <a:lnTo>
                    <a:pt x="347" y="779"/>
                  </a:lnTo>
                  <a:lnTo>
                    <a:pt x="347" y="782"/>
                  </a:lnTo>
                  <a:lnTo>
                    <a:pt x="348" y="789"/>
                  </a:lnTo>
                  <a:lnTo>
                    <a:pt x="348" y="793"/>
                  </a:lnTo>
                  <a:lnTo>
                    <a:pt x="348" y="793"/>
                  </a:lnTo>
                  <a:lnTo>
                    <a:pt x="354" y="793"/>
                  </a:lnTo>
                  <a:lnTo>
                    <a:pt x="357" y="795"/>
                  </a:lnTo>
                  <a:lnTo>
                    <a:pt x="361" y="796"/>
                  </a:lnTo>
                  <a:lnTo>
                    <a:pt x="363" y="796"/>
                  </a:lnTo>
                  <a:lnTo>
                    <a:pt x="363" y="800"/>
                  </a:lnTo>
                  <a:lnTo>
                    <a:pt x="363" y="800"/>
                  </a:lnTo>
                  <a:lnTo>
                    <a:pt x="361" y="812"/>
                  </a:lnTo>
                  <a:lnTo>
                    <a:pt x="361" y="818"/>
                  </a:lnTo>
                  <a:lnTo>
                    <a:pt x="357" y="819"/>
                  </a:lnTo>
                  <a:lnTo>
                    <a:pt x="357" y="819"/>
                  </a:lnTo>
                  <a:lnTo>
                    <a:pt x="357" y="823"/>
                  </a:lnTo>
                  <a:lnTo>
                    <a:pt x="357" y="828"/>
                  </a:lnTo>
                  <a:lnTo>
                    <a:pt x="357" y="832"/>
                  </a:lnTo>
                  <a:lnTo>
                    <a:pt x="359" y="835"/>
                  </a:lnTo>
                  <a:lnTo>
                    <a:pt x="359" y="835"/>
                  </a:lnTo>
                  <a:lnTo>
                    <a:pt x="361" y="841"/>
                  </a:lnTo>
                  <a:lnTo>
                    <a:pt x="363" y="848"/>
                  </a:lnTo>
                  <a:lnTo>
                    <a:pt x="363" y="848"/>
                  </a:lnTo>
                  <a:lnTo>
                    <a:pt x="363" y="853"/>
                  </a:lnTo>
                  <a:lnTo>
                    <a:pt x="364" y="860"/>
                  </a:lnTo>
                  <a:lnTo>
                    <a:pt x="364" y="860"/>
                  </a:lnTo>
                  <a:lnTo>
                    <a:pt x="375" y="855"/>
                  </a:lnTo>
                  <a:lnTo>
                    <a:pt x="377" y="851"/>
                  </a:lnTo>
                  <a:lnTo>
                    <a:pt x="379" y="850"/>
                  </a:lnTo>
                  <a:lnTo>
                    <a:pt x="379" y="850"/>
                  </a:lnTo>
                  <a:lnTo>
                    <a:pt x="379" y="841"/>
                  </a:lnTo>
                  <a:lnTo>
                    <a:pt x="377" y="835"/>
                  </a:lnTo>
                  <a:lnTo>
                    <a:pt x="377" y="835"/>
                  </a:lnTo>
                  <a:lnTo>
                    <a:pt x="377" y="834"/>
                  </a:lnTo>
                  <a:lnTo>
                    <a:pt x="377" y="832"/>
                  </a:lnTo>
                  <a:lnTo>
                    <a:pt x="379" y="828"/>
                  </a:lnTo>
                  <a:lnTo>
                    <a:pt x="380" y="823"/>
                  </a:lnTo>
                  <a:lnTo>
                    <a:pt x="380" y="823"/>
                  </a:lnTo>
                  <a:lnTo>
                    <a:pt x="386" y="821"/>
                  </a:lnTo>
                  <a:lnTo>
                    <a:pt x="388" y="818"/>
                  </a:lnTo>
                  <a:lnTo>
                    <a:pt x="393" y="816"/>
                  </a:lnTo>
                  <a:lnTo>
                    <a:pt x="395" y="816"/>
                  </a:lnTo>
                  <a:lnTo>
                    <a:pt x="396" y="816"/>
                  </a:lnTo>
                  <a:lnTo>
                    <a:pt x="396" y="816"/>
                  </a:lnTo>
                  <a:lnTo>
                    <a:pt x="398" y="819"/>
                  </a:lnTo>
                  <a:lnTo>
                    <a:pt x="400" y="819"/>
                  </a:lnTo>
                  <a:lnTo>
                    <a:pt x="402" y="821"/>
                  </a:lnTo>
                  <a:lnTo>
                    <a:pt x="405" y="819"/>
                  </a:lnTo>
                  <a:lnTo>
                    <a:pt x="405" y="819"/>
                  </a:lnTo>
                  <a:lnTo>
                    <a:pt x="409" y="818"/>
                  </a:lnTo>
                  <a:lnTo>
                    <a:pt x="412" y="816"/>
                  </a:lnTo>
                  <a:lnTo>
                    <a:pt x="416" y="818"/>
                  </a:lnTo>
                  <a:lnTo>
                    <a:pt x="421" y="819"/>
                  </a:lnTo>
                  <a:lnTo>
                    <a:pt x="421" y="819"/>
                  </a:lnTo>
                  <a:lnTo>
                    <a:pt x="421" y="818"/>
                  </a:lnTo>
                  <a:lnTo>
                    <a:pt x="423" y="816"/>
                  </a:lnTo>
                  <a:lnTo>
                    <a:pt x="427" y="816"/>
                  </a:lnTo>
                  <a:lnTo>
                    <a:pt x="427" y="816"/>
                  </a:lnTo>
                  <a:lnTo>
                    <a:pt x="434" y="812"/>
                  </a:lnTo>
                  <a:lnTo>
                    <a:pt x="439" y="811"/>
                  </a:lnTo>
                  <a:lnTo>
                    <a:pt x="439" y="811"/>
                  </a:lnTo>
                  <a:lnTo>
                    <a:pt x="441" y="809"/>
                  </a:lnTo>
                  <a:lnTo>
                    <a:pt x="444" y="803"/>
                  </a:lnTo>
                  <a:lnTo>
                    <a:pt x="446" y="796"/>
                  </a:lnTo>
                  <a:lnTo>
                    <a:pt x="446" y="793"/>
                  </a:lnTo>
                  <a:lnTo>
                    <a:pt x="446" y="793"/>
                  </a:lnTo>
                  <a:lnTo>
                    <a:pt x="443" y="782"/>
                  </a:lnTo>
                  <a:lnTo>
                    <a:pt x="441" y="777"/>
                  </a:lnTo>
                  <a:lnTo>
                    <a:pt x="443" y="777"/>
                  </a:lnTo>
                  <a:lnTo>
                    <a:pt x="444" y="775"/>
                  </a:lnTo>
                  <a:lnTo>
                    <a:pt x="444" y="775"/>
                  </a:lnTo>
                  <a:lnTo>
                    <a:pt x="450" y="775"/>
                  </a:lnTo>
                  <a:lnTo>
                    <a:pt x="453" y="775"/>
                  </a:lnTo>
                  <a:lnTo>
                    <a:pt x="457" y="775"/>
                  </a:lnTo>
                  <a:lnTo>
                    <a:pt x="460" y="770"/>
                  </a:lnTo>
                  <a:lnTo>
                    <a:pt x="460" y="770"/>
                  </a:lnTo>
                  <a:lnTo>
                    <a:pt x="462" y="763"/>
                  </a:lnTo>
                  <a:lnTo>
                    <a:pt x="466" y="757"/>
                  </a:lnTo>
                  <a:lnTo>
                    <a:pt x="469" y="752"/>
                  </a:lnTo>
                  <a:lnTo>
                    <a:pt x="469" y="750"/>
                  </a:lnTo>
                  <a:lnTo>
                    <a:pt x="468" y="748"/>
                  </a:lnTo>
                  <a:lnTo>
                    <a:pt x="468" y="748"/>
                  </a:lnTo>
                  <a:lnTo>
                    <a:pt x="464" y="741"/>
                  </a:lnTo>
                  <a:lnTo>
                    <a:pt x="462" y="741"/>
                  </a:lnTo>
                  <a:lnTo>
                    <a:pt x="459" y="741"/>
                  </a:lnTo>
                  <a:lnTo>
                    <a:pt x="459" y="741"/>
                  </a:lnTo>
                  <a:lnTo>
                    <a:pt x="448" y="743"/>
                  </a:lnTo>
                  <a:lnTo>
                    <a:pt x="443" y="748"/>
                  </a:lnTo>
                  <a:lnTo>
                    <a:pt x="443" y="748"/>
                  </a:lnTo>
                  <a:lnTo>
                    <a:pt x="444" y="743"/>
                  </a:lnTo>
                  <a:lnTo>
                    <a:pt x="444" y="739"/>
                  </a:lnTo>
                  <a:lnTo>
                    <a:pt x="444" y="739"/>
                  </a:lnTo>
                  <a:lnTo>
                    <a:pt x="441" y="738"/>
                  </a:lnTo>
                  <a:lnTo>
                    <a:pt x="441" y="738"/>
                  </a:lnTo>
                  <a:lnTo>
                    <a:pt x="437" y="738"/>
                  </a:lnTo>
                  <a:lnTo>
                    <a:pt x="434" y="736"/>
                  </a:lnTo>
                  <a:lnTo>
                    <a:pt x="434" y="736"/>
                  </a:lnTo>
                  <a:lnTo>
                    <a:pt x="432" y="734"/>
                  </a:lnTo>
                  <a:lnTo>
                    <a:pt x="432" y="734"/>
                  </a:lnTo>
                  <a:lnTo>
                    <a:pt x="434" y="732"/>
                  </a:lnTo>
                  <a:lnTo>
                    <a:pt x="434" y="732"/>
                  </a:lnTo>
                  <a:lnTo>
                    <a:pt x="436" y="727"/>
                  </a:lnTo>
                  <a:lnTo>
                    <a:pt x="439" y="722"/>
                  </a:lnTo>
                  <a:lnTo>
                    <a:pt x="443" y="720"/>
                  </a:lnTo>
                  <a:lnTo>
                    <a:pt x="444" y="716"/>
                  </a:lnTo>
                  <a:lnTo>
                    <a:pt x="444" y="716"/>
                  </a:lnTo>
                  <a:lnTo>
                    <a:pt x="446" y="707"/>
                  </a:lnTo>
                  <a:lnTo>
                    <a:pt x="448" y="700"/>
                  </a:lnTo>
                  <a:lnTo>
                    <a:pt x="450" y="700"/>
                  </a:lnTo>
                  <a:lnTo>
                    <a:pt x="450" y="699"/>
                  </a:lnTo>
                  <a:lnTo>
                    <a:pt x="450" y="699"/>
                  </a:lnTo>
                  <a:lnTo>
                    <a:pt x="453" y="700"/>
                  </a:lnTo>
                  <a:lnTo>
                    <a:pt x="455" y="700"/>
                  </a:lnTo>
                  <a:lnTo>
                    <a:pt x="459" y="706"/>
                  </a:lnTo>
                  <a:lnTo>
                    <a:pt x="462" y="709"/>
                  </a:lnTo>
                  <a:lnTo>
                    <a:pt x="464" y="709"/>
                  </a:lnTo>
                  <a:lnTo>
                    <a:pt x="466" y="709"/>
                  </a:lnTo>
                  <a:lnTo>
                    <a:pt x="466" y="709"/>
                  </a:lnTo>
                  <a:lnTo>
                    <a:pt x="469" y="711"/>
                  </a:lnTo>
                  <a:lnTo>
                    <a:pt x="476" y="715"/>
                  </a:lnTo>
                  <a:lnTo>
                    <a:pt x="480" y="716"/>
                  </a:lnTo>
                  <a:lnTo>
                    <a:pt x="482" y="720"/>
                  </a:lnTo>
                  <a:lnTo>
                    <a:pt x="482" y="720"/>
                  </a:lnTo>
                  <a:lnTo>
                    <a:pt x="480" y="729"/>
                  </a:lnTo>
                  <a:lnTo>
                    <a:pt x="480" y="732"/>
                  </a:lnTo>
                  <a:lnTo>
                    <a:pt x="480" y="732"/>
                  </a:lnTo>
                  <a:lnTo>
                    <a:pt x="482" y="734"/>
                  </a:lnTo>
                  <a:lnTo>
                    <a:pt x="482" y="734"/>
                  </a:lnTo>
                  <a:lnTo>
                    <a:pt x="485" y="736"/>
                  </a:lnTo>
                  <a:lnTo>
                    <a:pt x="485" y="736"/>
                  </a:lnTo>
                  <a:lnTo>
                    <a:pt x="503" y="734"/>
                  </a:lnTo>
                  <a:lnTo>
                    <a:pt x="503" y="734"/>
                  </a:lnTo>
                  <a:lnTo>
                    <a:pt x="503" y="732"/>
                  </a:lnTo>
                  <a:lnTo>
                    <a:pt x="503" y="732"/>
                  </a:lnTo>
                  <a:lnTo>
                    <a:pt x="501" y="725"/>
                  </a:lnTo>
                  <a:lnTo>
                    <a:pt x="500" y="716"/>
                  </a:lnTo>
                  <a:lnTo>
                    <a:pt x="500" y="707"/>
                  </a:lnTo>
                  <a:lnTo>
                    <a:pt x="501" y="697"/>
                  </a:lnTo>
                  <a:lnTo>
                    <a:pt x="501" y="697"/>
                  </a:lnTo>
                  <a:lnTo>
                    <a:pt x="501" y="688"/>
                  </a:lnTo>
                  <a:lnTo>
                    <a:pt x="503" y="677"/>
                  </a:lnTo>
                  <a:lnTo>
                    <a:pt x="503" y="665"/>
                  </a:lnTo>
                  <a:lnTo>
                    <a:pt x="496" y="636"/>
                  </a:lnTo>
                  <a:lnTo>
                    <a:pt x="496" y="636"/>
                  </a:lnTo>
                  <a:lnTo>
                    <a:pt x="489" y="626"/>
                  </a:lnTo>
                  <a:lnTo>
                    <a:pt x="482" y="613"/>
                  </a:lnTo>
                  <a:lnTo>
                    <a:pt x="480" y="608"/>
                  </a:lnTo>
                  <a:lnTo>
                    <a:pt x="480" y="608"/>
                  </a:lnTo>
                  <a:lnTo>
                    <a:pt x="464" y="588"/>
                  </a:lnTo>
                  <a:lnTo>
                    <a:pt x="457" y="576"/>
                  </a:lnTo>
                  <a:lnTo>
                    <a:pt x="450" y="569"/>
                  </a:lnTo>
                  <a:lnTo>
                    <a:pt x="450" y="569"/>
                  </a:lnTo>
                  <a:lnTo>
                    <a:pt x="441" y="551"/>
                  </a:lnTo>
                  <a:lnTo>
                    <a:pt x="437" y="542"/>
                  </a:lnTo>
                  <a:lnTo>
                    <a:pt x="436" y="533"/>
                  </a:lnTo>
                  <a:lnTo>
                    <a:pt x="436" y="533"/>
                  </a:lnTo>
                  <a:lnTo>
                    <a:pt x="436" y="519"/>
                  </a:lnTo>
                  <a:lnTo>
                    <a:pt x="436" y="508"/>
                  </a:lnTo>
                  <a:lnTo>
                    <a:pt x="436" y="508"/>
                  </a:lnTo>
                  <a:lnTo>
                    <a:pt x="436" y="503"/>
                  </a:lnTo>
                  <a:lnTo>
                    <a:pt x="436" y="498"/>
                  </a:lnTo>
                  <a:lnTo>
                    <a:pt x="436" y="492"/>
                  </a:lnTo>
                  <a:lnTo>
                    <a:pt x="436" y="489"/>
                  </a:lnTo>
                  <a:lnTo>
                    <a:pt x="434" y="487"/>
                  </a:lnTo>
                  <a:lnTo>
                    <a:pt x="434" y="487"/>
                  </a:lnTo>
                  <a:lnTo>
                    <a:pt x="428" y="484"/>
                  </a:lnTo>
                  <a:lnTo>
                    <a:pt x="425" y="482"/>
                  </a:lnTo>
                  <a:lnTo>
                    <a:pt x="418" y="476"/>
                  </a:lnTo>
                  <a:lnTo>
                    <a:pt x="418" y="476"/>
                  </a:lnTo>
                  <a:lnTo>
                    <a:pt x="414" y="473"/>
                  </a:lnTo>
                  <a:lnTo>
                    <a:pt x="412" y="469"/>
                  </a:lnTo>
                  <a:lnTo>
                    <a:pt x="409" y="468"/>
                  </a:lnTo>
                  <a:lnTo>
                    <a:pt x="407" y="464"/>
                  </a:lnTo>
                  <a:lnTo>
                    <a:pt x="407" y="464"/>
                  </a:lnTo>
                  <a:lnTo>
                    <a:pt x="402" y="460"/>
                  </a:lnTo>
                  <a:lnTo>
                    <a:pt x="398" y="457"/>
                  </a:lnTo>
                  <a:lnTo>
                    <a:pt x="395" y="455"/>
                  </a:lnTo>
                  <a:lnTo>
                    <a:pt x="395" y="455"/>
                  </a:lnTo>
                  <a:lnTo>
                    <a:pt x="398" y="450"/>
                  </a:lnTo>
                  <a:lnTo>
                    <a:pt x="400" y="444"/>
                  </a:lnTo>
                  <a:lnTo>
                    <a:pt x="400" y="443"/>
                  </a:lnTo>
                  <a:lnTo>
                    <a:pt x="398" y="441"/>
                  </a:lnTo>
                  <a:lnTo>
                    <a:pt x="398" y="441"/>
                  </a:lnTo>
                  <a:lnTo>
                    <a:pt x="389" y="436"/>
                  </a:lnTo>
                  <a:lnTo>
                    <a:pt x="386" y="436"/>
                  </a:lnTo>
                  <a:lnTo>
                    <a:pt x="380" y="434"/>
                  </a:lnTo>
                  <a:lnTo>
                    <a:pt x="380" y="434"/>
                  </a:lnTo>
                  <a:lnTo>
                    <a:pt x="361" y="434"/>
                  </a:lnTo>
                  <a:lnTo>
                    <a:pt x="354" y="434"/>
                  </a:lnTo>
                  <a:lnTo>
                    <a:pt x="347" y="432"/>
                  </a:lnTo>
                  <a:lnTo>
                    <a:pt x="347" y="432"/>
                  </a:lnTo>
                  <a:lnTo>
                    <a:pt x="345" y="432"/>
                  </a:lnTo>
                  <a:lnTo>
                    <a:pt x="345" y="428"/>
                  </a:lnTo>
                  <a:lnTo>
                    <a:pt x="341" y="427"/>
                  </a:lnTo>
                  <a:lnTo>
                    <a:pt x="336" y="425"/>
                  </a:lnTo>
                  <a:lnTo>
                    <a:pt x="336" y="425"/>
                  </a:lnTo>
                  <a:lnTo>
                    <a:pt x="331" y="427"/>
                  </a:lnTo>
                  <a:lnTo>
                    <a:pt x="325" y="428"/>
                  </a:lnTo>
                  <a:lnTo>
                    <a:pt x="322" y="430"/>
                  </a:lnTo>
                  <a:lnTo>
                    <a:pt x="315" y="432"/>
                  </a:lnTo>
                  <a:lnTo>
                    <a:pt x="315" y="432"/>
                  </a:lnTo>
                  <a:lnTo>
                    <a:pt x="300" y="436"/>
                  </a:lnTo>
                  <a:lnTo>
                    <a:pt x="297" y="437"/>
                  </a:lnTo>
                  <a:lnTo>
                    <a:pt x="297" y="441"/>
                  </a:lnTo>
                  <a:lnTo>
                    <a:pt x="297" y="441"/>
                  </a:lnTo>
                  <a:lnTo>
                    <a:pt x="297" y="441"/>
                  </a:lnTo>
                  <a:lnTo>
                    <a:pt x="300" y="446"/>
                  </a:lnTo>
                  <a:lnTo>
                    <a:pt x="304" y="460"/>
                  </a:lnTo>
                  <a:lnTo>
                    <a:pt x="306" y="468"/>
                  </a:lnTo>
                  <a:lnTo>
                    <a:pt x="304" y="473"/>
                  </a:lnTo>
                  <a:lnTo>
                    <a:pt x="302" y="478"/>
                  </a:lnTo>
                  <a:lnTo>
                    <a:pt x="300" y="482"/>
                  </a:lnTo>
                  <a:lnTo>
                    <a:pt x="297" y="485"/>
                  </a:lnTo>
                  <a:lnTo>
                    <a:pt x="297" y="485"/>
                  </a:lnTo>
                  <a:lnTo>
                    <a:pt x="290" y="491"/>
                  </a:lnTo>
                  <a:lnTo>
                    <a:pt x="284" y="492"/>
                  </a:lnTo>
                  <a:lnTo>
                    <a:pt x="283" y="492"/>
                  </a:lnTo>
                  <a:lnTo>
                    <a:pt x="281" y="491"/>
                  </a:lnTo>
                  <a:lnTo>
                    <a:pt x="281" y="489"/>
                  </a:lnTo>
                  <a:lnTo>
                    <a:pt x="283" y="478"/>
                  </a:lnTo>
                  <a:lnTo>
                    <a:pt x="283" y="478"/>
                  </a:lnTo>
                  <a:lnTo>
                    <a:pt x="283" y="471"/>
                  </a:lnTo>
                  <a:lnTo>
                    <a:pt x="283" y="469"/>
                  </a:lnTo>
                  <a:lnTo>
                    <a:pt x="281" y="469"/>
                  </a:lnTo>
                  <a:lnTo>
                    <a:pt x="279" y="473"/>
                  </a:lnTo>
                  <a:lnTo>
                    <a:pt x="277" y="473"/>
                  </a:lnTo>
                  <a:lnTo>
                    <a:pt x="274" y="475"/>
                  </a:lnTo>
                  <a:lnTo>
                    <a:pt x="274" y="475"/>
                  </a:lnTo>
                  <a:lnTo>
                    <a:pt x="272" y="475"/>
                  </a:lnTo>
                  <a:lnTo>
                    <a:pt x="272" y="476"/>
                  </a:lnTo>
                  <a:lnTo>
                    <a:pt x="270" y="478"/>
                  </a:lnTo>
                  <a:lnTo>
                    <a:pt x="267" y="485"/>
                  </a:lnTo>
                  <a:lnTo>
                    <a:pt x="265" y="489"/>
                  </a:lnTo>
                  <a:lnTo>
                    <a:pt x="265" y="489"/>
                  </a:lnTo>
                  <a:lnTo>
                    <a:pt x="263" y="492"/>
                  </a:lnTo>
                  <a:lnTo>
                    <a:pt x="261" y="494"/>
                  </a:lnTo>
                  <a:lnTo>
                    <a:pt x="258" y="494"/>
                  </a:lnTo>
                  <a:lnTo>
                    <a:pt x="258" y="492"/>
                  </a:lnTo>
                  <a:lnTo>
                    <a:pt x="254" y="485"/>
                  </a:lnTo>
                  <a:lnTo>
                    <a:pt x="254" y="485"/>
                  </a:lnTo>
                  <a:lnTo>
                    <a:pt x="251" y="475"/>
                  </a:lnTo>
                  <a:lnTo>
                    <a:pt x="245" y="466"/>
                  </a:lnTo>
                  <a:lnTo>
                    <a:pt x="240" y="460"/>
                  </a:lnTo>
                  <a:lnTo>
                    <a:pt x="238" y="455"/>
                  </a:lnTo>
                  <a:lnTo>
                    <a:pt x="236" y="457"/>
                  </a:lnTo>
                  <a:lnTo>
                    <a:pt x="236" y="457"/>
                  </a:lnTo>
                  <a:lnTo>
                    <a:pt x="222" y="469"/>
                  </a:lnTo>
                  <a:lnTo>
                    <a:pt x="215" y="475"/>
                  </a:lnTo>
                  <a:lnTo>
                    <a:pt x="213" y="476"/>
                  </a:lnTo>
                  <a:lnTo>
                    <a:pt x="210" y="476"/>
                  </a:lnTo>
                  <a:lnTo>
                    <a:pt x="210" y="476"/>
                  </a:lnTo>
                  <a:lnTo>
                    <a:pt x="196" y="476"/>
                  </a:lnTo>
                  <a:lnTo>
                    <a:pt x="190" y="476"/>
                  </a:lnTo>
                  <a:lnTo>
                    <a:pt x="185" y="476"/>
                  </a:lnTo>
                  <a:lnTo>
                    <a:pt x="185" y="473"/>
                  </a:lnTo>
                  <a:lnTo>
                    <a:pt x="185" y="473"/>
                  </a:lnTo>
                  <a:lnTo>
                    <a:pt x="188" y="468"/>
                  </a:lnTo>
                  <a:lnTo>
                    <a:pt x="192" y="460"/>
                  </a:lnTo>
                  <a:lnTo>
                    <a:pt x="196" y="450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9" y="432"/>
                  </a:lnTo>
                  <a:lnTo>
                    <a:pt x="201" y="425"/>
                  </a:lnTo>
                  <a:lnTo>
                    <a:pt x="204" y="407"/>
                  </a:lnTo>
                  <a:lnTo>
                    <a:pt x="204" y="407"/>
                  </a:lnTo>
                  <a:lnTo>
                    <a:pt x="213" y="379"/>
                  </a:lnTo>
                  <a:lnTo>
                    <a:pt x="217" y="363"/>
                  </a:lnTo>
                  <a:lnTo>
                    <a:pt x="219" y="359"/>
                  </a:lnTo>
                  <a:lnTo>
                    <a:pt x="219" y="352"/>
                  </a:lnTo>
                  <a:lnTo>
                    <a:pt x="219" y="352"/>
                  </a:lnTo>
                  <a:lnTo>
                    <a:pt x="219" y="345"/>
                  </a:lnTo>
                  <a:lnTo>
                    <a:pt x="219" y="338"/>
                  </a:lnTo>
                  <a:lnTo>
                    <a:pt x="220" y="315"/>
                  </a:lnTo>
                  <a:lnTo>
                    <a:pt x="220" y="315"/>
                  </a:lnTo>
                  <a:lnTo>
                    <a:pt x="222" y="304"/>
                  </a:lnTo>
                  <a:lnTo>
                    <a:pt x="229" y="288"/>
                  </a:lnTo>
                  <a:lnTo>
                    <a:pt x="233" y="270"/>
                  </a:lnTo>
                  <a:lnTo>
                    <a:pt x="235" y="265"/>
                  </a:lnTo>
                  <a:lnTo>
                    <a:pt x="235" y="261"/>
                  </a:lnTo>
                  <a:lnTo>
                    <a:pt x="235" y="261"/>
                  </a:lnTo>
                  <a:lnTo>
                    <a:pt x="233" y="251"/>
                  </a:lnTo>
                  <a:lnTo>
                    <a:pt x="231" y="244"/>
                  </a:lnTo>
                  <a:lnTo>
                    <a:pt x="229" y="236"/>
                  </a:lnTo>
                  <a:lnTo>
                    <a:pt x="229" y="231"/>
                  </a:lnTo>
                  <a:lnTo>
                    <a:pt x="229" y="228"/>
                  </a:lnTo>
                  <a:lnTo>
                    <a:pt x="229" y="228"/>
                  </a:lnTo>
                  <a:lnTo>
                    <a:pt x="233" y="220"/>
                  </a:lnTo>
                  <a:lnTo>
                    <a:pt x="235" y="212"/>
                  </a:lnTo>
                  <a:lnTo>
                    <a:pt x="236" y="204"/>
                  </a:lnTo>
                  <a:lnTo>
                    <a:pt x="236" y="197"/>
                  </a:lnTo>
                  <a:lnTo>
                    <a:pt x="236" y="197"/>
                  </a:lnTo>
                  <a:lnTo>
                    <a:pt x="236" y="188"/>
                  </a:lnTo>
                  <a:lnTo>
                    <a:pt x="238" y="178"/>
                  </a:lnTo>
                  <a:lnTo>
                    <a:pt x="240" y="167"/>
                  </a:lnTo>
                  <a:lnTo>
                    <a:pt x="242" y="164"/>
                  </a:lnTo>
                  <a:lnTo>
                    <a:pt x="244" y="158"/>
                  </a:lnTo>
                  <a:lnTo>
                    <a:pt x="244" y="158"/>
                  </a:lnTo>
                  <a:lnTo>
                    <a:pt x="254" y="146"/>
                  </a:lnTo>
                  <a:lnTo>
                    <a:pt x="270" y="132"/>
                  </a:lnTo>
                  <a:lnTo>
                    <a:pt x="283" y="121"/>
                  </a:lnTo>
                  <a:lnTo>
                    <a:pt x="295" y="110"/>
                  </a:lnTo>
                  <a:lnTo>
                    <a:pt x="295" y="110"/>
                  </a:lnTo>
                  <a:lnTo>
                    <a:pt x="299" y="108"/>
                  </a:lnTo>
                  <a:lnTo>
                    <a:pt x="302" y="108"/>
                  </a:lnTo>
                  <a:lnTo>
                    <a:pt x="304" y="108"/>
                  </a:lnTo>
                  <a:lnTo>
                    <a:pt x="308" y="110"/>
                  </a:lnTo>
                  <a:lnTo>
                    <a:pt x="313" y="114"/>
                  </a:lnTo>
                  <a:lnTo>
                    <a:pt x="315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8" y="108"/>
                  </a:lnTo>
                  <a:lnTo>
                    <a:pt x="318" y="107"/>
                  </a:lnTo>
                  <a:lnTo>
                    <a:pt x="318" y="101"/>
                  </a:lnTo>
                  <a:lnTo>
                    <a:pt x="318" y="96"/>
                  </a:lnTo>
                  <a:lnTo>
                    <a:pt x="320" y="94"/>
                  </a:lnTo>
                  <a:lnTo>
                    <a:pt x="322" y="91"/>
                  </a:lnTo>
                  <a:lnTo>
                    <a:pt x="322" y="91"/>
                  </a:lnTo>
                  <a:lnTo>
                    <a:pt x="331" y="87"/>
                  </a:lnTo>
                  <a:lnTo>
                    <a:pt x="320" y="73"/>
                  </a:lnTo>
                  <a:lnTo>
                    <a:pt x="304" y="60"/>
                  </a:lnTo>
                  <a:lnTo>
                    <a:pt x="304" y="60"/>
                  </a:lnTo>
                  <a:lnTo>
                    <a:pt x="304" y="60"/>
                  </a:lnTo>
                  <a:lnTo>
                    <a:pt x="304" y="6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Freeform 59"/>
            <p:cNvSpPr>
              <a:spLocks/>
            </p:cNvSpPr>
            <p:nvPr/>
          </p:nvSpPr>
          <p:spPr bwMode="auto">
            <a:xfrm>
              <a:off x="2517007" y="2039858"/>
              <a:ext cx="259561" cy="418721"/>
            </a:xfrm>
            <a:custGeom>
              <a:avLst/>
              <a:gdLst>
                <a:gd name="T0" fmla="*/ 444 w 455"/>
                <a:gd name="T1" fmla="*/ 669 h 734"/>
                <a:gd name="T2" fmla="*/ 421 w 455"/>
                <a:gd name="T3" fmla="*/ 637 h 734"/>
                <a:gd name="T4" fmla="*/ 421 w 455"/>
                <a:gd name="T5" fmla="*/ 590 h 734"/>
                <a:gd name="T6" fmla="*/ 435 w 455"/>
                <a:gd name="T7" fmla="*/ 583 h 734"/>
                <a:gd name="T8" fmla="*/ 396 w 455"/>
                <a:gd name="T9" fmla="*/ 560 h 734"/>
                <a:gd name="T10" fmla="*/ 395 w 455"/>
                <a:gd name="T11" fmla="*/ 514 h 734"/>
                <a:gd name="T12" fmla="*/ 411 w 455"/>
                <a:gd name="T13" fmla="*/ 500 h 734"/>
                <a:gd name="T14" fmla="*/ 391 w 455"/>
                <a:gd name="T15" fmla="*/ 480 h 734"/>
                <a:gd name="T16" fmla="*/ 363 w 455"/>
                <a:gd name="T17" fmla="*/ 462 h 734"/>
                <a:gd name="T18" fmla="*/ 350 w 455"/>
                <a:gd name="T19" fmla="*/ 438 h 734"/>
                <a:gd name="T20" fmla="*/ 370 w 455"/>
                <a:gd name="T21" fmla="*/ 423 h 734"/>
                <a:gd name="T22" fmla="*/ 354 w 455"/>
                <a:gd name="T23" fmla="*/ 404 h 734"/>
                <a:gd name="T24" fmla="*/ 334 w 455"/>
                <a:gd name="T25" fmla="*/ 406 h 734"/>
                <a:gd name="T26" fmla="*/ 309 w 455"/>
                <a:gd name="T27" fmla="*/ 386 h 734"/>
                <a:gd name="T28" fmla="*/ 300 w 455"/>
                <a:gd name="T29" fmla="*/ 366 h 734"/>
                <a:gd name="T30" fmla="*/ 281 w 455"/>
                <a:gd name="T31" fmla="*/ 377 h 734"/>
                <a:gd name="T32" fmla="*/ 267 w 455"/>
                <a:gd name="T33" fmla="*/ 384 h 734"/>
                <a:gd name="T34" fmla="*/ 251 w 455"/>
                <a:gd name="T35" fmla="*/ 347 h 734"/>
                <a:gd name="T36" fmla="*/ 215 w 455"/>
                <a:gd name="T37" fmla="*/ 299 h 734"/>
                <a:gd name="T38" fmla="*/ 231 w 455"/>
                <a:gd name="T39" fmla="*/ 269 h 734"/>
                <a:gd name="T40" fmla="*/ 233 w 455"/>
                <a:gd name="T41" fmla="*/ 253 h 734"/>
                <a:gd name="T42" fmla="*/ 236 w 455"/>
                <a:gd name="T43" fmla="*/ 226 h 734"/>
                <a:gd name="T44" fmla="*/ 256 w 455"/>
                <a:gd name="T45" fmla="*/ 238 h 734"/>
                <a:gd name="T46" fmla="*/ 251 w 455"/>
                <a:gd name="T47" fmla="*/ 187 h 734"/>
                <a:gd name="T48" fmla="*/ 275 w 455"/>
                <a:gd name="T49" fmla="*/ 151 h 734"/>
                <a:gd name="T50" fmla="*/ 307 w 455"/>
                <a:gd name="T51" fmla="*/ 146 h 734"/>
                <a:gd name="T52" fmla="*/ 293 w 455"/>
                <a:gd name="T53" fmla="*/ 118 h 734"/>
                <a:gd name="T54" fmla="*/ 270 w 455"/>
                <a:gd name="T55" fmla="*/ 2 h 734"/>
                <a:gd name="T56" fmla="*/ 235 w 455"/>
                <a:gd name="T57" fmla="*/ 2 h 734"/>
                <a:gd name="T58" fmla="*/ 226 w 455"/>
                <a:gd name="T59" fmla="*/ 34 h 734"/>
                <a:gd name="T60" fmla="*/ 204 w 455"/>
                <a:gd name="T61" fmla="*/ 84 h 734"/>
                <a:gd name="T62" fmla="*/ 146 w 455"/>
                <a:gd name="T63" fmla="*/ 98 h 734"/>
                <a:gd name="T64" fmla="*/ 60 w 455"/>
                <a:gd name="T65" fmla="*/ 86 h 734"/>
                <a:gd name="T66" fmla="*/ 0 w 455"/>
                <a:gd name="T67" fmla="*/ 153 h 734"/>
                <a:gd name="T68" fmla="*/ 48 w 455"/>
                <a:gd name="T69" fmla="*/ 194 h 734"/>
                <a:gd name="T70" fmla="*/ 87 w 455"/>
                <a:gd name="T71" fmla="*/ 226 h 734"/>
                <a:gd name="T72" fmla="*/ 101 w 455"/>
                <a:gd name="T73" fmla="*/ 254 h 734"/>
                <a:gd name="T74" fmla="*/ 126 w 455"/>
                <a:gd name="T75" fmla="*/ 260 h 734"/>
                <a:gd name="T76" fmla="*/ 137 w 455"/>
                <a:gd name="T77" fmla="*/ 253 h 734"/>
                <a:gd name="T78" fmla="*/ 123 w 455"/>
                <a:gd name="T79" fmla="*/ 247 h 734"/>
                <a:gd name="T80" fmla="*/ 103 w 455"/>
                <a:gd name="T81" fmla="*/ 215 h 734"/>
                <a:gd name="T82" fmla="*/ 124 w 455"/>
                <a:gd name="T83" fmla="*/ 190 h 734"/>
                <a:gd name="T84" fmla="*/ 121 w 455"/>
                <a:gd name="T85" fmla="*/ 205 h 734"/>
                <a:gd name="T86" fmla="*/ 142 w 455"/>
                <a:gd name="T87" fmla="*/ 233 h 734"/>
                <a:gd name="T88" fmla="*/ 156 w 455"/>
                <a:gd name="T89" fmla="*/ 253 h 734"/>
                <a:gd name="T90" fmla="*/ 172 w 455"/>
                <a:gd name="T91" fmla="*/ 265 h 734"/>
                <a:gd name="T92" fmla="*/ 176 w 455"/>
                <a:gd name="T93" fmla="*/ 331 h 734"/>
                <a:gd name="T94" fmla="*/ 187 w 455"/>
                <a:gd name="T95" fmla="*/ 388 h 734"/>
                <a:gd name="T96" fmla="*/ 203 w 455"/>
                <a:gd name="T97" fmla="*/ 466 h 734"/>
                <a:gd name="T98" fmla="*/ 197 w 455"/>
                <a:gd name="T99" fmla="*/ 493 h 734"/>
                <a:gd name="T100" fmla="*/ 188 w 455"/>
                <a:gd name="T101" fmla="*/ 505 h 734"/>
                <a:gd name="T102" fmla="*/ 208 w 455"/>
                <a:gd name="T103" fmla="*/ 534 h 734"/>
                <a:gd name="T104" fmla="*/ 236 w 455"/>
                <a:gd name="T105" fmla="*/ 596 h 734"/>
                <a:gd name="T106" fmla="*/ 357 w 455"/>
                <a:gd name="T107" fmla="*/ 678 h 734"/>
                <a:gd name="T108" fmla="*/ 439 w 455"/>
                <a:gd name="T109" fmla="*/ 731 h 734"/>
                <a:gd name="T110" fmla="*/ 453 w 455"/>
                <a:gd name="T111" fmla="*/ 706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5" h="734">
                  <a:moveTo>
                    <a:pt x="453" y="706"/>
                  </a:moveTo>
                  <a:lnTo>
                    <a:pt x="453" y="706"/>
                  </a:lnTo>
                  <a:lnTo>
                    <a:pt x="453" y="690"/>
                  </a:lnTo>
                  <a:lnTo>
                    <a:pt x="451" y="683"/>
                  </a:lnTo>
                  <a:lnTo>
                    <a:pt x="450" y="676"/>
                  </a:lnTo>
                  <a:lnTo>
                    <a:pt x="450" y="676"/>
                  </a:lnTo>
                  <a:lnTo>
                    <a:pt x="444" y="669"/>
                  </a:lnTo>
                  <a:lnTo>
                    <a:pt x="441" y="660"/>
                  </a:lnTo>
                  <a:lnTo>
                    <a:pt x="435" y="651"/>
                  </a:lnTo>
                  <a:lnTo>
                    <a:pt x="434" y="647"/>
                  </a:lnTo>
                  <a:lnTo>
                    <a:pt x="430" y="646"/>
                  </a:lnTo>
                  <a:lnTo>
                    <a:pt x="430" y="646"/>
                  </a:lnTo>
                  <a:lnTo>
                    <a:pt x="427" y="642"/>
                  </a:lnTo>
                  <a:lnTo>
                    <a:pt x="421" y="637"/>
                  </a:lnTo>
                  <a:lnTo>
                    <a:pt x="419" y="630"/>
                  </a:lnTo>
                  <a:lnTo>
                    <a:pt x="419" y="630"/>
                  </a:lnTo>
                  <a:lnTo>
                    <a:pt x="418" y="619"/>
                  </a:lnTo>
                  <a:lnTo>
                    <a:pt x="419" y="606"/>
                  </a:lnTo>
                  <a:lnTo>
                    <a:pt x="419" y="606"/>
                  </a:lnTo>
                  <a:lnTo>
                    <a:pt x="419" y="596"/>
                  </a:lnTo>
                  <a:lnTo>
                    <a:pt x="421" y="590"/>
                  </a:lnTo>
                  <a:lnTo>
                    <a:pt x="421" y="590"/>
                  </a:lnTo>
                  <a:lnTo>
                    <a:pt x="427" y="589"/>
                  </a:lnTo>
                  <a:lnTo>
                    <a:pt x="427" y="589"/>
                  </a:lnTo>
                  <a:lnTo>
                    <a:pt x="434" y="587"/>
                  </a:lnTo>
                  <a:lnTo>
                    <a:pt x="435" y="587"/>
                  </a:lnTo>
                  <a:lnTo>
                    <a:pt x="435" y="585"/>
                  </a:lnTo>
                  <a:lnTo>
                    <a:pt x="435" y="583"/>
                  </a:lnTo>
                  <a:lnTo>
                    <a:pt x="435" y="583"/>
                  </a:lnTo>
                  <a:lnTo>
                    <a:pt x="421" y="580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07" y="567"/>
                  </a:lnTo>
                  <a:lnTo>
                    <a:pt x="398" y="562"/>
                  </a:lnTo>
                  <a:lnTo>
                    <a:pt x="396" y="560"/>
                  </a:lnTo>
                  <a:lnTo>
                    <a:pt x="395" y="553"/>
                  </a:lnTo>
                  <a:lnTo>
                    <a:pt x="393" y="548"/>
                  </a:lnTo>
                  <a:lnTo>
                    <a:pt x="393" y="544"/>
                  </a:lnTo>
                  <a:lnTo>
                    <a:pt x="393" y="544"/>
                  </a:lnTo>
                  <a:lnTo>
                    <a:pt x="391" y="525"/>
                  </a:lnTo>
                  <a:lnTo>
                    <a:pt x="393" y="519"/>
                  </a:lnTo>
                  <a:lnTo>
                    <a:pt x="395" y="514"/>
                  </a:lnTo>
                  <a:lnTo>
                    <a:pt x="396" y="512"/>
                  </a:lnTo>
                  <a:lnTo>
                    <a:pt x="396" y="512"/>
                  </a:lnTo>
                  <a:lnTo>
                    <a:pt x="402" y="510"/>
                  </a:lnTo>
                  <a:lnTo>
                    <a:pt x="407" y="509"/>
                  </a:lnTo>
                  <a:lnTo>
                    <a:pt x="411" y="505"/>
                  </a:lnTo>
                  <a:lnTo>
                    <a:pt x="411" y="500"/>
                  </a:lnTo>
                  <a:lnTo>
                    <a:pt x="411" y="500"/>
                  </a:lnTo>
                  <a:lnTo>
                    <a:pt x="409" y="487"/>
                  </a:lnTo>
                  <a:lnTo>
                    <a:pt x="407" y="484"/>
                  </a:lnTo>
                  <a:lnTo>
                    <a:pt x="403" y="482"/>
                  </a:lnTo>
                  <a:lnTo>
                    <a:pt x="402" y="480"/>
                  </a:lnTo>
                  <a:lnTo>
                    <a:pt x="402" y="480"/>
                  </a:lnTo>
                  <a:lnTo>
                    <a:pt x="396" y="480"/>
                  </a:lnTo>
                  <a:lnTo>
                    <a:pt x="391" y="480"/>
                  </a:lnTo>
                  <a:lnTo>
                    <a:pt x="386" y="480"/>
                  </a:lnTo>
                  <a:lnTo>
                    <a:pt x="382" y="480"/>
                  </a:lnTo>
                  <a:lnTo>
                    <a:pt x="380" y="480"/>
                  </a:lnTo>
                  <a:lnTo>
                    <a:pt x="380" y="480"/>
                  </a:lnTo>
                  <a:lnTo>
                    <a:pt x="373" y="471"/>
                  </a:lnTo>
                  <a:lnTo>
                    <a:pt x="368" y="466"/>
                  </a:lnTo>
                  <a:lnTo>
                    <a:pt x="363" y="462"/>
                  </a:lnTo>
                  <a:lnTo>
                    <a:pt x="363" y="462"/>
                  </a:lnTo>
                  <a:lnTo>
                    <a:pt x="359" y="457"/>
                  </a:lnTo>
                  <a:lnTo>
                    <a:pt x="354" y="452"/>
                  </a:lnTo>
                  <a:lnTo>
                    <a:pt x="352" y="448"/>
                  </a:lnTo>
                  <a:lnTo>
                    <a:pt x="350" y="443"/>
                  </a:lnTo>
                  <a:lnTo>
                    <a:pt x="350" y="443"/>
                  </a:lnTo>
                  <a:lnTo>
                    <a:pt x="350" y="438"/>
                  </a:lnTo>
                  <a:lnTo>
                    <a:pt x="352" y="432"/>
                  </a:lnTo>
                  <a:lnTo>
                    <a:pt x="354" y="429"/>
                  </a:lnTo>
                  <a:lnTo>
                    <a:pt x="357" y="427"/>
                  </a:lnTo>
                  <a:lnTo>
                    <a:pt x="357" y="427"/>
                  </a:lnTo>
                  <a:lnTo>
                    <a:pt x="363" y="427"/>
                  </a:lnTo>
                  <a:lnTo>
                    <a:pt x="368" y="425"/>
                  </a:lnTo>
                  <a:lnTo>
                    <a:pt x="370" y="423"/>
                  </a:lnTo>
                  <a:lnTo>
                    <a:pt x="370" y="422"/>
                  </a:lnTo>
                  <a:lnTo>
                    <a:pt x="370" y="422"/>
                  </a:lnTo>
                  <a:lnTo>
                    <a:pt x="370" y="420"/>
                  </a:lnTo>
                  <a:lnTo>
                    <a:pt x="368" y="416"/>
                  </a:lnTo>
                  <a:lnTo>
                    <a:pt x="366" y="411"/>
                  </a:lnTo>
                  <a:lnTo>
                    <a:pt x="354" y="404"/>
                  </a:lnTo>
                  <a:lnTo>
                    <a:pt x="354" y="404"/>
                  </a:lnTo>
                  <a:lnTo>
                    <a:pt x="350" y="402"/>
                  </a:lnTo>
                  <a:lnTo>
                    <a:pt x="347" y="400"/>
                  </a:lnTo>
                  <a:lnTo>
                    <a:pt x="341" y="402"/>
                  </a:lnTo>
                  <a:lnTo>
                    <a:pt x="339" y="404"/>
                  </a:lnTo>
                  <a:lnTo>
                    <a:pt x="339" y="404"/>
                  </a:lnTo>
                  <a:lnTo>
                    <a:pt x="338" y="406"/>
                  </a:lnTo>
                  <a:lnTo>
                    <a:pt x="334" y="406"/>
                  </a:lnTo>
                  <a:lnTo>
                    <a:pt x="331" y="404"/>
                  </a:lnTo>
                  <a:lnTo>
                    <a:pt x="327" y="400"/>
                  </a:lnTo>
                  <a:lnTo>
                    <a:pt x="327" y="400"/>
                  </a:lnTo>
                  <a:lnTo>
                    <a:pt x="320" y="397"/>
                  </a:lnTo>
                  <a:lnTo>
                    <a:pt x="315" y="391"/>
                  </a:lnTo>
                  <a:lnTo>
                    <a:pt x="311" y="388"/>
                  </a:lnTo>
                  <a:lnTo>
                    <a:pt x="309" y="386"/>
                  </a:lnTo>
                  <a:lnTo>
                    <a:pt x="309" y="382"/>
                  </a:lnTo>
                  <a:lnTo>
                    <a:pt x="309" y="382"/>
                  </a:lnTo>
                  <a:lnTo>
                    <a:pt x="309" y="379"/>
                  </a:lnTo>
                  <a:lnTo>
                    <a:pt x="309" y="377"/>
                  </a:lnTo>
                  <a:lnTo>
                    <a:pt x="307" y="370"/>
                  </a:lnTo>
                  <a:lnTo>
                    <a:pt x="306" y="368"/>
                  </a:lnTo>
                  <a:lnTo>
                    <a:pt x="300" y="366"/>
                  </a:lnTo>
                  <a:lnTo>
                    <a:pt x="299" y="366"/>
                  </a:lnTo>
                  <a:lnTo>
                    <a:pt x="297" y="366"/>
                  </a:lnTo>
                  <a:lnTo>
                    <a:pt x="297" y="366"/>
                  </a:lnTo>
                  <a:lnTo>
                    <a:pt x="286" y="375"/>
                  </a:lnTo>
                  <a:lnTo>
                    <a:pt x="281" y="375"/>
                  </a:lnTo>
                  <a:lnTo>
                    <a:pt x="281" y="377"/>
                  </a:lnTo>
                  <a:lnTo>
                    <a:pt x="281" y="377"/>
                  </a:lnTo>
                  <a:lnTo>
                    <a:pt x="281" y="386"/>
                  </a:lnTo>
                  <a:lnTo>
                    <a:pt x="281" y="388"/>
                  </a:lnTo>
                  <a:lnTo>
                    <a:pt x="281" y="390"/>
                  </a:lnTo>
                  <a:lnTo>
                    <a:pt x="279" y="390"/>
                  </a:lnTo>
                  <a:lnTo>
                    <a:pt x="279" y="390"/>
                  </a:lnTo>
                  <a:lnTo>
                    <a:pt x="274" y="388"/>
                  </a:lnTo>
                  <a:lnTo>
                    <a:pt x="267" y="384"/>
                  </a:lnTo>
                  <a:lnTo>
                    <a:pt x="258" y="379"/>
                  </a:lnTo>
                  <a:lnTo>
                    <a:pt x="256" y="375"/>
                  </a:lnTo>
                  <a:lnTo>
                    <a:pt x="252" y="370"/>
                  </a:lnTo>
                  <a:lnTo>
                    <a:pt x="252" y="370"/>
                  </a:lnTo>
                  <a:lnTo>
                    <a:pt x="251" y="366"/>
                  </a:lnTo>
                  <a:lnTo>
                    <a:pt x="251" y="359"/>
                  </a:lnTo>
                  <a:lnTo>
                    <a:pt x="251" y="347"/>
                  </a:lnTo>
                  <a:lnTo>
                    <a:pt x="249" y="336"/>
                  </a:lnTo>
                  <a:lnTo>
                    <a:pt x="249" y="329"/>
                  </a:lnTo>
                  <a:lnTo>
                    <a:pt x="245" y="327"/>
                  </a:lnTo>
                  <a:lnTo>
                    <a:pt x="245" y="327"/>
                  </a:lnTo>
                  <a:lnTo>
                    <a:pt x="227" y="313"/>
                  </a:lnTo>
                  <a:lnTo>
                    <a:pt x="217" y="304"/>
                  </a:lnTo>
                  <a:lnTo>
                    <a:pt x="215" y="299"/>
                  </a:lnTo>
                  <a:lnTo>
                    <a:pt x="215" y="295"/>
                  </a:lnTo>
                  <a:lnTo>
                    <a:pt x="215" y="295"/>
                  </a:lnTo>
                  <a:lnTo>
                    <a:pt x="217" y="286"/>
                  </a:lnTo>
                  <a:lnTo>
                    <a:pt x="220" y="279"/>
                  </a:lnTo>
                  <a:lnTo>
                    <a:pt x="226" y="272"/>
                  </a:lnTo>
                  <a:lnTo>
                    <a:pt x="229" y="269"/>
                  </a:lnTo>
                  <a:lnTo>
                    <a:pt x="231" y="269"/>
                  </a:lnTo>
                  <a:lnTo>
                    <a:pt x="231" y="269"/>
                  </a:lnTo>
                  <a:lnTo>
                    <a:pt x="236" y="269"/>
                  </a:lnTo>
                  <a:lnTo>
                    <a:pt x="238" y="267"/>
                  </a:lnTo>
                  <a:lnTo>
                    <a:pt x="238" y="263"/>
                  </a:lnTo>
                  <a:lnTo>
                    <a:pt x="236" y="260"/>
                  </a:lnTo>
                  <a:lnTo>
                    <a:pt x="236" y="260"/>
                  </a:lnTo>
                  <a:lnTo>
                    <a:pt x="233" y="253"/>
                  </a:lnTo>
                  <a:lnTo>
                    <a:pt x="229" y="238"/>
                  </a:lnTo>
                  <a:lnTo>
                    <a:pt x="227" y="231"/>
                  </a:lnTo>
                  <a:lnTo>
                    <a:pt x="229" y="226"/>
                  </a:lnTo>
                  <a:lnTo>
                    <a:pt x="229" y="222"/>
                  </a:lnTo>
                  <a:lnTo>
                    <a:pt x="229" y="222"/>
                  </a:lnTo>
                  <a:lnTo>
                    <a:pt x="233" y="224"/>
                  </a:lnTo>
                  <a:lnTo>
                    <a:pt x="236" y="226"/>
                  </a:lnTo>
                  <a:lnTo>
                    <a:pt x="245" y="235"/>
                  </a:lnTo>
                  <a:lnTo>
                    <a:pt x="251" y="240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6" y="242"/>
                  </a:lnTo>
                  <a:lnTo>
                    <a:pt x="256" y="240"/>
                  </a:lnTo>
                  <a:lnTo>
                    <a:pt x="256" y="238"/>
                  </a:lnTo>
                  <a:lnTo>
                    <a:pt x="254" y="228"/>
                  </a:lnTo>
                  <a:lnTo>
                    <a:pt x="251" y="217"/>
                  </a:lnTo>
                  <a:lnTo>
                    <a:pt x="251" y="212"/>
                  </a:lnTo>
                  <a:lnTo>
                    <a:pt x="249" y="206"/>
                  </a:lnTo>
                  <a:lnTo>
                    <a:pt x="249" y="206"/>
                  </a:lnTo>
                  <a:lnTo>
                    <a:pt x="251" y="198"/>
                  </a:lnTo>
                  <a:lnTo>
                    <a:pt x="251" y="187"/>
                  </a:lnTo>
                  <a:lnTo>
                    <a:pt x="254" y="176"/>
                  </a:lnTo>
                  <a:lnTo>
                    <a:pt x="256" y="171"/>
                  </a:lnTo>
                  <a:lnTo>
                    <a:pt x="258" y="167"/>
                  </a:lnTo>
                  <a:lnTo>
                    <a:pt x="258" y="167"/>
                  </a:lnTo>
                  <a:lnTo>
                    <a:pt x="268" y="158"/>
                  </a:lnTo>
                  <a:lnTo>
                    <a:pt x="274" y="155"/>
                  </a:lnTo>
                  <a:lnTo>
                    <a:pt x="275" y="151"/>
                  </a:lnTo>
                  <a:lnTo>
                    <a:pt x="275" y="151"/>
                  </a:lnTo>
                  <a:lnTo>
                    <a:pt x="281" y="151"/>
                  </a:lnTo>
                  <a:lnTo>
                    <a:pt x="288" y="151"/>
                  </a:lnTo>
                  <a:lnTo>
                    <a:pt x="293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307" y="146"/>
                  </a:lnTo>
                  <a:lnTo>
                    <a:pt x="309" y="146"/>
                  </a:lnTo>
                  <a:lnTo>
                    <a:pt x="309" y="144"/>
                  </a:lnTo>
                  <a:lnTo>
                    <a:pt x="309" y="144"/>
                  </a:lnTo>
                  <a:lnTo>
                    <a:pt x="300" y="135"/>
                  </a:lnTo>
                  <a:lnTo>
                    <a:pt x="297" y="126"/>
                  </a:lnTo>
                  <a:lnTo>
                    <a:pt x="295" y="121"/>
                  </a:lnTo>
                  <a:lnTo>
                    <a:pt x="293" y="118"/>
                  </a:lnTo>
                  <a:lnTo>
                    <a:pt x="293" y="118"/>
                  </a:lnTo>
                  <a:lnTo>
                    <a:pt x="291" y="105"/>
                  </a:lnTo>
                  <a:lnTo>
                    <a:pt x="288" y="86"/>
                  </a:lnTo>
                  <a:lnTo>
                    <a:pt x="277" y="48"/>
                  </a:lnTo>
                  <a:lnTo>
                    <a:pt x="277" y="48"/>
                  </a:lnTo>
                  <a:lnTo>
                    <a:pt x="274" y="25"/>
                  </a:lnTo>
                  <a:lnTo>
                    <a:pt x="270" y="2"/>
                  </a:lnTo>
                  <a:lnTo>
                    <a:pt x="252" y="2"/>
                  </a:lnTo>
                  <a:lnTo>
                    <a:pt x="252" y="2"/>
                  </a:lnTo>
                  <a:lnTo>
                    <a:pt x="249" y="2"/>
                  </a:lnTo>
                  <a:lnTo>
                    <a:pt x="243" y="0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5" y="2"/>
                  </a:lnTo>
                  <a:lnTo>
                    <a:pt x="233" y="4"/>
                  </a:lnTo>
                  <a:lnTo>
                    <a:pt x="231" y="11"/>
                  </a:lnTo>
                  <a:lnTo>
                    <a:pt x="229" y="18"/>
                  </a:lnTo>
                  <a:lnTo>
                    <a:pt x="229" y="23"/>
                  </a:lnTo>
                  <a:lnTo>
                    <a:pt x="229" y="23"/>
                  </a:lnTo>
                  <a:lnTo>
                    <a:pt x="227" y="29"/>
                  </a:lnTo>
                  <a:lnTo>
                    <a:pt x="226" y="34"/>
                  </a:lnTo>
                  <a:lnTo>
                    <a:pt x="217" y="45"/>
                  </a:lnTo>
                  <a:lnTo>
                    <a:pt x="217" y="45"/>
                  </a:lnTo>
                  <a:lnTo>
                    <a:pt x="213" y="48"/>
                  </a:lnTo>
                  <a:lnTo>
                    <a:pt x="213" y="52"/>
                  </a:lnTo>
                  <a:lnTo>
                    <a:pt x="213" y="57"/>
                  </a:lnTo>
                  <a:lnTo>
                    <a:pt x="213" y="64"/>
                  </a:lnTo>
                  <a:lnTo>
                    <a:pt x="204" y="84"/>
                  </a:lnTo>
                  <a:lnTo>
                    <a:pt x="204" y="84"/>
                  </a:lnTo>
                  <a:lnTo>
                    <a:pt x="199" y="89"/>
                  </a:lnTo>
                  <a:lnTo>
                    <a:pt x="195" y="89"/>
                  </a:lnTo>
                  <a:lnTo>
                    <a:pt x="190" y="91"/>
                  </a:lnTo>
                  <a:lnTo>
                    <a:pt x="190" y="91"/>
                  </a:lnTo>
                  <a:lnTo>
                    <a:pt x="162" y="93"/>
                  </a:lnTo>
                  <a:lnTo>
                    <a:pt x="146" y="98"/>
                  </a:lnTo>
                  <a:lnTo>
                    <a:pt x="139" y="84"/>
                  </a:lnTo>
                  <a:lnTo>
                    <a:pt x="135" y="64"/>
                  </a:lnTo>
                  <a:lnTo>
                    <a:pt x="121" y="64"/>
                  </a:lnTo>
                  <a:lnTo>
                    <a:pt x="110" y="70"/>
                  </a:lnTo>
                  <a:lnTo>
                    <a:pt x="91" y="73"/>
                  </a:lnTo>
                  <a:lnTo>
                    <a:pt x="76" y="84"/>
                  </a:lnTo>
                  <a:lnTo>
                    <a:pt x="60" y="86"/>
                  </a:lnTo>
                  <a:lnTo>
                    <a:pt x="62" y="96"/>
                  </a:lnTo>
                  <a:lnTo>
                    <a:pt x="48" y="112"/>
                  </a:lnTo>
                  <a:lnTo>
                    <a:pt x="25" y="119"/>
                  </a:lnTo>
                  <a:lnTo>
                    <a:pt x="27" y="123"/>
                  </a:lnTo>
                  <a:lnTo>
                    <a:pt x="14" y="130"/>
                  </a:lnTo>
                  <a:lnTo>
                    <a:pt x="5" y="142"/>
                  </a:lnTo>
                  <a:lnTo>
                    <a:pt x="0" y="153"/>
                  </a:lnTo>
                  <a:lnTo>
                    <a:pt x="19" y="160"/>
                  </a:lnTo>
                  <a:lnTo>
                    <a:pt x="25" y="178"/>
                  </a:lnTo>
                  <a:lnTo>
                    <a:pt x="25" y="178"/>
                  </a:lnTo>
                  <a:lnTo>
                    <a:pt x="32" y="185"/>
                  </a:lnTo>
                  <a:lnTo>
                    <a:pt x="43" y="190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51" y="196"/>
                  </a:lnTo>
                  <a:lnTo>
                    <a:pt x="55" y="198"/>
                  </a:lnTo>
                  <a:lnTo>
                    <a:pt x="57" y="203"/>
                  </a:lnTo>
                  <a:lnTo>
                    <a:pt x="62" y="208"/>
                  </a:lnTo>
                  <a:lnTo>
                    <a:pt x="64" y="226"/>
                  </a:lnTo>
                  <a:lnTo>
                    <a:pt x="87" y="226"/>
                  </a:lnTo>
                  <a:lnTo>
                    <a:pt x="87" y="226"/>
                  </a:lnTo>
                  <a:lnTo>
                    <a:pt x="91" y="231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1" y="238"/>
                  </a:lnTo>
                  <a:lnTo>
                    <a:pt x="101" y="240"/>
                  </a:lnTo>
                  <a:lnTo>
                    <a:pt x="103" y="246"/>
                  </a:lnTo>
                  <a:lnTo>
                    <a:pt x="101" y="254"/>
                  </a:lnTo>
                  <a:lnTo>
                    <a:pt x="101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15" y="258"/>
                  </a:lnTo>
                  <a:lnTo>
                    <a:pt x="124" y="262"/>
                  </a:lnTo>
                  <a:lnTo>
                    <a:pt x="124" y="262"/>
                  </a:lnTo>
                  <a:lnTo>
                    <a:pt x="126" y="260"/>
                  </a:lnTo>
                  <a:lnTo>
                    <a:pt x="128" y="258"/>
                  </a:lnTo>
                  <a:lnTo>
                    <a:pt x="131" y="256"/>
                  </a:lnTo>
                  <a:lnTo>
                    <a:pt x="133" y="256"/>
                  </a:lnTo>
                  <a:lnTo>
                    <a:pt x="133" y="256"/>
                  </a:lnTo>
                  <a:lnTo>
                    <a:pt x="135" y="256"/>
                  </a:lnTo>
                  <a:lnTo>
                    <a:pt x="135" y="256"/>
                  </a:lnTo>
                  <a:lnTo>
                    <a:pt x="137" y="253"/>
                  </a:lnTo>
                  <a:lnTo>
                    <a:pt x="137" y="247"/>
                  </a:lnTo>
                  <a:lnTo>
                    <a:pt x="135" y="246"/>
                  </a:lnTo>
                  <a:lnTo>
                    <a:pt x="135" y="244"/>
                  </a:lnTo>
                  <a:lnTo>
                    <a:pt x="135" y="244"/>
                  </a:lnTo>
                  <a:lnTo>
                    <a:pt x="131" y="246"/>
                  </a:lnTo>
                  <a:lnTo>
                    <a:pt x="128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12" y="238"/>
                  </a:lnTo>
                  <a:lnTo>
                    <a:pt x="107" y="231"/>
                  </a:lnTo>
                  <a:lnTo>
                    <a:pt x="105" y="226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15"/>
                  </a:lnTo>
                  <a:lnTo>
                    <a:pt x="105" y="206"/>
                  </a:lnTo>
                  <a:lnTo>
                    <a:pt x="105" y="203"/>
                  </a:lnTo>
                  <a:lnTo>
                    <a:pt x="107" y="199"/>
                  </a:lnTo>
                  <a:lnTo>
                    <a:pt x="108" y="198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24" y="190"/>
                  </a:lnTo>
                  <a:lnTo>
                    <a:pt x="128" y="190"/>
                  </a:lnTo>
                  <a:lnTo>
                    <a:pt x="130" y="190"/>
                  </a:lnTo>
                  <a:lnTo>
                    <a:pt x="130" y="190"/>
                  </a:lnTo>
                  <a:lnTo>
                    <a:pt x="124" y="196"/>
                  </a:lnTo>
                  <a:lnTo>
                    <a:pt x="121" y="199"/>
                  </a:lnTo>
                  <a:lnTo>
                    <a:pt x="121" y="203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3" y="212"/>
                  </a:lnTo>
                  <a:lnTo>
                    <a:pt x="126" y="217"/>
                  </a:lnTo>
                  <a:lnTo>
                    <a:pt x="131" y="222"/>
                  </a:lnTo>
                  <a:lnTo>
                    <a:pt x="137" y="226"/>
                  </a:lnTo>
                  <a:lnTo>
                    <a:pt x="137" y="226"/>
                  </a:lnTo>
                  <a:lnTo>
                    <a:pt x="142" y="233"/>
                  </a:lnTo>
                  <a:lnTo>
                    <a:pt x="146" y="238"/>
                  </a:lnTo>
                  <a:lnTo>
                    <a:pt x="147" y="242"/>
                  </a:lnTo>
                  <a:lnTo>
                    <a:pt x="149" y="244"/>
                  </a:lnTo>
                  <a:lnTo>
                    <a:pt x="153" y="246"/>
                  </a:lnTo>
                  <a:lnTo>
                    <a:pt x="153" y="246"/>
                  </a:lnTo>
                  <a:lnTo>
                    <a:pt x="156" y="247"/>
                  </a:lnTo>
                  <a:lnTo>
                    <a:pt x="156" y="253"/>
                  </a:lnTo>
                  <a:lnTo>
                    <a:pt x="163" y="260"/>
                  </a:lnTo>
                  <a:lnTo>
                    <a:pt x="163" y="260"/>
                  </a:lnTo>
                  <a:lnTo>
                    <a:pt x="165" y="263"/>
                  </a:lnTo>
                  <a:lnTo>
                    <a:pt x="167" y="263"/>
                  </a:lnTo>
                  <a:lnTo>
                    <a:pt x="169" y="263"/>
                  </a:lnTo>
                  <a:lnTo>
                    <a:pt x="171" y="263"/>
                  </a:lnTo>
                  <a:lnTo>
                    <a:pt x="172" y="265"/>
                  </a:lnTo>
                  <a:lnTo>
                    <a:pt x="172" y="272"/>
                  </a:lnTo>
                  <a:lnTo>
                    <a:pt x="172" y="272"/>
                  </a:lnTo>
                  <a:lnTo>
                    <a:pt x="169" y="286"/>
                  </a:lnTo>
                  <a:lnTo>
                    <a:pt x="167" y="299"/>
                  </a:lnTo>
                  <a:lnTo>
                    <a:pt x="169" y="306"/>
                  </a:lnTo>
                  <a:lnTo>
                    <a:pt x="169" y="306"/>
                  </a:lnTo>
                  <a:lnTo>
                    <a:pt x="176" y="331"/>
                  </a:lnTo>
                  <a:lnTo>
                    <a:pt x="179" y="347"/>
                  </a:lnTo>
                  <a:lnTo>
                    <a:pt x="183" y="358"/>
                  </a:lnTo>
                  <a:lnTo>
                    <a:pt x="183" y="358"/>
                  </a:lnTo>
                  <a:lnTo>
                    <a:pt x="183" y="365"/>
                  </a:lnTo>
                  <a:lnTo>
                    <a:pt x="183" y="370"/>
                  </a:lnTo>
                  <a:lnTo>
                    <a:pt x="185" y="377"/>
                  </a:lnTo>
                  <a:lnTo>
                    <a:pt x="187" y="388"/>
                  </a:lnTo>
                  <a:lnTo>
                    <a:pt x="187" y="388"/>
                  </a:lnTo>
                  <a:lnTo>
                    <a:pt x="192" y="404"/>
                  </a:lnTo>
                  <a:lnTo>
                    <a:pt x="197" y="422"/>
                  </a:lnTo>
                  <a:lnTo>
                    <a:pt x="199" y="441"/>
                  </a:lnTo>
                  <a:lnTo>
                    <a:pt x="203" y="457"/>
                  </a:lnTo>
                  <a:lnTo>
                    <a:pt x="203" y="457"/>
                  </a:lnTo>
                  <a:lnTo>
                    <a:pt x="203" y="466"/>
                  </a:lnTo>
                  <a:lnTo>
                    <a:pt x="197" y="473"/>
                  </a:lnTo>
                  <a:lnTo>
                    <a:pt x="195" y="482"/>
                  </a:lnTo>
                  <a:lnTo>
                    <a:pt x="195" y="482"/>
                  </a:lnTo>
                  <a:lnTo>
                    <a:pt x="195" y="486"/>
                  </a:lnTo>
                  <a:lnTo>
                    <a:pt x="197" y="487"/>
                  </a:lnTo>
                  <a:lnTo>
                    <a:pt x="197" y="489"/>
                  </a:lnTo>
                  <a:lnTo>
                    <a:pt x="197" y="493"/>
                  </a:lnTo>
                  <a:lnTo>
                    <a:pt x="197" y="493"/>
                  </a:lnTo>
                  <a:lnTo>
                    <a:pt x="194" y="498"/>
                  </a:lnTo>
                  <a:lnTo>
                    <a:pt x="190" y="500"/>
                  </a:lnTo>
                  <a:lnTo>
                    <a:pt x="188" y="502"/>
                  </a:lnTo>
                  <a:lnTo>
                    <a:pt x="188" y="503"/>
                  </a:lnTo>
                  <a:lnTo>
                    <a:pt x="188" y="503"/>
                  </a:lnTo>
                  <a:lnTo>
                    <a:pt x="188" y="505"/>
                  </a:lnTo>
                  <a:lnTo>
                    <a:pt x="190" y="507"/>
                  </a:lnTo>
                  <a:lnTo>
                    <a:pt x="194" y="510"/>
                  </a:lnTo>
                  <a:lnTo>
                    <a:pt x="203" y="512"/>
                  </a:lnTo>
                  <a:lnTo>
                    <a:pt x="204" y="519"/>
                  </a:lnTo>
                  <a:lnTo>
                    <a:pt x="204" y="519"/>
                  </a:lnTo>
                  <a:lnTo>
                    <a:pt x="208" y="525"/>
                  </a:lnTo>
                  <a:lnTo>
                    <a:pt x="208" y="534"/>
                  </a:lnTo>
                  <a:lnTo>
                    <a:pt x="210" y="550"/>
                  </a:lnTo>
                  <a:lnTo>
                    <a:pt x="210" y="550"/>
                  </a:lnTo>
                  <a:lnTo>
                    <a:pt x="211" y="555"/>
                  </a:lnTo>
                  <a:lnTo>
                    <a:pt x="213" y="562"/>
                  </a:lnTo>
                  <a:lnTo>
                    <a:pt x="220" y="574"/>
                  </a:lnTo>
                  <a:lnTo>
                    <a:pt x="236" y="596"/>
                  </a:lnTo>
                  <a:lnTo>
                    <a:pt x="236" y="596"/>
                  </a:lnTo>
                  <a:lnTo>
                    <a:pt x="240" y="603"/>
                  </a:lnTo>
                  <a:lnTo>
                    <a:pt x="249" y="608"/>
                  </a:lnTo>
                  <a:lnTo>
                    <a:pt x="268" y="624"/>
                  </a:lnTo>
                  <a:lnTo>
                    <a:pt x="291" y="642"/>
                  </a:lnTo>
                  <a:lnTo>
                    <a:pt x="313" y="653"/>
                  </a:lnTo>
                  <a:lnTo>
                    <a:pt x="313" y="653"/>
                  </a:lnTo>
                  <a:lnTo>
                    <a:pt x="357" y="678"/>
                  </a:lnTo>
                  <a:lnTo>
                    <a:pt x="396" y="702"/>
                  </a:lnTo>
                  <a:lnTo>
                    <a:pt x="396" y="702"/>
                  </a:lnTo>
                  <a:lnTo>
                    <a:pt x="409" y="710"/>
                  </a:lnTo>
                  <a:lnTo>
                    <a:pt x="421" y="718"/>
                  </a:lnTo>
                  <a:lnTo>
                    <a:pt x="434" y="727"/>
                  </a:lnTo>
                  <a:lnTo>
                    <a:pt x="439" y="731"/>
                  </a:lnTo>
                  <a:lnTo>
                    <a:pt x="439" y="731"/>
                  </a:lnTo>
                  <a:lnTo>
                    <a:pt x="450" y="734"/>
                  </a:lnTo>
                  <a:lnTo>
                    <a:pt x="453" y="734"/>
                  </a:lnTo>
                  <a:lnTo>
                    <a:pt x="453" y="734"/>
                  </a:lnTo>
                  <a:lnTo>
                    <a:pt x="455" y="733"/>
                  </a:lnTo>
                  <a:lnTo>
                    <a:pt x="455" y="733"/>
                  </a:lnTo>
                  <a:lnTo>
                    <a:pt x="453" y="706"/>
                  </a:lnTo>
                  <a:lnTo>
                    <a:pt x="453" y="706"/>
                  </a:lnTo>
                  <a:lnTo>
                    <a:pt x="453" y="706"/>
                  </a:lnTo>
                  <a:lnTo>
                    <a:pt x="453" y="706"/>
                  </a:lnTo>
                  <a:lnTo>
                    <a:pt x="453" y="70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60"/>
            <p:cNvSpPr>
              <a:spLocks/>
            </p:cNvSpPr>
            <p:nvPr/>
          </p:nvSpPr>
          <p:spPr bwMode="auto">
            <a:xfrm>
              <a:off x="1172423" y="2557269"/>
              <a:ext cx="108388" cy="86140"/>
            </a:xfrm>
            <a:custGeom>
              <a:avLst/>
              <a:gdLst>
                <a:gd name="T0" fmla="*/ 184 w 190"/>
                <a:gd name="T1" fmla="*/ 117 h 151"/>
                <a:gd name="T2" fmla="*/ 177 w 190"/>
                <a:gd name="T3" fmla="*/ 115 h 151"/>
                <a:gd name="T4" fmla="*/ 168 w 190"/>
                <a:gd name="T5" fmla="*/ 107 h 151"/>
                <a:gd name="T6" fmla="*/ 158 w 190"/>
                <a:gd name="T7" fmla="*/ 89 h 151"/>
                <a:gd name="T8" fmla="*/ 147 w 190"/>
                <a:gd name="T9" fmla="*/ 82 h 151"/>
                <a:gd name="T10" fmla="*/ 136 w 190"/>
                <a:gd name="T11" fmla="*/ 75 h 151"/>
                <a:gd name="T12" fmla="*/ 122 w 190"/>
                <a:gd name="T13" fmla="*/ 48 h 151"/>
                <a:gd name="T14" fmla="*/ 135 w 190"/>
                <a:gd name="T15" fmla="*/ 27 h 151"/>
                <a:gd name="T16" fmla="*/ 131 w 190"/>
                <a:gd name="T17" fmla="*/ 23 h 151"/>
                <a:gd name="T18" fmla="*/ 103 w 190"/>
                <a:gd name="T19" fmla="*/ 25 h 151"/>
                <a:gd name="T20" fmla="*/ 83 w 190"/>
                <a:gd name="T21" fmla="*/ 9 h 151"/>
                <a:gd name="T22" fmla="*/ 44 w 190"/>
                <a:gd name="T23" fmla="*/ 3 h 151"/>
                <a:gd name="T24" fmla="*/ 42 w 190"/>
                <a:gd name="T25" fmla="*/ 7 h 151"/>
                <a:gd name="T26" fmla="*/ 40 w 190"/>
                <a:gd name="T27" fmla="*/ 18 h 151"/>
                <a:gd name="T28" fmla="*/ 40 w 190"/>
                <a:gd name="T29" fmla="*/ 30 h 151"/>
                <a:gd name="T30" fmla="*/ 40 w 190"/>
                <a:gd name="T31" fmla="*/ 41 h 151"/>
                <a:gd name="T32" fmla="*/ 37 w 190"/>
                <a:gd name="T33" fmla="*/ 46 h 151"/>
                <a:gd name="T34" fmla="*/ 24 w 190"/>
                <a:gd name="T35" fmla="*/ 48 h 151"/>
                <a:gd name="T36" fmla="*/ 21 w 190"/>
                <a:gd name="T37" fmla="*/ 48 h 151"/>
                <a:gd name="T38" fmla="*/ 16 w 190"/>
                <a:gd name="T39" fmla="*/ 51 h 151"/>
                <a:gd name="T40" fmla="*/ 16 w 190"/>
                <a:gd name="T41" fmla="*/ 59 h 151"/>
                <a:gd name="T42" fmla="*/ 12 w 190"/>
                <a:gd name="T43" fmla="*/ 62 h 151"/>
                <a:gd name="T44" fmla="*/ 5 w 190"/>
                <a:gd name="T45" fmla="*/ 62 h 151"/>
                <a:gd name="T46" fmla="*/ 3 w 190"/>
                <a:gd name="T47" fmla="*/ 64 h 151"/>
                <a:gd name="T48" fmla="*/ 0 w 190"/>
                <a:gd name="T49" fmla="*/ 73 h 151"/>
                <a:gd name="T50" fmla="*/ 0 w 190"/>
                <a:gd name="T51" fmla="*/ 73 h 151"/>
                <a:gd name="T52" fmla="*/ 3 w 190"/>
                <a:gd name="T53" fmla="*/ 75 h 151"/>
                <a:gd name="T54" fmla="*/ 8 w 190"/>
                <a:gd name="T55" fmla="*/ 76 h 151"/>
                <a:gd name="T56" fmla="*/ 14 w 190"/>
                <a:gd name="T57" fmla="*/ 82 h 151"/>
                <a:gd name="T58" fmla="*/ 14 w 190"/>
                <a:gd name="T59" fmla="*/ 85 h 151"/>
                <a:gd name="T60" fmla="*/ 24 w 190"/>
                <a:gd name="T61" fmla="*/ 89 h 151"/>
                <a:gd name="T62" fmla="*/ 28 w 190"/>
                <a:gd name="T63" fmla="*/ 91 h 151"/>
                <a:gd name="T64" fmla="*/ 28 w 190"/>
                <a:gd name="T65" fmla="*/ 94 h 151"/>
                <a:gd name="T66" fmla="*/ 24 w 190"/>
                <a:gd name="T67" fmla="*/ 101 h 151"/>
                <a:gd name="T68" fmla="*/ 19 w 190"/>
                <a:gd name="T69" fmla="*/ 107 h 151"/>
                <a:gd name="T70" fmla="*/ 19 w 190"/>
                <a:gd name="T71" fmla="*/ 108 h 151"/>
                <a:gd name="T72" fmla="*/ 21 w 190"/>
                <a:gd name="T73" fmla="*/ 115 h 151"/>
                <a:gd name="T74" fmla="*/ 67 w 190"/>
                <a:gd name="T75" fmla="*/ 131 h 151"/>
                <a:gd name="T76" fmla="*/ 69 w 190"/>
                <a:gd name="T77" fmla="*/ 135 h 151"/>
                <a:gd name="T78" fmla="*/ 74 w 190"/>
                <a:gd name="T79" fmla="*/ 140 h 151"/>
                <a:gd name="T80" fmla="*/ 78 w 190"/>
                <a:gd name="T81" fmla="*/ 131 h 151"/>
                <a:gd name="T82" fmla="*/ 83 w 190"/>
                <a:gd name="T83" fmla="*/ 128 h 151"/>
                <a:gd name="T84" fmla="*/ 83 w 190"/>
                <a:gd name="T85" fmla="*/ 128 h 151"/>
                <a:gd name="T86" fmla="*/ 104 w 190"/>
                <a:gd name="T87" fmla="*/ 137 h 151"/>
                <a:gd name="T88" fmla="*/ 154 w 190"/>
                <a:gd name="T89" fmla="*/ 149 h 151"/>
                <a:gd name="T90" fmla="*/ 160 w 190"/>
                <a:gd name="T91" fmla="*/ 147 h 151"/>
                <a:gd name="T92" fmla="*/ 161 w 190"/>
                <a:gd name="T93" fmla="*/ 147 h 151"/>
                <a:gd name="T94" fmla="*/ 168 w 190"/>
                <a:gd name="T95" fmla="*/ 151 h 151"/>
                <a:gd name="T96" fmla="*/ 170 w 190"/>
                <a:gd name="T97" fmla="*/ 151 h 151"/>
                <a:gd name="T98" fmla="*/ 170 w 190"/>
                <a:gd name="T99" fmla="*/ 144 h 151"/>
                <a:gd name="T100" fmla="*/ 172 w 190"/>
                <a:gd name="T101" fmla="*/ 144 h 151"/>
                <a:gd name="T102" fmla="*/ 181 w 190"/>
                <a:gd name="T103" fmla="*/ 146 h 151"/>
                <a:gd name="T104" fmla="*/ 184 w 190"/>
                <a:gd name="T105" fmla="*/ 146 h 151"/>
                <a:gd name="T106" fmla="*/ 190 w 190"/>
                <a:gd name="T107" fmla="*/ 144 h 151"/>
                <a:gd name="T108" fmla="*/ 184 w 190"/>
                <a:gd name="T109" fmla="*/ 128 h 151"/>
                <a:gd name="T110" fmla="*/ 184 w 190"/>
                <a:gd name="T111" fmla="*/ 121 h 151"/>
                <a:gd name="T112" fmla="*/ 184 w 190"/>
                <a:gd name="T113" fmla="*/ 117 h 151"/>
                <a:gd name="T114" fmla="*/ 184 w 190"/>
                <a:gd name="T115" fmla="*/ 117 h 151"/>
                <a:gd name="T116" fmla="*/ 184 w 190"/>
                <a:gd name="T117" fmla="*/ 11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0" h="151">
                  <a:moveTo>
                    <a:pt x="184" y="117"/>
                  </a:moveTo>
                  <a:lnTo>
                    <a:pt x="184" y="117"/>
                  </a:lnTo>
                  <a:lnTo>
                    <a:pt x="181" y="117"/>
                  </a:lnTo>
                  <a:lnTo>
                    <a:pt x="177" y="115"/>
                  </a:lnTo>
                  <a:lnTo>
                    <a:pt x="176" y="112"/>
                  </a:lnTo>
                  <a:lnTo>
                    <a:pt x="168" y="107"/>
                  </a:lnTo>
                  <a:lnTo>
                    <a:pt x="168" y="96"/>
                  </a:lnTo>
                  <a:lnTo>
                    <a:pt x="158" y="89"/>
                  </a:lnTo>
                  <a:lnTo>
                    <a:pt x="156" y="83"/>
                  </a:lnTo>
                  <a:lnTo>
                    <a:pt x="147" y="82"/>
                  </a:lnTo>
                  <a:lnTo>
                    <a:pt x="145" y="75"/>
                  </a:lnTo>
                  <a:lnTo>
                    <a:pt x="136" y="75"/>
                  </a:lnTo>
                  <a:lnTo>
                    <a:pt x="131" y="59"/>
                  </a:lnTo>
                  <a:lnTo>
                    <a:pt x="122" y="48"/>
                  </a:lnTo>
                  <a:lnTo>
                    <a:pt x="128" y="25"/>
                  </a:lnTo>
                  <a:lnTo>
                    <a:pt x="135" y="27"/>
                  </a:lnTo>
                  <a:lnTo>
                    <a:pt x="136" y="27"/>
                  </a:lnTo>
                  <a:lnTo>
                    <a:pt x="131" y="23"/>
                  </a:lnTo>
                  <a:lnTo>
                    <a:pt x="110" y="19"/>
                  </a:lnTo>
                  <a:lnTo>
                    <a:pt x="103" y="25"/>
                  </a:lnTo>
                  <a:lnTo>
                    <a:pt x="94" y="14"/>
                  </a:lnTo>
                  <a:lnTo>
                    <a:pt x="83" y="9"/>
                  </a:lnTo>
                  <a:lnTo>
                    <a:pt x="64" y="0"/>
                  </a:lnTo>
                  <a:lnTo>
                    <a:pt x="44" y="3"/>
                  </a:lnTo>
                  <a:lnTo>
                    <a:pt x="39" y="3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0" y="18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5"/>
                  </a:lnTo>
                  <a:lnTo>
                    <a:pt x="40" y="41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2" y="46"/>
                  </a:lnTo>
                  <a:lnTo>
                    <a:pt x="24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6" y="51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62"/>
                  </a:lnTo>
                  <a:lnTo>
                    <a:pt x="12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5"/>
                  </a:lnTo>
                  <a:lnTo>
                    <a:pt x="3" y="75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80"/>
                  </a:lnTo>
                  <a:lnTo>
                    <a:pt x="14" y="82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9" y="87"/>
                  </a:lnTo>
                  <a:lnTo>
                    <a:pt x="24" y="89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2"/>
                  </a:lnTo>
                  <a:lnTo>
                    <a:pt x="28" y="94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8"/>
                  </a:lnTo>
                  <a:lnTo>
                    <a:pt x="19" y="108"/>
                  </a:lnTo>
                  <a:lnTo>
                    <a:pt x="21" y="112"/>
                  </a:lnTo>
                  <a:lnTo>
                    <a:pt x="21" y="115"/>
                  </a:lnTo>
                  <a:lnTo>
                    <a:pt x="62" y="130"/>
                  </a:lnTo>
                  <a:lnTo>
                    <a:pt x="67" y="131"/>
                  </a:lnTo>
                  <a:lnTo>
                    <a:pt x="67" y="131"/>
                  </a:lnTo>
                  <a:lnTo>
                    <a:pt x="69" y="135"/>
                  </a:lnTo>
                  <a:lnTo>
                    <a:pt x="72" y="137"/>
                  </a:lnTo>
                  <a:lnTo>
                    <a:pt x="74" y="140"/>
                  </a:lnTo>
                  <a:lnTo>
                    <a:pt x="74" y="140"/>
                  </a:lnTo>
                  <a:lnTo>
                    <a:pt x="78" y="131"/>
                  </a:lnTo>
                  <a:lnTo>
                    <a:pt x="80" y="130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97" y="133"/>
                  </a:lnTo>
                  <a:lnTo>
                    <a:pt x="104" y="137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6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7" y="151"/>
                  </a:lnTo>
                  <a:lnTo>
                    <a:pt x="168" y="151"/>
                  </a:lnTo>
                  <a:lnTo>
                    <a:pt x="170" y="151"/>
                  </a:lnTo>
                  <a:lnTo>
                    <a:pt x="170" y="151"/>
                  </a:lnTo>
                  <a:lnTo>
                    <a:pt x="170" y="146"/>
                  </a:lnTo>
                  <a:lnTo>
                    <a:pt x="170" y="144"/>
                  </a:lnTo>
                  <a:lnTo>
                    <a:pt x="170" y="144"/>
                  </a:lnTo>
                  <a:lnTo>
                    <a:pt x="172" y="144"/>
                  </a:lnTo>
                  <a:lnTo>
                    <a:pt x="172" y="144"/>
                  </a:lnTo>
                  <a:lnTo>
                    <a:pt x="181" y="146"/>
                  </a:lnTo>
                  <a:lnTo>
                    <a:pt x="183" y="147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90" y="144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6" y="124"/>
                  </a:lnTo>
                  <a:lnTo>
                    <a:pt x="184" y="121"/>
                  </a:lnTo>
                  <a:lnTo>
                    <a:pt x="184" y="117"/>
                  </a:lnTo>
                  <a:lnTo>
                    <a:pt x="184" y="117"/>
                  </a:lnTo>
                  <a:lnTo>
                    <a:pt x="184" y="117"/>
                  </a:lnTo>
                  <a:lnTo>
                    <a:pt x="184" y="117"/>
                  </a:lnTo>
                  <a:lnTo>
                    <a:pt x="184" y="117"/>
                  </a:lnTo>
                  <a:lnTo>
                    <a:pt x="184" y="11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Freeform 61"/>
            <p:cNvSpPr>
              <a:spLocks/>
            </p:cNvSpPr>
            <p:nvPr/>
          </p:nvSpPr>
          <p:spPr bwMode="auto">
            <a:xfrm>
              <a:off x="1373797" y="2634282"/>
              <a:ext cx="163723" cy="138623"/>
            </a:xfrm>
            <a:custGeom>
              <a:avLst/>
              <a:gdLst>
                <a:gd name="T0" fmla="*/ 70 w 287"/>
                <a:gd name="T1" fmla="*/ 206 h 243"/>
                <a:gd name="T2" fmla="*/ 118 w 287"/>
                <a:gd name="T3" fmla="*/ 201 h 243"/>
                <a:gd name="T4" fmla="*/ 135 w 287"/>
                <a:gd name="T5" fmla="*/ 197 h 243"/>
                <a:gd name="T6" fmla="*/ 162 w 287"/>
                <a:gd name="T7" fmla="*/ 201 h 243"/>
                <a:gd name="T8" fmla="*/ 176 w 287"/>
                <a:gd name="T9" fmla="*/ 229 h 243"/>
                <a:gd name="T10" fmla="*/ 199 w 287"/>
                <a:gd name="T11" fmla="*/ 238 h 243"/>
                <a:gd name="T12" fmla="*/ 223 w 287"/>
                <a:gd name="T13" fmla="*/ 222 h 243"/>
                <a:gd name="T14" fmla="*/ 233 w 287"/>
                <a:gd name="T15" fmla="*/ 224 h 243"/>
                <a:gd name="T16" fmla="*/ 263 w 287"/>
                <a:gd name="T17" fmla="*/ 224 h 243"/>
                <a:gd name="T18" fmla="*/ 281 w 287"/>
                <a:gd name="T19" fmla="*/ 217 h 243"/>
                <a:gd name="T20" fmla="*/ 283 w 287"/>
                <a:gd name="T21" fmla="*/ 215 h 243"/>
                <a:gd name="T22" fmla="*/ 283 w 287"/>
                <a:gd name="T23" fmla="*/ 194 h 243"/>
                <a:gd name="T24" fmla="*/ 287 w 287"/>
                <a:gd name="T25" fmla="*/ 162 h 243"/>
                <a:gd name="T26" fmla="*/ 285 w 287"/>
                <a:gd name="T27" fmla="*/ 133 h 243"/>
                <a:gd name="T28" fmla="*/ 276 w 287"/>
                <a:gd name="T29" fmla="*/ 128 h 243"/>
                <a:gd name="T30" fmla="*/ 256 w 287"/>
                <a:gd name="T31" fmla="*/ 140 h 243"/>
                <a:gd name="T32" fmla="*/ 249 w 287"/>
                <a:gd name="T33" fmla="*/ 110 h 243"/>
                <a:gd name="T34" fmla="*/ 256 w 287"/>
                <a:gd name="T35" fmla="*/ 103 h 243"/>
                <a:gd name="T36" fmla="*/ 253 w 287"/>
                <a:gd name="T37" fmla="*/ 98 h 243"/>
                <a:gd name="T38" fmla="*/ 249 w 287"/>
                <a:gd name="T39" fmla="*/ 96 h 243"/>
                <a:gd name="T40" fmla="*/ 244 w 287"/>
                <a:gd name="T41" fmla="*/ 98 h 243"/>
                <a:gd name="T42" fmla="*/ 205 w 287"/>
                <a:gd name="T43" fmla="*/ 98 h 243"/>
                <a:gd name="T44" fmla="*/ 171 w 287"/>
                <a:gd name="T45" fmla="*/ 78 h 243"/>
                <a:gd name="T46" fmla="*/ 167 w 287"/>
                <a:gd name="T47" fmla="*/ 64 h 243"/>
                <a:gd name="T48" fmla="*/ 160 w 287"/>
                <a:gd name="T49" fmla="*/ 48 h 243"/>
                <a:gd name="T50" fmla="*/ 144 w 287"/>
                <a:gd name="T51" fmla="*/ 36 h 243"/>
                <a:gd name="T52" fmla="*/ 103 w 287"/>
                <a:gd name="T53" fmla="*/ 16 h 243"/>
                <a:gd name="T54" fmla="*/ 71 w 287"/>
                <a:gd name="T55" fmla="*/ 18 h 243"/>
                <a:gd name="T56" fmla="*/ 47 w 287"/>
                <a:gd name="T57" fmla="*/ 32 h 243"/>
                <a:gd name="T58" fmla="*/ 55 w 287"/>
                <a:gd name="T59" fmla="*/ 48 h 243"/>
                <a:gd name="T60" fmla="*/ 39 w 287"/>
                <a:gd name="T61" fmla="*/ 53 h 243"/>
                <a:gd name="T62" fmla="*/ 18 w 287"/>
                <a:gd name="T63" fmla="*/ 64 h 243"/>
                <a:gd name="T64" fmla="*/ 9 w 287"/>
                <a:gd name="T65" fmla="*/ 89 h 243"/>
                <a:gd name="T66" fmla="*/ 15 w 287"/>
                <a:gd name="T67" fmla="*/ 121 h 243"/>
                <a:gd name="T68" fmla="*/ 0 w 287"/>
                <a:gd name="T69" fmla="*/ 149 h 243"/>
                <a:gd name="T70" fmla="*/ 16 w 287"/>
                <a:gd name="T71" fmla="*/ 149 h 243"/>
                <a:gd name="T72" fmla="*/ 31 w 287"/>
                <a:gd name="T73" fmla="*/ 147 h 243"/>
                <a:gd name="T74" fmla="*/ 41 w 287"/>
                <a:gd name="T75" fmla="*/ 147 h 243"/>
                <a:gd name="T76" fmla="*/ 43 w 287"/>
                <a:gd name="T77" fmla="*/ 147 h 243"/>
                <a:gd name="T78" fmla="*/ 43 w 287"/>
                <a:gd name="T79" fmla="*/ 153 h 243"/>
                <a:gd name="T80" fmla="*/ 39 w 287"/>
                <a:gd name="T81" fmla="*/ 156 h 243"/>
                <a:gd name="T82" fmla="*/ 31 w 287"/>
                <a:gd name="T83" fmla="*/ 156 h 243"/>
                <a:gd name="T84" fmla="*/ 27 w 287"/>
                <a:gd name="T85" fmla="*/ 160 h 243"/>
                <a:gd name="T86" fmla="*/ 29 w 287"/>
                <a:gd name="T87" fmla="*/ 165 h 243"/>
                <a:gd name="T88" fmla="*/ 52 w 287"/>
                <a:gd name="T89" fmla="*/ 213 h 243"/>
                <a:gd name="T90" fmla="*/ 66 w 287"/>
                <a:gd name="T91" fmla="*/ 201 h 243"/>
                <a:gd name="T92" fmla="*/ 66 w 287"/>
                <a:gd name="T93" fmla="*/ 20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7" h="243">
                  <a:moveTo>
                    <a:pt x="66" y="201"/>
                  </a:moveTo>
                  <a:lnTo>
                    <a:pt x="70" y="206"/>
                  </a:lnTo>
                  <a:lnTo>
                    <a:pt x="93" y="204"/>
                  </a:lnTo>
                  <a:lnTo>
                    <a:pt x="118" y="201"/>
                  </a:lnTo>
                  <a:lnTo>
                    <a:pt x="132" y="195"/>
                  </a:lnTo>
                  <a:lnTo>
                    <a:pt x="135" y="197"/>
                  </a:lnTo>
                  <a:lnTo>
                    <a:pt x="157" y="188"/>
                  </a:lnTo>
                  <a:lnTo>
                    <a:pt x="162" y="201"/>
                  </a:lnTo>
                  <a:lnTo>
                    <a:pt x="176" y="219"/>
                  </a:lnTo>
                  <a:lnTo>
                    <a:pt x="176" y="229"/>
                  </a:lnTo>
                  <a:lnTo>
                    <a:pt x="191" y="243"/>
                  </a:lnTo>
                  <a:lnTo>
                    <a:pt x="199" y="238"/>
                  </a:lnTo>
                  <a:lnTo>
                    <a:pt x="212" y="224"/>
                  </a:lnTo>
                  <a:lnTo>
                    <a:pt x="223" y="222"/>
                  </a:lnTo>
                  <a:lnTo>
                    <a:pt x="230" y="229"/>
                  </a:lnTo>
                  <a:lnTo>
                    <a:pt x="233" y="224"/>
                  </a:lnTo>
                  <a:lnTo>
                    <a:pt x="253" y="224"/>
                  </a:lnTo>
                  <a:lnTo>
                    <a:pt x="263" y="224"/>
                  </a:lnTo>
                  <a:lnTo>
                    <a:pt x="263" y="222"/>
                  </a:lnTo>
                  <a:lnTo>
                    <a:pt x="281" y="217"/>
                  </a:lnTo>
                  <a:lnTo>
                    <a:pt x="283" y="217"/>
                  </a:lnTo>
                  <a:lnTo>
                    <a:pt x="283" y="215"/>
                  </a:lnTo>
                  <a:lnTo>
                    <a:pt x="283" y="204"/>
                  </a:lnTo>
                  <a:lnTo>
                    <a:pt x="283" y="194"/>
                  </a:lnTo>
                  <a:lnTo>
                    <a:pt x="283" y="172"/>
                  </a:lnTo>
                  <a:lnTo>
                    <a:pt x="287" y="162"/>
                  </a:lnTo>
                  <a:lnTo>
                    <a:pt x="281" y="142"/>
                  </a:lnTo>
                  <a:lnTo>
                    <a:pt x="285" y="133"/>
                  </a:lnTo>
                  <a:lnTo>
                    <a:pt x="283" y="133"/>
                  </a:lnTo>
                  <a:lnTo>
                    <a:pt x="276" y="128"/>
                  </a:lnTo>
                  <a:lnTo>
                    <a:pt x="263" y="131"/>
                  </a:lnTo>
                  <a:lnTo>
                    <a:pt x="256" y="140"/>
                  </a:lnTo>
                  <a:lnTo>
                    <a:pt x="249" y="137"/>
                  </a:lnTo>
                  <a:lnTo>
                    <a:pt x="249" y="110"/>
                  </a:lnTo>
                  <a:lnTo>
                    <a:pt x="256" y="103"/>
                  </a:lnTo>
                  <a:lnTo>
                    <a:pt x="256" y="103"/>
                  </a:lnTo>
                  <a:lnTo>
                    <a:pt x="253" y="100"/>
                  </a:lnTo>
                  <a:lnTo>
                    <a:pt x="253" y="98"/>
                  </a:lnTo>
                  <a:lnTo>
                    <a:pt x="249" y="96"/>
                  </a:lnTo>
                  <a:lnTo>
                    <a:pt x="249" y="96"/>
                  </a:lnTo>
                  <a:lnTo>
                    <a:pt x="246" y="96"/>
                  </a:lnTo>
                  <a:lnTo>
                    <a:pt x="244" y="98"/>
                  </a:lnTo>
                  <a:lnTo>
                    <a:pt x="240" y="98"/>
                  </a:lnTo>
                  <a:lnTo>
                    <a:pt x="205" y="98"/>
                  </a:lnTo>
                  <a:lnTo>
                    <a:pt x="199" y="80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67" y="64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53" y="41"/>
                  </a:lnTo>
                  <a:lnTo>
                    <a:pt x="144" y="36"/>
                  </a:lnTo>
                  <a:lnTo>
                    <a:pt x="134" y="27"/>
                  </a:lnTo>
                  <a:lnTo>
                    <a:pt x="103" y="16"/>
                  </a:lnTo>
                  <a:lnTo>
                    <a:pt x="75" y="0"/>
                  </a:lnTo>
                  <a:lnTo>
                    <a:pt x="71" y="18"/>
                  </a:lnTo>
                  <a:lnTo>
                    <a:pt x="63" y="30"/>
                  </a:lnTo>
                  <a:lnTo>
                    <a:pt x="47" y="32"/>
                  </a:lnTo>
                  <a:lnTo>
                    <a:pt x="57" y="37"/>
                  </a:lnTo>
                  <a:lnTo>
                    <a:pt x="55" y="48"/>
                  </a:lnTo>
                  <a:lnTo>
                    <a:pt x="57" y="53"/>
                  </a:lnTo>
                  <a:lnTo>
                    <a:pt x="39" y="53"/>
                  </a:lnTo>
                  <a:lnTo>
                    <a:pt x="27" y="59"/>
                  </a:lnTo>
                  <a:lnTo>
                    <a:pt x="18" y="64"/>
                  </a:lnTo>
                  <a:lnTo>
                    <a:pt x="16" y="78"/>
                  </a:lnTo>
                  <a:lnTo>
                    <a:pt x="9" y="89"/>
                  </a:lnTo>
                  <a:lnTo>
                    <a:pt x="9" y="101"/>
                  </a:lnTo>
                  <a:lnTo>
                    <a:pt x="15" y="121"/>
                  </a:lnTo>
                  <a:lnTo>
                    <a:pt x="7" y="137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16" y="149"/>
                  </a:lnTo>
                  <a:lnTo>
                    <a:pt x="16" y="149"/>
                  </a:lnTo>
                  <a:lnTo>
                    <a:pt x="31" y="147"/>
                  </a:lnTo>
                  <a:lnTo>
                    <a:pt x="36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3" y="147"/>
                  </a:lnTo>
                  <a:lnTo>
                    <a:pt x="47" y="151"/>
                  </a:lnTo>
                  <a:lnTo>
                    <a:pt x="43" y="153"/>
                  </a:lnTo>
                  <a:lnTo>
                    <a:pt x="39" y="156"/>
                  </a:lnTo>
                  <a:lnTo>
                    <a:pt x="39" y="156"/>
                  </a:lnTo>
                  <a:lnTo>
                    <a:pt x="34" y="156"/>
                  </a:lnTo>
                  <a:lnTo>
                    <a:pt x="31" y="156"/>
                  </a:lnTo>
                  <a:lnTo>
                    <a:pt x="29" y="158"/>
                  </a:lnTo>
                  <a:lnTo>
                    <a:pt x="27" y="160"/>
                  </a:lnTo>
                  <a:lnTo>
                    <a:pt x="27" y="163"/>
                  </a:lnTo>
                  <a:lnTo>
                    <a:pt x="29" y="165"/>
                  </a:lnTo>
                  <a:lnTo>
                    <a:pt x="29" y="165"/>
                  </a:lnTo>
                  <a:lnTo>
                    <a:pt x="52" y="213"/>
                  </a:lnTo>
                  <a:lnTo>
                    <a:pt x="55" y="206"/>
                  </a:lnTo>
                  <a:lnTo>
                    <a:pt x="66" y="201"/>
                  </a:lnTo>
                  <a:lnTo>
                    <a:pt x="66" y="201"/>
                  </a:lnTo>
                  <a:lnTo>
                    <a:pt x="66" y="201"/>
                  </a:lnTo>
                  <a:lnTo>
                    <a:pt x="66" y="20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Freeform 62"/>
            <p:cNvSpPr>
              <a:spLocks/>
            </p:cNvSpPr>
            <p:nvPr/>
          </p:nvSpPr>
          <p:spPr bwMode="auto">
            <a:xfrm>
              <a:off x="1583728" y="2805421"/>
              <a:ext cx="195099" cy="118086"/>
            </a:xfrm>
            <a:custGeom>
              <a:avLst/>
              <a:gdLst>
                <a:gd name="T0" fmla="*/ 342 w 342"/>
                <a:gd name="T1" fmla="*/ 45 h 207"/>
                <a:gd name="T2" fmla="*/ 331 w 342"/>
                <a:gd name="T3" fmla="*/ 32 h 207"/>
                <a:gd name="T4" fmla="*/ 313 w 342"/>
                <a:gd name="T5" fmla="*/ 34 h 207"/>
                <a:gd name="T6" fmla="*/ 301 w 342"/>
                <a:gd name="T7" fmla="*/ 22 h 207"/>
                <a:gd name="T8" fmla="*/ 285 w 342"/>
                <a:gd name="T9" fmla="*/ 16 h 207"/>
                <a:gd name="T10" fmla="*/ 276 w 342"/>
                <a:gd name="T11" fmla="*/ 2 h 207"/>
                <a:gd name="T12" fmla="*/ 265 w 342"/>
                <a:gd name="T13" fmla="*/ 4 h 207"/>
                <a:gd name="T14" fmla="*/ 263 w 342"/>
                <a:gd name="T15" fmla="*/ 7 h 207"/>
                <a:gd name="T16" fmla="*/ 253 w 342"/>
                <a:gd name="T17" fmla="*/ 7 h 207"/>
                <a:gd name="T18" fmla="*/ 237 w 342"/>
                <a:gd name="T19" fmla="*/ 11 h 207"/>
                <a:gd name="T20" fmla="*/ 214 w 342"/>
                <a:gd name="T21" fmla="*/ 13 h 207"/>
                <a:gd name="T22" fmla="*/ 199 w 342"/>
                <a:gd name="T23" fmla="*/ 20 h 207"/>
                <a:gd name="T24" fmla="*/ 191 w 342"/>
                <a:gd name="T25" fmla="*/ 38 h 207"/>
                <a:gd name="T26" fmla="*/ 175 w 342"/>
                <a:gd name="T27" fmla="*/ 48 h 207"/>
                <a:gd name="T28" fmla="*/ 157 w 342"/>
                <a:gd name="T29" fmla="*/ 75 h 207"/>
                <a:gd name="T30" fmla="*/ 141 w 342"/>
                <a:gd name="T31" fmla="*/ 84 h 207"/>
                <a:gd name="T32" fmla="*/ 112 w 342"/>
                <a:gd name="T33" fmla="*/ 86 h 207"/>
                <a:gd name="T34" fmla="*/ 87 w 342"/>
                <a:gd name="T35" fmla="*/ 79 h 207"/>
                <a:gd name="T36" fmla="*/ 70 w 342"/>
                <a:gd name="T37" fmla="*/ 77 h 207"/>
                <a:gd name="T38" fmla="*/ 61 w 342"/>
                <a:gd name="T39" fmla="*/ 61 h 207"/>
                <a:gd name="T40" fmla="*/ 52 w 342"/>
                <a:gd name="T41" fmla="*/ 61 h 207"/>
                <a:gd name="T42" fmla="*/ 48 w 342"/>
                <a:gd name="T43" fmla="*/ 73 h 207"/>
                <a:gd name="T44" fmla="*/ 38 w 342"/>
                <a:gd name="T45" fmla="*/ 87 h 207"/>
                <a:gd name="T46" fmla="*/ 32 w 342"/>
                <a:gd name="T47" fmla="*/ 93 h 207"/>
                <a:gd name="T48" fmla="*/ 16 w 342"/>
                <a:gd name="T49" fmla="*/ 86 h 207"/>
                <a:gd name="T50" fmla="*/ 6 w 342"/>
                <a:gd name="T51" fmla="*/ 96 h 207"/>
                <a:gd name="T52" fmla="*/ 29 w 342"/>
                <a:gd name="T53" fmla="*/ 150 h 207"/>
                <a:gd name="T54" fmla="*/ 18 w 342"/>
                <a:gd name="T55" fmla="*/ 153 h 207"/>
                <a:gd name="T56" fmla="*/ 6 w 342"/>
                <a:gd name="T57" fmla="*/ 160 h 207"/>
                <a:gd name="T58" fmla="*/ 13 w 342"/>
                <a:gd name="T59" fmla="*/ 167 h 207"/>
                <a:gd name="T60" fmla="*/ 16 w 342"/>
                <a:gd name="T61" fmla="*/ 176 h 207"/>
                <a:gd name="T62" fmla="*/ 54 w 342"/>
                <a:gd name="T63" fmla="*/ 162 h 207"/>
                <a:gd name="T64" fmla="*/ 86 w 342"/>
                <a:gd name="T65" fmla="*/ 148 h 207"/>
                <a:gd name="T66" fmla="*/ 96 w 342"/>
                <a:gd name="T67" fmla="*/ 144 h 207"/>
                <a:gd name="T68" fmla="*/ 112 w 342"/>
                <a:gd name="T69" fmla="*/ 143 h 207"/>
                <a:gd name="T70" fmla="*/ 119 w 342"/>
                <a:gd name="T71" fmla="*/ 144 h 207"/>
                <a:gd name="T72" fmla="*/ 134 w 342"/>
                <a:gd name="T73" fmla="*/ 141 h 207"/>
                <a:gd name="T74" fmla="*/ 139 w 342"/>
                <a:gd name="T75" fmla="*/ 150 h 207"/>
                <a:gd name="T76" fmla="*/ 173 w 342"/>
                <a:gd name="T77" fmla="*/ 157 h 207"/>
                <a:gd name="T78" fmla="*/ 180 w 342"/>
                <a:gd name="T79" fmla="*/ 180 h 207"/>
                <a:gd name="T80" fmla="*/ 192 w 342"/>
                <a:gd name="T81" fmla="*/ 187 h 207"/>
                <a:gd name="T82" fmla="*/ 214 w 342"/>
                <a:gd name="T83" fmla="*/ 194 h 207"/>
                <a:gd name="T84" fmla="*/ 240 w 342"/>
                <a:gd name="T85" fmla="*/ 196 h 207"/>
                <a:gd name="T86" fmla="*/ 260 w 342"/>
                <a:gd name="T87" fmla="*/ 199 h 207"/>
                <a:gd name="T88" fmla="*/ 274 w 342"/>
                <a:gd name="T89" fmla="*/ 207 h 207"/>
                <a:gd name="T90" fmla="*/ 283 w 342"/>
                <a:gd name="T91" fmla="*/ 201 h 207"/>
                <a:gd name="T92" fmla="*/ 297 w 342"/>
                <a:gd name="T93" fmla="*/ 196 h 207"/>
                <a:gd name="T94" fmla="*/ 310 w 342"/>
                <a:gd name="T95" fmla="*/ 180 h 207"/>
                <a:gd name="T96" fmla="*/ 310 w 342"/>
                <a:gd name="T97" fmla="*/ 169 h 207"/>
                <a:gd name="T98" fmla="*/ 299 w 342"/>
                <a:gd name="T99" fmla="*/ 155 h 207"/>
                <a:gd name="T100" fmla="*/ 297 w 342"/>
                <a:gd name="T101" fmla="*/ 137 h 207"/>
                <a:gd name="T102" fmla="*/ 310 w 342"/>
                <a:gd name="T103" fmla="*/ 119 h 207"/>
                <a:gd name="T104" fmla="*/ 315 w 342"/>
                <a:gd name="T105" fmla="*/ 105 h 207"/>
                <a:gd name="T106" fmla="*/ 331 w 342"/>
                <a:gd name="T107" fmla="*/ 96 h 207"/>
                <a:gd name="T108" fmla="*/ 335 w 342"/>
                <a:gd name="T109" fmla="*/ 5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2" h="207">
                  <a:moveTo>
                    <a:pt x="335" y="59"/>
                  </a:moveTo>
                  <a:lnTo>
                    <a:pt x="333" y="54"/>
                  </a:lnTo>
                  <a:lnTo>
                    <a:pt x="336" y="45"/>
                  </a:lnTo>
                  <a:lnTo>
                    <a:pt x="342" y="47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38" y="39"/>
                  </a:lnTo>
                  <a:lnTo>
                    <a:pt x="333" y="34"/>
                  </a:lnTo>
                  <a:lnTo>
                    <a:pt x="333" y="34"/>
                  </a:lnTo>
                  <a:lnTo>
                    <a:pt x="331" y="32"/>
                  </a:lnTo>
                  <a:lnTo>
                    <a:pt x="326" y="32"/>
                  </a:lnTo>
                  <a:lnTo>
                    <a:pt x="322" y="36"/>
                  </a:lnTo>
                  <a:lnTo>
                    <a:pt x="322" y="36"/>
                  </a:lnTo>
                  <a:lnTo>
                    <a:pt x="317" y="36"/>
                  </a:lnTo>
                  <a:lnTo>
                    <a:pt x="313" y="34"/>
                  </a:lnTo>
                  <a:lnTo>
                    <a:pt x="313" y="32"/>
                  </a:lnTo>
                  <a:lnTo>
                    <a:pt x="313" y="32"/>
                  </a:lnTo>
                  <a:lnTo>
                    <a:pt x="311" y="32"/>
                  </a:lnTo>
                  <a:lnTo>
                    <a:pt x="310" y="27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295" y="20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85" y="16"/>
                  </a:lnTo>
                  <a:lnTo>
                    <a:pt x="285" y="13"/>
                  </a:lnTo>
                  <a:lnTo>
                    <a:pt x="283" y="7"/>
                  </a:lnTo>
                  <a:lnTo>
                    <a:pt x="283" y="7"/>
                  </a:lnTo>
                  <a:lnTo>
                    <a:pt x="279" y="6"/>
                  </a:lnTo>
                  <a:lnTo>
                    <a:pt x="276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271" y="0"/>
                  </a:lnTo>
                  <a:lnTo>
                    <a:pt x="269" y="0"/>
                  </a:lnTo>
                  <a:lnTo>
                    <a:pt x="265" y="4"/>
                  </a:lnTo>
                  <a:lnTo>
                    <a:pt x="265" y="4"/>
                  </a:lnTo>
                  <a:lnTo>
                    <a:pt x="265" y="4"/>
                  </a:lnTo>
                  <a:lnTo>
                    <a:pt x="263" y="4"/>
                  </a:lnTo>
                  <a:lnTo>
                    <a:pt x="263" y="7"/>
                  </a:lnTo>
                  <a:lnTo>
                    <a:pt x="263" y="7"/>
                  </a:lnTo>
                  <a:lnTo>
                    <a:pt x="260" y="7"/>
                  </a:lnTo>
                  <a:lnTo>
                    <a:pt x="260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3" y="7"/>
                  </a:lnTo>
                  <a:lnTo>
                    <a:pt x="249" y="7"/>
                  </a:lnTo>
                  <a:lnTo>
                    <a:pt x="244" y="7"/>
                  </a:lnTo>
                  <a:lnTo>
                    <a:pt x="240" y="11"/>
                  </a:lnTo>
                  <a:lnTo>
                    <a:pt x="240" y="11"/>
                  </a:lnTo>
                  <a:lnTo>
                    <a:pt x="237" y="11"/>
                  </a:lnTo>
                  <a:lnTo>
                    <a:pt x="233" y="13"/>
                  </a:lnTo>
                  <a:lnTo>
                    <a:pt x="230" y="13"/>
                  </a:lnTo>
                  <a:lnTo>
                    <a:pt x="224" y="13"/>
                  </a:lnTo>
                  <a:lnTo>
                    <a:pt x="224" y="13"/>
                  </a:lnTo>
                  <a:lnTo>
                    <a:pt x="214" y="13"/>
                  </a:lnTo>
                  <a:lnTo>
                    <a:pt x="203" y="15"/>
                  </a:lnTo>
                  <a:lnTo>
                    <a:pt x="203" y="15"/>
                  </a:lnTo>
                  <a:lnTo>
                    <a:pt x="201" y="16"/>
                  </a:lnTo>
                  <a:lnTo>
                    <a:pt x="199" y="16"/>
                  </a:lnTo>
                  <a:lnTo>
                    <a:pt x="199" y="20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6" y="36"/>
                  </a:lnTo>
                  <a:lnTo>
                    <a:pt x="192" y="36"/>
                  </a:lnTo>
                  <a:lnTo>
                    <a:pt x="191" y="38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0" y="39"/>
                  </a:lnTo>
                  <a:lnTo>
                    <a:pt x="178" y="43"/>
                  </a:lnTo>
                  <a:lnTo>
                    <a:pt x="175" y="48"/>
                  </a:lnTo>
                  <a:lnTo>
                    <a:pt x="171" y="59"/>
                  </a:lnTo>
                  <a:lnTo>
                    <a:pt x="167" y="64"/>
                  </a:lnTo>
                  <a:lnTo>
                    <a:pt x="167" y="64"/>
                  </a:lnTo>
                  <a:lnTo>
                    <a:pt x="162" y="70"/>
                  </a:lnTo>
                  <a:lnTo>
                    <a:pt x="157" y="75"/>
                  </a:lnTo>
                  <a:lnTo>
                    <a:pt x="150" y="79"/>
                  </a:lnTo>
                  <a:lnTo>
                    <a:pt x="146" y="82"/>
                  </a:lnTo>
                  <a:lnTo>
                    <a:pt x="146" y="82"/>
                  </a:lnTo>
                  <a:lnTo>
                    <a:pt x="143" y="84"/>
                  </a:lnTo>
                  <a:lnTo>
                    <a:pt x="141" y="84"/>
                  </a:lnTo>
                  <a:lnTo>
                    <a:pt x="135" y="86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16" y="87"/>
                  </a:lnTo>
                  <a:lnTo>
                    <a:pt x="112" y="86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98" y="80"/>
                  </a:lnTo>
                  <a:lnTo>
                    <a:pt x="96" y="80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1" y="77"/>
                  </a:lnTo>
                  <a:lnTo>
                    <a:pt x="70" y="77"/>
                  </a:lnTo>
                  <a:lnTo>
                    <a:pt x="70" y="68"/>
                  </a:lnTo>
                  <a:lnTo>
                    <a:pt x="68" y="61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59" y="61"/>
                  </a:lnTo>
                  <a:lnTo>
                    <a:pt x="55" y="61"/>
                  </a:lnTo>
                  <a:lnTo>
                    <a:pt x="54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0" y="68"/>
                  </a:lnTo>
                  <a:lnTo>
                    <a:pt x="48" y="70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7" y="80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1" y="86"/>
                  </a:lnTo>
                  <a:lnTo>
                    <a:pt x="38" y="87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2" y="93"/>
                  </a:lnTo>
                  <a:lnTo>
                    <a:pt x="31" y="93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0" y="87"/>
                  </a:lnTo>
                  <a:lnTo>
                    <a:pt x="0" y="89"/>
                  </a:lnTo>
                  <a:lnTo>
                    <a:pt x="6" y="96"/>
                  </a:lnTo>
                  <a:lnTo>
                    <a:pt x="6" y="114"/>
                  </a:lnTo>
                  <a:lnTo>
                    <a:pt x="22" y="143"/>
                  </a:lnTo>
                  <a:lnTo>
                    <a:pt x="22" y="143"/>
                  </a:lnTo>
                  <a:lnTo>
                    <a:pt x="27" y="146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7" y="153"/>
                  </a:lnTo>
                  <a:lnTo>
                    <a:pt x="25" y="153"/>
                  </a:lnTo>
                  <a:lnTo>
                    <a:pt x="25" y="153"/>
                  </a:lnTo>
                  <a:lnTo>
                    <a:pt x="18" y="153"/>
                  </a:lnTo>
                  <a:lnTo>
                    <a:pt x="15" y="150"/>
                  </a:lnTo>
                  <a:lnTo>
                    <a:pt x="13" y="148"/>
                  </a:lnTo>
                  <a:lnTo>
                    <a:pt x="13" y="148"/>
                  </a:lnTo>
                  <a:lnTo>
                    <a:pt x="6" y="160"/>
                  </a:lnTo>
                  <a:lnTo>
                    <a:pt x="6" y="160"/>
                  </a:lnTo>
                  <a:lnTo>
                    <a:pt x="6" y="160"/>
                  </a:lnTo>
                  <a:lnTo>
                    <a:pt x="9" y="160"/>
                  </a:lnTo>
                  <a:lnTo>
                    <a:pt x="11" y="162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76"/>
                  </a:lnTo>
                  <a:lnTo>
                    <a:pt x="13" y="176"/>
                  </a:lnTo>
                  <a:lnTo>
                    <a:pt x="15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25" y="171"/>
                  </a:lnTo>
                  <a:lnTo>
                    <a:pt x="32" y="169"/>
                  </a:lnTo>
                  <a:lnTo>
                    <a:pt x="32" y="169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70" y="159"/>
                  </a:lnTo>
                  <a:lnTo>
                    <a:pt x="70" y="159"/>
                  </a:lnTo>
                  <a:lnTo>
                    <a:pt x="73" y="157"/>
                  </a:lnTo>
                  <a:lnTo>
                    <a:pt x="77" y="155"/>
                  </a:lnTo>
                  <a:lnTo>
                    <a:pt x="86" y="148"/>
                  </a:lnTo>
                  <a:lnTo>
                    <a:pt x="86" y="148"/>
                  </a:lnTo>
                  <a:lnTo>
                    <a:pt x="93" y="146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100" y="146"/>
                  </a:lnTo>
                  <a:lnTo>
                    <a:pt x="107" y="144"/>
                  </a:lnTo>
                  <a:lnTo>
                    <a:pt x="111" y="144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1" y="139"/>
                  </a:lnTo>
                  <a:lnTo>
                    <a:pt x="112" y="137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9" y="144"/>
                  </a:lnTo>
                  <a:lnTo>
                    <a:pt x="121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30" y="143"/>
                  </a:lnTo>
                  <a:lnTo>
                    <a:pt x="134" y="141"/>
                  </a:lnTo>
                  <a:lnTo>
                    <a:pt x="134" y="143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5" y="146"/>
                  </a:lnTo>
                  <a:lnTo>
                    <a:pt x="139" y="150"/>
                  </a:lnTo>
                  <a:lnTo>
                    <a:pt x="143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64" y="157"/>
                  </a:lnTo>
                  <a:lnTo>
                    <a:pt x="173" y="157"/>
                  </a:lnTo>
                  <a:lnTo>
                    <a:pt x="175" y="159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8" y="171"/>
                  </a:lnTo>
                  <a:lnTo>
                    <a:pt x="180" y="180"/>
                  </a:lnTo>
                  <a:lnTo>
                    <a:pt x="182" y="183"/>
                  </a:lnTo>
                  <a:lnTo>
                    <a:pt x="182" y="183"/>
                  </a:lnTo>
                  <a:lnTo>
                    <a:pt x="187" y="185"/>
                  </a:lnTo>
                  <a:lnTo>
                    <a:pt x="192" y="187"/>
                  </a:lnTo>
                  <a:lnTo>
                    <a:pt x="192" y="187"/>
                  </a:lnTo>
                  <a:lnTo>
                    <a:pt x="199" y="191"/>
                  </a:lnTo>
                  <a:lnTo>
                    <a:pt x="203" y="194"/>
                  </a:lnTo>
                  <a:lnTo>
                    <a:pt x="210" y="194"/>
                  </a:lnTo>
                  <a:lnTo>
                    <a:pt x="210" y="194"/>
                  </a:lnTo>
                  <a:lnTo>
                    <a:pt x="214" y="194"/>
                  </a:lnTo>
                  <a:lnTo>
                    <a:pt x="217" y="191"/>
                  </a:lnTo>
                  <a:lnTo>
                    <a:pt x="221" y="191"/>
                  </a:lnTo>
                  <a:lnTo>
                    <a:pt x="224" y="191"/>
                  </a:lnTo>
                  <a:lnTo>
                    <a:pt x="224" y="191"/>
                  </a:lnTo>
                  <a:lnTo>
                    <a:pt x="240" y="196"/>
                  </a:lnTo>
                  <a:lnTo>
                    <a:pt x="240" y="196"/>
                  </a:lnTo>
                  <a:lnTo>
                    <a:pt x="244" y="198"/>
                  </a:lnTo>
                  <a:lnTo>
                    <a:pt x="251" y="199"/>
                  </a:lnTo>
                  <a:lnTo>
                    <a:pt x="256" y="199"/>
                  </a:lnTo>
                  <a:lnTo>
                    <a:pt x="260" y="199"/>
                  </a:lnTo>
                  <a:lnTo>
                    <a:pt x="260" y="199"/>
                  </a:lnTo>
                  <a:lnTo>
                    <a:pt x="263" y="201"/>
                  </a:lnTo>
                  <a:lnTo>
                    <a:pt x="269" y="203"/>
                  </a:lnTo>
                  <a:lnTo>
                    <a:pt x="271" y="205"/>
                  </a:lnTo>
                  <a:lnTo>
                    <a:pt x="274" y="207"/>
                  </a:lnTo>
                  <a:lnTo>
                    <a:pt x="274" y="207"/>
                  </a:lnTo>
                  <a:lnTo>
                    <a:pt x="276" y="205"/>
                  </a:lnTo>
                  <a:lnTo>
                    <a:pt x="276" y="205"/>
                  </a:lnTo>
                  <a:lnTo>
                    <a:pt x="281" y="203"/>
                  </a:lnTo>
                  <a:lnTo>
                    <a:pt x="283" y="201"/>
                  </a:lnTo>
                  <a:lnTo>
                    <a:pt x="285" y="199"/>
                  </a:lnTo>
                  <a:lnTo>
                    <a:pt x="290" y="198"/>
                  </a:lnTo>
                  <a:lnTo>
                    <a:pt x="290" y="198"/>
                  </a:lnTo>
                  <a:lnTo>
                    <a:pt x="294" y="198"/>
                  </a:lnTo>
                  <a:lnTo>
                    <a:pt x="297" y="196"/>
                  </a:lnTo>
                  <a:lnTo>
                    <a:pt x="299" y="196"/>
                  </a:lnTo>
                  <a:lnTo>
                    <a:pt x="299" y="196"/>
                  </a:lnTo>
                  <a:lnTo>
                    <a:pt x="304" y="187"/>
                  </a:lnTo>
                  <a:lnTo>
                    <a:pt x="306" y="183"/>
                  </a:lnTo>
                  <a:lnTo>
                    <a:pt x="310" y="180"/>
                  </a:lnTo>
                  <a:lnTo>
                    <a:pt x="310" y="180"/>
                  </a:lnTo>
                  <a:lnTo>
                    <a:pt x="311" y="175"/>
                  </a:lnTo>
                  <a:lnTo>
                    <a:pt x="311" y="171"/>
                  </a:lnTo>
                  <a:lnTo>
                    <a:pt x="310" y="169"/>
                  </a:lnTo>
                  <a:lnTo>
                    <a:pt x="310" y="169"/>
                  </a:lnTo>
                  <a:lnTo>
                    <a:pt x="301" y="162"/>
                  </a:lnTo>
                  <a:lnTo>
                    <a:pt x="299" y="159"/>
                  </a:lnTo>
                  <a:lnTo>
                    <a:pt x="299" y="157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301" y="153"/>
                  </a:lnTo>
                  <a:lnTo>
                    <a:pt x="299" y="150"/>
                  </a:lnTo>
                  <a:lnTo>
                    <a:pt x="297" y="144"/>
                  </a:lnTo>
                  <a:lnTo>
                    <a:pt x="297" y="144"/>
                  </a:lnTo>
                  <a:lnTo>
                    <a:pt x="297" y="13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4" y="123"/>
                  </a:lnTo>
                  <a:lnTo>
                    <a:pt x="310" y="119"/>
                  </a:lnTo>
                  <a:lnTo>
                    <a:pt x="310" y="119"/>
                  </a:lnTo>
                  <a:lnTo>
                    <a:pt x="311" y="116"/>
                  </a:lnTo>
                  <a:lnTo>
                    <a:pt x="313" y="112"/>
                  </a:lnTo>
                  <a:lnTo>
                    <a:pt x="313" y="107"/>
                  </a:lnTo>
                  <a:lnTo>
                    <a:pt x="315" y="105"/>
                  </a:lnTo>
                  <a:lnTo>
                    <a:pt x="315" y="105"/>
                  </a:lnTo>
                  <a:lnTo>
                    <a:pt x="317" y="103"/>
                  </a:lnTo>
                  <a:lnTo>
                    <a:pt x="322" y="102"/>
                  </a:lnTo>
                  <a:lnTo>
                    <a:pt x="326" y="100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1" y="89"/>
                  </a:lnTo>
                  <a:lnTo>
                    <a:pt x="331" y="87"/>
                  </a:lnTo>
                  <a:lnTo>
                    <a:pt x="331" y="84"/>
                  </a:lnTo>
                  <a:lnTo>
                    <a:pt x="326" y="70"/>
                  </a:lnTo>
                  <a:lnTo>
                    <a:pt x="335" y="59"/>
                  </a:lnTo>
                  <a:lnTo>
                    <a:pt x="335" y="59"/>
                  </a:lnTo>
                  <a:lnTo>
                    <a:pt x="335" y="59"/>
                  </a:lnTo>
                  <a:lnTo>
                    <a:pt x="335" y="5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Freeform 63"/>
            <p:cNvSpPr>
              <a:spLocks/>
            </p:cNvSpPr>
            <p:nvPr/>
          </p:nvSpPr>
          <p:spPr bwMode="auto">
            <a:xfrm>
              <a:off x="1489601" y="2816830"/>
              <a:ext cx="110670" cy="105536"/>
            </a:xfrm>
            <a:custGeom>
              <a:avLst/>
              <a:gdLst>
                <a:gd name="T0" fmla="*/ 178 w 194"/>
                <a:gd name="T1" fmla="*/ 128 h 185"/>
                <a:gd name="T2" fmla="*/ 183 w 194"/>
                <a:gd name="T3" fmla="*/ 133 h 185"/>
                <a:gd name="T4" fmla="*/ 192 w 194"/>
                <a:gd name="T5" fmla="*/ 133 h 185"/>
                <a:gd name="T6" fmla="*/ 192 w 194"/>
                <a:gd name="T7" fmla="*/ 126 h 185"/>
                <a:gd name="T8" fmla="*/ 171 w 194"/>
                <a:gd name="T9" fmla="*/ 76 h 185"/>
                <a:gd name="T10" fmla="*/ 158 w 194"/>
                <a:gd name="T11" fmla="*/ 75 h 185"/>
                <a:gd name="T12" fmla="*/ 137 w 194"/>
                <a:gd name="T13" fmla="*/ 64 h 185"/>
                <a:gd name="T14" fmla="*/ 146 w 194"/>
                <a:gd name="T15" fmla="*/ 39 h 185"/>
                <a:gd name="T16" fmla="*/ 160 w 194"/>
                <a:gd name="T17" fmla="*/ 25 h 185"/>
                <a:gd name="T18" fmla="*/ 153 w 194"/>
                <a:gd name="T19" fmla="*/ 16 h 185"/>
                <a:gd name="T20" fmla="*/ 133 w 194"/>
                <a:gd name="T21" fmla="*/ 12 h 185"/>
                <a:gd name="T22" fmla="*/ 117 w 194"/>
                <a:gd name="T23" fmla="*/ 0 h 185"/>
                <a:gd name="T24" fmla="*/ 101 w 194"/>
                <a:gd name="T25" fmla="*/ 3 h 185"/>
                <a:gd name="T26" fmla="*/ 100 w 194"/>
                <a:gd name="T27" fmla="*/ 7 h 185"/>
                <a:gd name="T28" fmla="*/ 100 w 194"/>
                <a:gd name="T29" fmla="*/ 23 h 185"/>
                <a:gd name="T30" fmla="*/ 98 w 194"/>
                <a:gd name="T31" fmla="*/ 25 h 185"/>
                <a:gd name="T32" fmla="*/ 78 w 194"/>
                <a:gd name="T33" fmla="*/ 23 h 185"/>
                <a:gd name="T34" fmla="*/ 73 w 194"/>
                <a:gd name="T35" fmla="*/ 27 h 185"/>
                <a:gd name="T36" fmla="*/ 64 w 194"/>
                <a:gd name="T37" fmla="*/ 37 h 185"/>
                <a:gd name="T38" fmla="*/ 30 w 194"/>
                <a:gd name="T39" fmla="*/ 46 h 185"/>
                <a:gd name="T40" fmla="*/ 14 w 194"/>
                <a:gd name="T41" fmla="*/ 53 h 185"/>
                <a:gd name="T42" fmla="*/ 18 w 194"/>
                <a:gd name="T43" fmla="*/ 75 h 185"/>
                <a:gd name="T44" fmla="*/ 18 w 194"/>
                <a:gd name="T45" fmla="*/ 76 h 185"/>
                <a:gd name="T46" fmla="*/ 0 w 194"/>
                <a:gd name="T47" fmla="*/ 83 h 185"/>
                <a:gd name="T48" fmla="*/ 2 w 194"/>
                <a:gd name="T49" fmla="*/ 96 h 185"/>
                <a:gd name="T50" fmla="*/ 7 w 194"/>
                <a:gd name="T51" fmla="*/ 105 h 185"/>
                <a:gd name="T52" fmla="*/ 14 w 194"/>
                <a:gd name="T53" fmla="*/ 110 h 185"/>
                <a:gd name="T54" fmla="*/ 21 w 194"/>
                <a:gd name="T55" fmla="*/ 121 h 185"/>
                <a:gd name="T56" fmla="*/ 23 w 194"/>
                <a:gd name="T57" fmla="*/ 135 h 185"/>
                <a:gd name="T58" fmla="*/ 27 w 194"/>
                <a:gd name="T59" fmla="*/ 140 h 185"/>
                <a:gd name="T60" fmla="*/ 30 w 194"/>
                <a:gd name="T61" fmla="*/ 146 h 185"/>
                <a:gd name="T62" fmla="*/ 48 w 194"/>
                <a:gd name="T63" fmla="*/ 155 h 185"/>
                <a:gd name="T64" fmla="*/ 53 w 194"/>
                <a:gd name="T65" fmla="*/ 156 h 185"/>
                <a:gd name="T66" fmla="*/ 69 w 194"/>
                <a:gd name="T67" fmla="*/ 149 h 185"/>
                <a:gd name="T68" fmla="*/ 76 w 194"/>
                <a:gd name="T69" fmla="*/ 147 h 185"/>
                <a:gd name="T70" fmla="*/ 76 w 194"/>
                <a:gd name="T71" fmla="*/ 149 h 185"/>
                <a:gd name="T72" fmla="*/ 78 w 194"/>
                <a:gd name="T73" fmla="*/ 162 h 185"/>
                <a:gd name="T74" fmla="*/ 82 w 194"/>
                <a:gd name="T75" fmla="*/ 171 h 185"/>
                <a:gd name="T76" fmla="*/ 91 w 194"/>
                <a:gd name="T77" fmla="*/ 179 h 185"/>
                <a:gd name="T78" fmla="*/ 98 w 194"/>
                <a:gd name="T79" fmla="*/ 185 h 185"/>
                <a:gd name="T80" fmla="*/ 110 w 194"/>
                <a:gd name="T81" fmla="*/ 183 h 185"/>
                <a:gd name="T82" fmla="*/ 119 w 194"/>
                <a:gd name="T83" fmla="*/ 179 h 185"/>
                <a:gd name="T84" fmla="*/ 123 w 194"/>
                <a:gd name="T85" fmla="*/ 171 h 185"/>
                <a:gd name="T86" fmla="*/ 142 w 194"/>
                <a:gd name="T87" fmla="*/ 174 h 185"/>
                <a:gd name="T88" fmla="*/ 160 w 194"/>
                <a:gd name="T89" fmla="*/ 174 h 185"/>
                <a:gd name="T90" fmla="*/ 171 w 194"/>
                <a:gd name="T91" fmla="*/ 169 h 185"/>
                <a:gd name="T92" fmla="*/ 176 w 194"/>
                <a:gd name="T93" fmla="*/ 167 h 185"/>
                <a:gd name="T94" fmla="*/ 178 w 194"/>
                <a:gd name="T95" fmla="*/ 156 h 185"/>
                <a:gd name="T96" fmla="*/ 176 w 194"/>
                <a:gd name="T97" fmla="*/ 142 h 185"/>
                <a:gd name="T98" fmla="*/ 171 w 194"/>
                <a:gd name="T99" fmla="*/ 140 h 185"/>
                <a:gd name="T100" fmla="*/ 171 w 194"/>
                <a:gd name="T101" fmla="*/ 14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" h="185">
                  <a:moveTo>
                    <a:pt x="171" y="140"/>
                  </a:moveTo>
                  <a:lnTo>
                    <a:pt x="178" y="128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80" y="130"/>
                  </a:lnTo>
                  <a:lnTo>
                    <a:pt x="183" y="133"/>
                  </a:lnTo>
                  <a:lnTo>
                    <a:pt x="190" y="133"/>
                  </a:lnTo>
                  <a:lnTo>
                    <a:pt x="190" y="133"/>
                  </a:lnTo>
                  <a:lnTo>
                    <a:pt x="192" y="133"/>
                  </a:lnTo>
                  <a:lnTo>
                    <a:pt x="194" y="130"/>
                  </a:lnTo>
                  <a:lnTo>
                    <a:pt x="194" y="130"/>
                  </a:lnTo>
                  <a:lnTo>
                    <a:pt x="192" y="126"/>
                  </a:lnTo>
                  <a:lnTo>
                    <a:pt x="187" y="123"/>
                  </a:lnTo>
                  <a:lnTo>
                    <a:pt x="171" y="94"/>
                  </a:lnTo>
                  <a:lnTo>
                    <a:pt x="171" y="76"/>
                  </a:lnTo>
                  <a:lnTo>
                    <a:pt x="165" y="69"/>
                  </a:lnTo>
                  <a:lnTo>
                    <a:pt x="165" y="67"/>
                  </a:lnTo>
                  <a:lnTo>
                    <a:pt x="158" y="75"/>
                  </a:lnTo>
                  <a:lnTo>
                    <a:pt x="155" y="75"/>
                  </a:lnTo>
                  <a:lnTo>
                    <a:pt x="146" y="76"/>
                  </a:lnTo>
                  <a:lnTo>
                    <a:pt x="137" y="64"/>
                  </a:lnTo>
                  <a:lnTo>
                    <a:pt x="144" y="53"/>
                  </a:lnTo>
                  <a:lnTo>
                    <a:pt x="140" y="50"/>
                  </a:lnTo>
                  <a:lnTo>
                    <a:pt x="146" y="39"/>
                  </a:lnTo>
                  <a:lnTo>
                    <a:pt x="156" y="34"/>
                  </a:lnTo>
                  <a:lnTo>
                    <a:pt x="165" y="28"/>
                  </a:lnTo>
                  <a:lnTo>
                    <a:pt x="160" y="25"/>
                  </a:lnTo>
                  <a:lnTo>
                    <a:pt x="158" y="19"/>
                  </a:lnTo>
                  <a:lnTo>
                    <a:pt x="158" y="19"/>
                  </a:lnTo>
                  <a:lnTo>
                    <a:pt x="153" y="16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33" y="12"/>
                  </a:lnTo>
                  <a:lnTo>
                    <a:pt x="124" y="5"/>
                  </a:lnTo>
                  <a:lnTo>
                    <a:pt x="121" y="3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0" y="2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0" y="5"/>
                  </a:lnTo>
                  <a:lnTo>
                    <a:pt x="100" y="7"/>
                  </a:lnTo>
                  <a:lnTo>
                    <a:pt x="100" y="12"/>
                  </a:lnTo>
                  <a:lnTo>
                    <a:pt x="101" y="19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98" y="25"/>
                  </a:lnTo>
                  <a:lnTo>
                    <a:pt x="96" y="25"/>
                  </a:lnTo>
                  <a:lnTo>
                    <a:pt x="91" y="25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3" y="27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4" y="37"/>
                  </a:lnTo>
                  <a:lnTo>
                    <a:pt x="60" y="39"/>
                  </a:lnTo>
                  <a:lnTo>
                    <a:pt x="52" y="43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3" y="48"/>
                  </a:lnTo>
                  <a:lnTo>
                    <a:pt x="14" y="53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6" y="80"/>
                  </a:lnTo>
                  <a:lnTo>
                    <a:pt x="12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101"/>
                  </a:lnTo>
                  <a:lnTo>
                    <a:pt x="5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11" y="107"/>
                  </a:lnTo>
                  <a:lnTo>
                    <a:pt x="14" y="110"/>
                  </a:lnTo>
                  <a:lnTo>
                    <a:pt x="18" y="117"/>
                  </a:lnTo>
                  <a:lnTo>
                    <a:pt x="21" y="121"/>
                  </a:lnTo>
                  <a:lnTo>
                    <a:pt x="21" y="121"/>
                  </a:lnTo>
                  <a:lnTo>
                    <a:pt x="21" y="126"/>
                  </a:lnTo>
                  <a:lnTo>
                    <a:pt x="21" y="130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7" y="139"/>
                  </a:lnTo>
                  <a:lnTo>
                    <a:pt x="27" y="140"/>
                  </a:lnTo>
                  <a:lnTo>
                    <a:pt x="28" y="144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36" y="147"/>
                  </a:lnTo>
                  <a:lnTo>
                    <a:pt x="41" y="149"/>
                  </a:lnTo>
                  <a:lnTo>
                    <a:pt x="48" y="155"/>
                  </a:lnTo>
                  <a:lnTo>
                    <a:pt x="50" y="155"/>
                  </a:lnTo>
                  <a:lnTo>
                    <a:pt x="53" y="156"/>
                  </a:lnTo>
                  <a:lnTo>
                    <a:pt x="53" y="156"/>
                  </a:lnTo>
                  <a:lnTo>
                    <a:pt x="57" y="155"/>
                  </a:lnTo>
                  <a:lnTo>
                    <a:pt x="60" y="151"/>
                  </a:lnTo>
                  <a:lnTo>
                    <a:pt x="69" y="149"/>
                  </a:lnTo>
                  <a:lnTo>
                    <a:pt x="69" y="149"/>
                  </a:lnTo>
                  <a:lnTo>
                    <a:pt x="75" y="146"/>
                  </a:lnTo>
                  <a:lnTo>
                    <a:pt x="76" y="147"/>
                  </a:lnTo>
                  <a:lnTo>
                    <a:pt x="76" y="147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6" y="155"/>
                  </a:lnTo>
                  <a:lnTo>
                    <a:pt x="76" y="158"/>
                  </a:lnTo>
                  <a:lnTo>
                    <a:pt x="78" y="162"/>
                  </a:lnTo>
                  <a:lnTo>
                    <a:pt x="80" y="167"/>
                  </a:lnTo>
                  <a:lnTo>
                    <a:pt x="80" y="167"/>
                  </a:lnTo>
                  <a:lnTo>
                    <a:pt x="82" y="171"/>
                  </a:lnTo>
                  <a:lnTo>
                    <a:pt x="87" y="174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2" y="183"/>
                  </a:lnTo>
                  <a:lnTo>
                    <a:pt x="94" y="183"/>
                  </a:lnTo>
                  <a:lnTo>
                    <a:pt x="98" y="185"/>
                  </a:lnTo>
                  <a:lnTo>
                    <a:pt x="100" y="185"/>
                  </a:lnTo>
                  <a:lnTo>
                    <a:pt x="100" y="185"/>
                  </a:lnTo>
                  <a:lnTo>
                    <a:pt x="110" y="183"/>
                  </a:lnTo>
                  <a:lnTo>
                    <a:pt x="116" y="183"/>
                  </a:lnTo>
                  <a:lnTo>
                    <a:pt x="119" y="179"/>
                  </a:lnTo>
                  <a:lnTo>
                    <a:pt x="119" y="179"/>
                  </a:lnTo>
                  <a:lnTo>
                    <a:pt x="121" y="176"/>
                  </a:lnTo>
                  <a:lnTo>
                    <a:pt x="123" y="174"/>
                  </a:lnTo>
                  <a:lnTo>
                    <a:pt x="123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42" y="174"/>
                  </a:lnTo>
                  <a:lnTo>
                    <a:pt x="155" y="176"/>
                  </a:lnTo>
                  <a:lnTo>
                    <a:pt x="155" y="176"/>
                  </a:lnTo>
                  <a:lnTo>
                    <a:pt x="160" y="174"/>
                  </a:lnTo>
                  <a:lnTo>
                    <a:pt x="165" y="171"/>
                  </a:lnTo>
                  <a:lnTo>
                    <a:pt x="165" y="171"/>
                  </a:lnTo>
                  <a:lnTo>
                    <a:pt x="171" y="169"/>
                  </a:lnTo>
                  <a:lnTo>
                    <a:pt x="174" y="167"/>
                  </a:lnTo>
                  <a:lnTo>
                    <a:pt x="176" y="167"/>
                  </a:lnTo>
                  <a:lnTo>
                    <a:pt x="176" y="167"/>
                  </a:lnTo>
                  <a:lnTo>
                    <a:pt x="178" y="162"/>
                  </a:lnTo>
                  <a:lnTo>
                    <a:pt x="178" y="156"/>
                  </a:lnTo>
                  <a:lnTo>
                    <a:pt x="178" y="156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76" y="142"/>
                  </a:lnTo>
                  <a:lnTo>
                    <a:pt x="174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Freeform 64"/>
            <p:cNvSpPr>
              <a:spLocks/>
            </p:cNvSpPr>
            <p:nvPr/>
          </p:nvSpPr>
          <p:spPr bwMode="auto">
            <a:xfrm>
              <a:off x="1567755" y="2739818"/>
              <a:ext cx="82147" cy="120368"/>
            </a:xfrm>
            <a:custGeom>
              <a:avLst/>
              <a:gdLst>
                <a:gd name="T0" fmla="*/ 103 w 144"/>
                <a:gd name="T1" fmla="*/ 162 h 211"/>
                <a:gd name="T2" fmla="*/ 115 w 144"/>
                <a:gd name="T3" fmla="*/ 153 h 211"/>
                <a:gd name="T4" fmla="*/ 124 w 144"/>
                <a:gd name="T5" fmla="*/ 147 h 211"/>
                <a:gd name="T6" fmla="*/ 128 w 144"/>
                <a:gd name="T7" fmla="*/ 135 h 211"/>
                <a:gd name="T8" fmla="*/ 133 w 144"/>
                <a:gd name="T9" fmla="*/ 131 h 211"/>
                <a:gd name="T10" fmla="*/ 139 w 144"/>
                <a:gd name="T11" fmla="*/ 130 h 211"/>
                <a:gd name="T12" fmla="*/ 142 w 144"/>
                <a:gd name="T13" fmla="*/ 128 h 211"/>
                <a:gd name="T14" fmla="*/ 144 w 144"/>
                <a:gd name="T15" fmla="*/ 121 h 211"/>
                <a:gd name="T16" fmla="*/ 140 w 144"/>
                <a:gd name="T17" fmla="*/ 115 h 211"/>
                <a:gd name="T18" fmla="*/ 139 w 144"/>
                <a:gd name="T19" fmla="*/ 112 h 211"/>
                <a:gd name="T20" fmla="*/ 133 w 144"/>
                <a:gd name="T21" fmla="*/ 94 h 211"/>
                <a:gd name="T22" fmla="*/ 133 w 144"/>
                <a:gd name="T23" fmla="*/ 90 h 211"/>
                <a:gd name="T24" fmla="*/ 135 w 144"/>
                <a:gd name="T25" fmla="*/ 82 h 211"/>
                <a:gd name="T26" fmla="*/ 133 w 144"/>
                <a:gd name="T27" fmla="*/ 80 h 211"/>
                <a:gd name="T28" fmla="*/ 130 w 144"/>
                <a:gd name="T29" fmla="*/ 69 h 211"/>
                <a:gd name="T30" fmla="*/ 128 w 144"/>
                <a:gd name="T31" fmla="*/ 62 h 211"/>
                <a:gd name="T32" fmla="*/ 121 w 144"/>
                <a:gd name="T33" fmla="*/ 53 h 211"/>
                <a:gd name="T34" fmla="*/ 121 w 144"/>
                <a:gd name="T35" fmla="*/ 53 h 211"/>
                <a:gd name="T36" fmla="*/ 121 w 144"/>
                <a:gd name="T37" fmla="*/ 46 h 211"/>
                <a:gd name="T38" fmla="*/ 114 w 144"/>
                <a:gd name="T39" fmla="*/ 30 h 211"/>
                <a:gd name="T40" fmla="*/ 85 w 144"/>
                <a:gd name="T41" fmla="*/ 25 h 211"/>
                <a:gd name="T42" fmla="*/ 73 w 144"/>
                <a:gd name="T43" fmla="*/ 12 h 211"/>
                <a:gd name="T44" fmla="*/ 62 w 144"/>
                <a:gd name="T45" fmla="*/ 0 h 211"/>
                <a:gd name="T46" fmla="*/ 57 w 144"/>
                <a:gd name="T47" fmla="*/ 7 h 211"/>
                <a:gd name="T48" fmla="*/ 57 w 144"/>
                <a:gd name="T49" fmla="*/ 9 h 211"/>
                <a:gd name="T50" fmla="*/ 57 w 144"/>
                <a:gd name="T51" fmla="*/ 26 h 211"/>
                <a:gd name="T52" fmla="*/ 53 w 144"/>
                <a:gd name="T53" fmla="*/ 39 h 211"/>
                <a:gd name="T54" fmla="*/ 50 w 144"/>
                <a:gd name="T55" fmla="*/ 58 h 211"/>
                <a:gd name="T56" fmla="*/ 60 w 144"/>
                <a:gd name="T57" fmla="*/ 58 h 211"/>
                <a:gd name="T58" fmla="*/ 60 w 144"/>
                <a:gd name="T59" fmla="*/ 76 h 211"/>
                <a:gd name="T60" fmla="*/ 50 w 144"/>
                <a:gd name="T61" fmla="*/ 96 h 211"/>
                <a:gd name="T62" fmla="*/ 55 w 144"/>
                <a:gd name="T63" fmla="*/ 119 h 211"/>
                <a:gd name="T64" fmla="*/ 53 w 144"/>
                <a:gd name="T65" fmla="*/ 138 h 211"/>
                <a:gd name="T66" fmla="*/ 28 w 144"/>
                <a:gd name="T67" fmla="*/ 163 h 211"/>
                <a:gd name="T68" fmla="*/ 9 w 144"/>
                <a:gd name="T69" fmla="*/ 174 h 211"/>
                <a:gd name="T70" fmla="*/ 7 w 144"/>
                <a:gd name="T71" fmla="*/ 188 h 211"/>
                <a:gd name="T72" fmla="*/ 9 w 144"/>
                <a:gd name="T73" fmla="*/ 211 h 211"/>
                <a:gd name="T74" fmla="*/ 21 w 144"/>
                <a:gd name="T75" fmla="*/ 210 h 211"/>
                <a:gd name="T76" fmla="*/ 28 w 144"/>
                <a:gd name="T77" fmla="*/ 204 h 211"/>
                <a:gd name="T78" fmla="*/ 28 w 144"/>
                <a:gd name="T79" fmla="*/ 202 h 211"/>
                <a:gd name="T80" fmla="*/ 41 w 144"/>
                <a:gd name="T81" fmla="*/ 201 h 211"/>
                <a:gd name="T82" fmla="*/ 46 w 144"/>
                <a:gd name="T83" fmla="*/ 201 h 211"/>
                <a:gd name="T84" fmla="*/ 53 w 144"/>
                <a:gd name="T85" fmla="*/ 204 h 211"/>
                <a:gd name="T86" fmla="*/ 60 w 144"/>
                <a:gd name="T87" fmla="*/ 208 h 211"/>
                <a:gd name="T88" fmla="*/ 64 w 144"/>
                <a:gd name="T89" fmla="*/ 204 h 211"/>
                <a:gd name="T90" fmla="*/ 64 w 144"/>
                <a:gd name="T91" fmla="*/ 204 h 211"/>
                <a:gd name="T92" fmla="*/ 69 w 144"/>
                <a:gd name="T93" fmla="*/ 201 h 211"/>
                <a:gd name="T94" fmla="*/ 75 w 144"/>
                <a:gd name="T95" fmla="*/ 199 h 211"/>
                <a:gd name="T96" fmla="*/ 76 w 144"/>
                <a:gd name="T97" fmla="*/ 188 h 211"/>
                <a:gd name="T98" fmla="*/ 76 w 144"/>
                <a:gd name="T99" fmla="*/ 185 h 211"/>
                <a:gd name="T100" fmla="*/ 80 w 144"/>
                <a:gd name="T101" fmla="*/ 176 h 211"/>
                <a:gd name="T102" fmla="*/ 82 w 144"/>
                <a:gd name="T103" fmla="*/ 176 h 211"/>
                <a:gd name="T104" fmla="*/ 87 w 144"/>
                <a:gd name="T105" fmla="*/ 176 h 211"/>
                <a:gd name="T106" fmla="*/ 89 w 144"/>
                <a:gd name="T107" fmla="*/ 176 h 211"/>
                <a:gd name="T108" fmla="*/ 94 w 144"/>
                <a:gd name="T109" fmla="*/ 172 h 211"/>
                <a:gd name="T110" fmla="*/ 103 w 144"/>
                <a:gd name="T111" fmla="*/ 162 h 211"/>
                <a:gd name="T112" fmla="*/ 103 w 144"/>
                <a:gd name="T113" fmla="*/ 162 h 211"/>
                <a:gd name="T114" fmla="*/ 103 w 144"/>
                <a:gd name="T115" fmla="*/ 162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11">
                  <a:moveTo>
                    <a:pt x="103" y="162"/>
                  </a:moveTo>
                  <a:lnTo>
                    <a:pt x="103" y="162"/>
                  </a:lnTo>
                  <a:lnTo>
                    <a:pt x="108" y="158"/>
                  </a:lnTo>
                  <a:lnTo>
                    <a:pt x="115" y="153"/>
                  </a:lnTo>
                  <a:lnTo>
                    <a:pt x="124" y="147"/>
                  </a:lnTo>
                  <a:lnTo>
                    <a:pt x="124" y="147"/>
                  </a:lnTo>
                  <a:lnTo>
                    <a:pt x="126" y="142"/>
                  </a:lnTo>
                  <a:lnTo>
                    <a:pt x="128" y="135"/>
                  </a:lnTo>
                  <a:lnTo>
                    <a:pt x="128" y="135"/>
                  </a:lnTo>
                  <a:lnTo>
                    <a:pt x="133" y="131"/>
                  </a:lnTo>
                  <a:lnTo>
                    <a:pt x="135" y="131"/>
                  </a:lnTo>
                  <a:lnTo>
                    <a:pt x="139" y="130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4" y="122"/>
                  </a:lnTo>
                  <a:lnTo>
                    <a:pt x="144" y="121"/>
                  </a:lnTo>
                  <a:lnTo>
                    <a:pt x="142" y="119"/>
                  </a:lnTo>
                  <a:lnTo>
                    <a:pt x="140" y="115"/>
                  </a:lnTo>
                  <a:lnTo>
                    <a:pt x="140" y="115"/>
                  </a:lnTo>
                  <a:lnTo>
                    <a:pt x="139" y="112"/>
                  </a:lnTo>
                  <a:lnTo>
                    <a:pt x="137" y="106"/>
                  </a:lnTo>
                  <a:lnTo>
                    <a:pt x="133" y="94"/>
                  </a:lnTo>
                  <a:lnTo>
                    <a:pt x="133" y="94"/>
                  </a:lnTo>
                  <a:lnTo>
                    <a:pt x="133" y="90"/>
                  </a:lnTo>
                  <a:lnTo>
                    <a:pt x="133" y="87"/>
                  </a:lnTo>
                  <a:lnTo>
                    <a:pt x="135" y="82"/>
                  </a:lnTo>
                  <a:lnTo>
                    <a:pt x="133" y="80"/>
                  </a:lnTo>
                  <a:lnTo>
                    <a:pt x="133" y="80"/>
                  </a:lnTo>
                  <a:lnTo>
                    <a:pt x="130" y="74"/>
                  </a:lnTo>
                  <a:lnTo>
                    <a:pt x="130" y="69"/>
                  </a:lnTo>
                  <a:lnTo>
                    <a:pt x="130" y="69"/>
                  </a:lnTo>
                  <a:lnTo>
                    <a:pt x="128" y="62"/>
                  </a:lnTo>
                  <a:lnTo>
                    <a:pt x="126" y="58"/>
                  </a:lnTo>
                  <a:lnTo>
                    <a:pt x="121" y="53"/>
                  </a:lnTo>
                  <a:lnTo>
                    <a:pt x="121" y="53"/>
                  </a:lnTo>
                  <a:lnTo>
                    <a:pt x="121" y="53"/>
                  </a:lnTo>
                  <a:lnTo>
                    <a:pt x="121" y="51"/>
                  </a:lnTo>
                  <a:lnTo>
                    <a:pt x="121" y="46"/>
                  </a:lnTo>
                  <a:lnTo>
                    <a:pt x="123" y="39"/>
                  </a:lnTo>
                  <a:lnTo>
                    <a:pt x="114" y="30"/>
                  </a:lnTo>
                  <a:lnTo>
                    <a:pt x="99" y="25"/>
                  </a:lnTo>
                  <a:lnTo>
                    <a:pt x="85" y="25"/>
                  </a:lnTo>
                  <a:lnTo>
                    <a:pt x="75" y="21"/>
                  </a:lnTo>
                  <a:lnTo>
                    <a:pt x="73" y="1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7" y="5"/>
                  </a:lnTo>
                  <a:lnTo>
                    <a:pt x="57" y="7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18"/>
                  </a:lnTo>
                  <a:lnTo>
                    <a:pt x="57" y="26"/>
                  </a:lnTo>
                  <a:lnTo>
                    <a:pt x="59" y="34"/>
                  </a:lnTo>
                  <a:lnTo>
                    <a:pt x="53" y="39"/>
                  </a:lnTo>
                  <a:lnTo>
                    <a:pt x="46" y="51"/>
                  </a:lnTo>
                  <a:lnTo>
                    <a:pt x="50" y="58"/>
                  </a:lnTo>
                  <a:lnTo>
                    <a:pt x="57" y="53"/>
                  </a:lnTo>
                  <a:lnTo>
                    <a:pt x="60" y="58"/>
                  </a:lnTo>
                  <a:lnTo>
                    <a:pt x="73" y="58"/>
                  </a:lnTo>
                  <a:lnTo>
                    <a:pt x="60" y="76"/>
                  </a:lnTo>
                  <a:lnTo>
                    <a:pt x="64" y="87"/>
                  </a:lnTo>
                  <a:lnTo>
                    <a:pt x="50" y="96"/>
                  </a:lnTo>
                  <a:lnTo>
                    <a:pt x="48" y="108"/>
                  </a:lnTo>
                  <a:lnTo>
                    <a:pt x="55" y="119"/>
                  </a:lnTo>
                  <a:lnTo>
                    <a:pt x="48" y="131"/>
                  </a:lnTo>
                  <a:lnTo>
                    <a:pt x="53" y="138"/>
                  </a:lnTo>
                  <a:lnTo>
                    <a:pt x="34" y="162"/>
                  </a:lnTo>
                  <a:lnTo>
                    <a:pt x="28" y="163"/>
                  </a:lnTo>
                  <a:lnTo>
                    <a:pt x="19" y="169"/>
                  </a:lnTo>
                  <a:lnTo>
                    <a:pt x="9" y="174"/>
                  </a:lnTo>
                  <a:lnTo>
                    <a:pt x="3" y="185"/>
                  </a:lnTo>
                  <a:lnTo>
                    <a:pt x="7" y="188"/>
                  </a:lnTo>
                  <a:lnTo>
                    <a:pt x="0" y="199"/>
                  </a:lnTo>
                  <a:lnTo>
                    <a:pt x="9" y="211"/>
                  </a:lnTo>
                  <a:lnTo>
                    <a:pt x="18" y="210"/>
                  </a:lnTo>
                  <a:lnTo>
                    <a:pt x="21" y="210"/>
                  </a:lnTo>
                  <a:lnTo>
                    <a:pt x="28" y="202"/>
                  </a:lnTo>
                  <a:lnTo>
                    <a:pt x="28" y="204"/>
                  </a:lnTo>
                  <a:lnTo>
                    <a:pt x="28" y="202"/>
                  </a:lnTo>
                  <a:lnTo>
                    <a:pt x="28" y="202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4" y="201"/>
                  </a:lnTo>
                  <a:lnTo>
                    <a:pt x="46" y="201"/>
                  </a:lnTo>
                  <a:lnTo>
                    <a:pt x="53" y="204"/>
                  </a:lnTo>
                  <a:lnTo>
                    <a:pt x="53" y="204"/>
                  </a:lnTo>
                  <a:lnTo>
                    <a:pt x="59" y="208"/>
                  </a:lnTo>
                  <a:lnTo>
                    <a:pt x="60" y="208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6" y="202"/>
                  </a:lnTo>
                  <a:lnTo>
                    <a:pt x="69" y="201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5"/>
                  </a:lnTo>
                  <a:lnTo>
                    <a:pt x="76" y="188"/>
                  </a:lnTo>
                  <a:lnTo>
                    <a:pt x="76" y="188"/>
                  </a:lnTo>
                  <a:lnTo>
                    <a:pt x="76" y="185"/>
                  </a:lnTo>
                  <a:lnTo>
                    <a:pt x="78" y="183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82" y="176"/>
                  </a:lnTo>
                  <a:lnTo>
                    <a:pt x="83" y="176"/>
                  </a:lnTo>
                  <a:lnTo>
                    <a:pt x="87" y="176"/>
                  </a:lnTo>
                  <a:lnTo>
                    <a:pt x="89" y="176"/>
                  </a:lnTo>
                  <a:lnTo>
                    <a:pt x="89" y="176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8" y="169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3" y="16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Freeform 65"/>
            <p:cNvSpPr>
              <a:spLocks/>
            </p:cNvSpPr>
            <p:nvPr/>
          </p:nvSpPr>
          <p:spPr bwMode="auto">
            <a:xfrm>
              <a:off x="2116541" y="2654819"/>
              <a:ext cx="9698" cy="11980"/>
            </a:xfrm>
            <a:custGeom>
              <a:avLst/>
              <a:gdLst>
                <a:gd name="T0" fmla="*/ 0 w 17"/>
                <a:gd name="T1" fmla="*/ 0 h 21"/>
                <a:gd name="T2" fmla="*/ 0 w 17"/>
                <a:gd name="T3" fmla="*/ 0 h 21"/>
                <a:gd name="T4" fmla="*/ 3 w 17"/>
                <a:gd name="T5" fmla="*/ 10 h 21"/>
                <a:gd name="T6" fmla="*/ 9 w 17"/>
                <a:gd name="T7" fmla="*/ 14 h 21"/>
                <a:gd name="T8" fmla="*/ 9 w 17"/>
                <a:gd name="T9" fmla="*/ 14 h 21"/>
                <a:gd name="T10" fmla="*/ 17 w 17"/>
                <a:gd name="T11" fmla="*/ 21 h 21"/>
                <a:gd name="T12" fmla="*/ 17 w 17"/>
                <a:gd name="T13" fmla="*/ 21 h 21"/>
                <a:gd name="T14" fmla="*/ 17 w 17"/>
                <a:gd name="T15" fmla="*/ 21 h 21"/>
                <a:gd name="T16" fmla="*/ 10 w 17"/>
                <a:gd name="T17" fmla="*/ 1 h 21"/>
                <a:gd name="T18" fmla="*/ 0 w 17"/>
                <a:gd name="T19" fmla="*/ 0 h 21"/>
                <a:gd name="T20" fmla="*/ 0 w 17"/>
                <a:gd name="T21" fmla="*/ 0 h 21"/>
                <a:gd name="T22" fmla="*/ 0 w 17"/>
                <a:gd name="T23" fmla="*/ 0 h 21"/>
                <a:gd name="T24" fmla="*/ 0 w 17"/>
                <a:gd name="T2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21">
                  <a:moveTo>
                    <a:pt x="0" y="0"/>
                  </a:moveTo>
                  <a:lnTo>
                    <a:pt x="0" y="0"/>
                  </a:lnTo>
                  <a:lnTo>
                    <a:pt x="3" y="10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Freeform 66"/>
            <p:cNvSpPr>
              <a:spLocks/>
            </p:cNvSpPr>
            <p:nvPr/>
          </p:nvSpPr>
          <p:spPr bwMode="auto">
            <a:xfrm>
              <a:off x="2103421" y="2633141"/>
              <a:ext cx="13121" cy="21678"/>
            </a:xfrm>
            <a:custGeom>
              <a:avLst/>
              <a:gdLst>
                <a:gd name="T0" fmla="*/ 17 w 23"/>
                <a:gd name="T1" fmla="*/ 30 h 38"/>
                <a:gd name="T2" fmla="*/ 17 w 23"/>
                <a:gd name="T3" fmla="*/ 30 h 38"/>
                <a:gd name="T4" fmla="*/ 16 w 23"/>
                <a:gd name="T5" fmla="*/ 32 h 38"/>
                <a:gd name="T6" fmla="*/ 16 w 23"/>
                <a:gd name="T7" fmla="*/ 30 h 38"/>
                <a:gd name="T8" fmla="*/ 14 w 23"/>
                <a:gd name="T9" fmla="*/ 29 h 38"/>
                <a:gd name="T10" fmla="*/ 12 w 23"/>
                <a:gd name="T11" fmla="*/ 29 h 38"/>
                <a:gd name="T12" fmla="*/ 12 w 23"/>
                <a:gd name="T13" fmla="*/ 29 h 38"/>
                <a:gd name="T14" fmla="*/ 12 w 23"/>
                <a:gd name="T15" fmla="*/ 25 h 38"/>
                <a:gd name="T16" fmla="*/ 10 w 23"/>
                <a:gd name="T17" fmla="*/ 23 h 38"/>
                <a:gd name="T18" fmla="*/ 7 w 23"/>
                <a:gd name="T19" fmla="*/ 22 h 38"/>
                <a:gd name="T20" fmla="*/ 5 w 23"/>
                <a:gd name="T21" fmla="*/ 20 h 38"/>
                <a:gd name="T22" fmla="*/ 5 w 23"/>
                <a:gd name="T23" fmla="*/ 20 h 38"/>
                <a:gd name="T24" fmla="*/ 3 w 23"/>
                <a:gd name="T25" fmla="*/ 11 h 38"/>
                <a:gd name="T26" fmla="*/ 1 w 23"/>
                <a:gd name="T27" fmla="*/ 0 h 38"/>
                <a:gd name="T28" fmla="*/ 1 w 23"/>
                <a:gd name="T29" fmla="*/ 0 h 38"/>
                <a:gd name="T30" fmla="*/ 0 w 23"/>
                <a:gd name="T31" fmla="*/ 0 h 38"/>
                <a:gd name="T32" fmla="*/ 0 w 23"/>
                <a:gd name="T33" fmla="*/ 0 h 38"/>
                <a:gd name="T34" fmla="*/ 3 w 23"/>
                <a:gd name="T35" fmla="*/ 34 h 38"/>
                <a:gd name="T36" fmla="*/ 23 w 23"/>
                <a:gd name="T37" fmla="*/ 38 h 38"/>
                <a:gd name="T38" fmla="*/ 23 w 23"/>
                <a:gd name="T39" fmla="*/ 38 h 38"/>
                <a:gd name="T40" fmla="*/ 21 w 23"/>
                <a:gd name="T41" fmla="*/ 34 h 38"/>
                <a:gd name="T42" fmla="*/ 21 w 23"/>
                <a:gd name="T43" fmla="*/ 34 h 38"/>
                <a:gd name="T44" fmla="*/ 17 w 23"/>
                <a:gd name="T45" fmla="*/ 30 h 38"/>
                <a:gd name="T46" fmla="*/ 17 w 23"/>
                <a:gd name="T47" fmla="*/ 29 h 38"/>
                <a:gd name="T48" fmla="*/ 17 w 23"/>
                <a:gd name="T49" fmla="*/ 30 h 38"/>
                <a:gd name="T50" fmla="*/ 17 w 23"/>
                <a:gd name="T51" fmla="*/ 30 h 38"/>
                <a:gd name="T52" fmla="*/ 17 w 23"/>
                <a:gd name="T53" fmla="*/ 30 h 38"/>
                <a:gd name="T54" fmla="*/ 17 w 23"/>
                <a:gd name="T55" fmla="*/ 30 h 38"/>
                <a:gd name="T56" fmla="*/ 17 w 23"/>
                <a:gd name="T57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" h="38">
                  <a:moveTo>
                    <a:pt x="17" y="30"/>
                  </a:moveTo>
                  <a:lnTo>
                    <a:pt x="17" y="30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5"/>
                  </a:lnTo>
                  <a:lnTo>
                    <a:pt x="10" y="23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3" y="1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4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67"/>
            <p:cNvSpPr>
              <a:spLocks/>
            </p:cNvSpPr>
            <p:nvPr/>
          </p:nvSpPr>
          <p:spPr bwMode="auto">
            <a:xfrm>
              <a:off x="1303059" y="2568108"/>
              <a:ext cx="113522" cy="160300"/>
            </a:xfrm>
            <a:custGeom>
              <a:avLst/>
              <a:gdLst>
                <a:gd name="T0" fmla="*/ 140 w 199"/>
                <a:gd name="T1" fmla="*/ 194 h 281"/>
                <a:gd name="T2" fmla="*/ 181 w 199"/>
                <a:gd name="T3" fmla="*/ 169 h 281"/>
                <a:gd name="T4" fmla="*/ 187 w 199"/>
                <a:gd name="T5" fmla="*/ 146 h 281"/>
                <a:gd name="T6" fmla="*/ 192 w 199"/>
                <a:gd name="T7" fmla="*/ 91 h 281"/>
                <a:gd name="T8" fmla="*/ 192 w 199"/>
                <a:gd name="T9" fmla="*/ 52 h 281"/>
                <a:gd name="T10" fmla="*/ 149 w 199"/>
                <a:gd name="T11" fmla="*/ 47 h 281"/>
                <a:gd name="T12" fmla="*/ 108 w 199"/>
                <a:gd name="T13" fmla="*/ 32 h 281"/>
                <a:gd name="T14" fmla="*/ 60 w 199"/>
                <a:gd name="T15" fmla="*/ 29 h 281"/>
                <a:gd name="T16" fmla="*/ 53 w 199"/>
                <a:gd name="T17" fmla="*/ 52 h 281"/>
                <a:gd name="T18" fmla="*/ 59 w 199"/>
                <a:gd name="T19" fmla="*/ 61 h 281"/>
                <a:gd name="T20" fmla="*/ 67 w 199"/>
                <a:gd name="T21" fmla="*/ 56 h 281"/>
                <a:gd name="T22" fmla="*/ 71 w 199"/>
                <a:gd name="T23" fmla="*/ 93 h 281"/>
                <a:gd name="T24" fmla="*/ 69 w 199"/>
                <a:gd name="T25" fmla="*/ 95 h 281"/>
                <a:gd name="T26" fmla="*/ 53 w 199"/>
                <a:gd name="T27" fmla="*/ 91 h 281"/>
                <a:gd name="T28" fmla="*/ 50 w 199"/>
                <a:gd name="T29" fmla="*/ 96 h 281"/>
                <a:gd name="T30" fmla="*/ 43 w 199"/>
                <a:gd name="T31" fmla="*/ 102 h 281"/>
                <a:gd name="T32" fmla="*/ 34 w 199"/>
                <a:gd name="T33" fmla="*/ 121 h 281"/>
                <a:gd name="T34" fmla="*/ 18 w 199"/>
                <a:gd name="T35" fmla="*/ 139 h 281"/>
                <a:gd name="T36" fmla="*/ 7 w 199"/>
                <a:gd name="T37" fmla="*/ 150 h 281"/>
                <a:gd name="T38" fmla="*/ 16 w 199"/>
                <a:gd name="T39" fmla="*/ 155 h 281"/>
                <a:gd name="T40" fmla="*/ 12 w 199"/>
                <a:gd name="T41" fmla="*/ 178 h 281"/>
                <a:gd name="T42" fmla="*/ 16 w 199"/>
                <a:gd name="T43" fmla="*/ 187 h 281"/>
                <a:gd name="T44" fmla="*/ 12 w 199"/>
                <a:gd name="T45" fmla="*/ 192 h 281"/>
                <a:gd name="T46" fmla="*/ 9 w 199"/>
                <a:gd name="T47" fmla="*/ 203 h 281"/>
                <a:gd name="T48" fmla="*/ 0 w 199"/>
                <a:gd name="T49" fmla="*/ 203 h 281"/>
                <a:gd name="T50" fmla="*/ 0 w 199"/>
                <a:gd name="T51" fmla="*/ 210 h 281"/>
                <a:gd name="T52" fmla="*/ 11 w 199"/>
                <a:gd name="T53" fmla="*/ 212 h 281"/>
                <a:gd name="T54" fmla="*/ 16 w 199"/>
                <a:gd name="T55" fmla="*/ 219 h 281"/>
                <a:gd name="T56" fmla="*/ 19 w 199"/>
                <a:gd name="T57" fmla="*/ 216 h 281"/>
                <a:gd name="T58" fmla="*/ 27 w 199"/>
                <a:gd name="T59" fmla="*/ 217 h 281"/>
                <a:gd name="T60" fmla="*/ 28 w 199"/>
                <a:gd name="T61" fmla="*/ 212 h 281"/>
                <a:gd name="T62" fmla="*/ 32 w 199"/>
                <a:gd name="T63" fmla="*/ 212 h 281"/>
                <a:gd name="T64" fmla="*/ 34 w 199"/>
                <a:gd name="T65" fmla="*/ 231 h 281"/>
                <a:gd name="T66" fmla="*/ 32 w 199"/>
                <a:gd name="T67" fmla="*/ 237 h 281"/>
                <a:gd name="T68" fmla="*/ 43 w 199"/>
                <a:gd name="T69" fmla="*/ 235 h 281"/>
                <a:gd name="T70" fmla="*/ 43 w 199"/>
                <a:gd name="T71" fmla="*/ 231 h 281"/>
                <a:gd name="T72" fmla="*/ 55 w 199"/>
                <a:gd name="T73" fmla="*/ 246 h 281"/>
                <a:gd name="T74" fmla="*/ 67 w 199"/>
                <a:gd name="T75" fmla="*/ 244 h 281"/>
                <a:gd name="T76" fmla="*/ 73 w 199"/>
                <a:gd name="T77" fmla="*/ 246 h 281"/>
                <a:gd name="T78" fmla="*/ 57 w 199"/>
                <a:gd name="T79" fmla="*/ 255 h 281"/>
                <a:gd name="T80" fmla="*/ 48 w 199"/>
                <a:gd name="T81" fmla="*/ 265 h 281"/>
                <a:gd name="T82" fmla="*/ 53 w 199"/>
                <a:gd name="T83" fmla="*/ 269 h 281"/>
                <a:gd name="T84" fmla="*/ 69 w 199"/>
                <a:gd name="T85" fmla="*/ 269 h 281"/>
                <a:gd name="T86" fmla="*/ 76 w 199"/>
                <a:gd name="T87" fmla="*/ 281 h 281"/>
                <a:gd name="T88" fmla="*/ 89 w 199"/>
                <a:gd name="T89" fmla="*/ 274 h 281"/>
                <a:gd name="T90" fmla="*/ 110 w 199"/>
                <a:gd name="T91" fmla="*/ 271 h 281"/>
                <a:gd name="T92" fmla="*/ 123 w 199"/>
                <a:gd name="T93" fmla="*/ 265 h 281"/>
                <a:gd name="T94" fmla="*/ 139 w 199"/>
                <a:gd name="T95" fmla="*/ 237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9" h="281">
                  <a:moveTo>
                    <a:pt x="139" y="237"/>
                  </a:moveTo>
                  <a:lnTo>
                    <a:pt x="133" y="217"/>
                  </a:lnTo>
                  <a:lnTo>
                    <a:pt x="133" y="205"/>
                  </a:lnTo>
                  <a:lnTo>
                    <a:pt x="140" y="194"/>
                  </a:lnTo>
                  <a:lnTo>
                    <a:pt x="142" y="180"/>
                  </a:lnTo>
                  <a:lnTo>
                    <a:pt x="151" y="175"/>
                  </a:lnTo>
                  <a:lnTo>
                    <a:pt x="163" y="169"/>
                  </a:lnTo>
                  <a:lnTo>
                    <a:pt x="181" y="169"/>
                  </a:lnTo>
                  <a:lnTo>
                    <a:pt x="179" y="164"/>
                  </a:lnTo>
                  <a:lnTo>
                    <a:pt x="181" y="153"/>
                  </a:lnTo>
                  <a:lnTo>
                    <a:pt x="171" y="148"/>
                  </a:lnTo>
                  <a:lnTo>
                    <a:pt x="187" y="146"/>
                  </a:lnTo>
                  <a:lnTo>
                    <a:pt x="195" y="134"/>
                  </a:lnTo>
                  <a:lnTo>
                    <a:pt x="199" y="116"/>
                  </a:lnTo>
                  <a:lnTo>
                    <a:pt x="195" y="102"/>
                  </a:lnTo>
                  <a:lnTo>
                    <a:pt x="192" y="91"/>
                  </a:lnTo>
                  <a:lnTo>
                    <a:pt x="195" y="75"/>
                  </a:lnTo>
                  <a:lnTo>
                    <a:pt x="187" y="64"/>
                  </a:lnTo>
                  <a:lnTo>
                    <a:pt x="194" y="61"/>
                  </a:lnTo>
                  <a:lnTo>
                    <a:pt x="192" y="52"/>
                  </a:lnTo>
                  <a:lnTo>
                    <a:pt x="199" y="52"/>
                  </a:lnTo>
                  <a:lnTo>
                    <a:pt x="197" y="43"/>
                  </a:lnTo>
                  <a:lnTo>
                    <a:pt x="163" y="54"/>
                  </a:lnTo>
                  <a:lnTo>
                    <a:pt x="149" y="47"/>
                  </a:lnTo>
                  <a:lnTo>
                    <a:pt x="135" y="43"/>
                  </a:lnTo>
                  <a:lnTo>
                    <a:pt x="131" y="48"/>
                  </a:lnTo>
                  <a:lnTo>
                    <a:pt x="119" y="43"/>
                  </a:lnTo>
                  <a:lnTo>
                    <a:pt x="108" y="32"/>
                  </a:lnTo>
                  <a:lnTo>
                    <a:pt x="92" y="27"/>
                  </a:lnTo>
                  <a:lnTo>
                    <a:pt x="96" y="8"/>
                  </a:lnTo>
                  <a:lnTo>
                    <a:pt x="91" y="0"/>
                  </a:lnTo>
                  <a:lnTo>
                    <a:pt x="60" y="29"/>
                  </a:lnTo>
                  <a:lnTo>
                    <a:pt x="62" y="43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3" y="52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9" y="61"/>
                  </a:lnTo>
                  <a:lnTo>
                    <a:pt x="62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7" y="56"/>
                  </a:lnTo>
                  <a:lnTo>
                    <a:pt x="69" y="61"/>
                  </a:lnTo>
                  <a:lnTo>
                    <a:pt x="71" y="72"/>
                  </a:lnTo>
                  <a:lnTo>
                    <a:pt x="71" y="84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69" y="95"/>
                  </a:lnTo>
                  <a:lnTo>
                    <a:pt x="69" y="95"/>
                  </a:lnTo>
                  <a:lnTo>
                    <a:pt x="62" y="93"/>
                  </a:lnTo>
                  <a:lnTo>
                    <a:pt x="57" y="93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3"/>
                  </a:lnTo>
                  <a:lnTo>
                    <a:pt x="50" y="96"/>
                  </a:lnTo>
                  <a:lnTo>
                    <a:pt x="50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39" y="105"/>
                  </a:lnTo>
                  <a:lnTo>
                    <a:pt x="35" y="111"/>
                  </a:lnTo>
                  <a:lnTo>
                    <a:pt x="34" y="121"/>
                  </a:lnTo>
                  <a:lnTo>
                    <a:pt x="23" y="123"/>
                  </a:lnTo>
                  <a:lnTo>
                    <a:pt x="18" y="132"/>
                  </a:lnTo>
                  <a:lnTo>
                    <a:pt x="19" y="137"/>
                  </a:lnTo>
                  <a:lnTo>
                    <a:pt x="18" y="139"/>
                  </a:lnTo>
                  <a:lnTo>
                    <a:pt x="14" y="139"/>
                  </a:lnTo>
                  <a:lnTo>
                    <a:pt x="11" y="148"/>
                  </a:lnTo>
                  <a:lnTo>
                    <a:pt x="7" y="150"/>
                  </a:lnTo>
                  <a:lnTo>
                    <a:pt x="7" y="150"/>
                  </a:lnTo>
                  <a:lnTo>
                    <a:pt x="12" y="152"/>
                  </a:lnTo>
                  <a:lnTo>
                    <a:pt x="14" y="152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6" y="162"/>
                  </a:lnTo>
                  <a:lnTo>
                    <a:pt x="14" y="171"/>
                  </a:lnTo>
                  <a:lnTo>
                    <a:pt x="12" y="178"/>
                  </a:lnTo>
                  <a:lnTo>
                    <a:pt x="11" y="180"/>
                  </a:lnTo>
                  <a:lnTo>
                    <a:pt x="12" y="185"/>
                  </a:lnTo>
                  <a:lnTo>
                    <a:pt x="12" y="185"/>
                  </a:lnTo>
                  <a:lnTo>
                    <a:pt x="16" y="187"/>
                  </a:lnTo>
                  <a:lnTo>
                    <a:pt x="16" y="189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2" y="192"/>
                  </a:lnTo>
                  <a:lnTo>
                    <a:pt x="11" y="194"/>
                  </a:lnTo>
                  <a:lnTo>
                    <a:pt x="11" y="198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7" y="203"/>
                  </a:lnTo>
                  <a:lnTo>
                    <a:pt x="3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5"/>
                  </a:lnTo>
                  <a:lnTo>
                    <a:pt x="0" y="208"/>
                  </a:lnTo>
                  <a:lnTo>
                    <a:pt x="0" y="210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9" y="212"/>
                  </a:lnTo>
                  <a:lnTo>
                    <a:pt x="11" y="212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4" y="219"/>
                  </a:lnTo>
                  <a:lnTo>
                    <a:pt x="16" y="219"/>
                  </a:lnTo>
                  <a:lnTo>
                    <a:pt x="16" y="217"/>
                  </a:lnTo>
                  <a:lnTo>
                    <a:pt x="16" y="217"/>
                  </a:lnTo>
                  <a:lnTo>
                    <a:pt x="19" y="216"/>
                  </a:lnTo>
                  <a:lnTo>
                    <a:pt x="19" y="216"/>
                  </a:lnTo>
                  <a:lnTo>
                    <a:pt x="23" y="216"/>
                  </a:lnTo>
                  <a:lnTo>
                    <a:pt x="23" y="217"/>
                  </a:lnTo>
                  <a:lnTo>
                    <a:pt x="23" y="217"/>
                  </a:lnTo>
                  <a:lnTo>
                    <a:pt x="27" y="217"/>
                  </a:lnTo>
                  <a:lnTo>
                    <a:pt x="27" y="217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12"/>
                  </a:lnTo>
                  <a:lnTo>
                    <a:pt x="30" y="210"/>
                  </a:lnTo>
                  <a:lnTo>
                    <a:pt x="30" y="210"/>
                  </a:lnTo>
                  <a:lnTo>
                    <a:pt x="32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35" y="228"/>
                  </a:lnTo>
                  <a:lnTo>
                    <a:pt x="35" y="228"/>
                  </a:lnTo>
                  <a:lnTo>
                    <a:pt x="34" y="231"/>
                  </a:lnTo>
                  <a:lnTo>
                    <a:pt x="32" y="235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5" y="237"/>
                  </a:lnTo>
                  <a:lnTo>
                    <a:pt x="39" y="237"/>
                  </a:lnTo>
                  <a:lnTo>
                    <a:pt x="43" y="237"/>
                  </a:lnTo>
                  <a:lnTo>
                    <a:pt x="43" y="235"/>
                  </a:lnTo>
                  <a:lnTo>
                    <a:pt x="43" y="235"/>
                  </a:lnTo>
                  <a:lnTo>
                    <a:pt x="39" y="230"/>
                  </a:lnTo>
                  <a:lnTo>
                    <a:pt x="41" y="228"/>
                  </a:lnTo>
                  <a:lnTo>
                    <a:pt x="43" y="231"/>
                  </a:lnTo>
                  <a:lnTo>
                    <a:pt x="43" y="231"/>
                  </a:lnTo>
                  <a:lnTo>
                    <a:pt x="48" y="235"/>
                  </a:lnTo>
                  <a:lnTo>
                    <a:pt x="51" y="240"/>
                  </a:lnTo>
                  <a:lnTo>
                    <a:pt x="55" y="246"/>
                  </a:lnTo>
                  <a:lnTo>
                    <a:pt x="55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67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6"/>
                  </a:lnTo>
                  <a:lnTo>
                    <a:pt x="69" y="249"/>
                  </a:lnTo>
                  <a:lnTo>
                    <a:pt x="64" y="251"/>
                  </a:lnTo>
                  <a:lnTo>
                    <a:pt x="57" y="255"/>
                  </a:lnTo>
                  <a:lnTo>
                    <a:pt x="57" y="255"/>
                  </a:lnTo>
                  <a:lnTo>
                    <a:pt x="53" y="256"/>
                  </a:lnTo>
                  <a:lnTo>
                    <a:pt x="51" y="260"/>
                  </a:lnTo>
                  <a:lnTo>
                    <a:pt x="48" y="265"/>
                  </a:lnTo>
                  <a:lnTo>
                    <a:pt x="48" y="265"/>
                  </a:lnTo>
                  <a:lnTo>
                    <a:pt x="50" y="269"/>
                  </a:lnTo>
                  <a:lnTo>
                    <a:pt x="50" y="269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7" y="269"/>
                  </a:lnTo>
                  <a:lnTo>
                    <a:pt x="62" y="267"/>
                  </a:lnTo>
                  <a:lnTo>
                    <a:pt x="64" y="269"/>
                  </a:lnTo>
                  <a:lnTo>
                    <a:pt x="69" y="269"/>
                  </a:lnTo>
                  <a:lnTo>
                    <a:pt x="69" y="269"/>
                  </a:lnTo>
                  <a:lnTo>
                    <a:pt x="71" y="272"/>
                  </a:lnTo>
                  <a:lnTo>
                    <a:pt x="73" y="278"/>
                  </a:lnTo>
                  <a:lnTo>
                    <a:pt x="76" y="281"/>
                  </a:lnTo>
                  <a:lnTo>
                    <a:pt x="76" y="281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89" y="274"/>
                  </a:lnTo>
                  <a:lnTo>
                    <a:pt x="92" y="272"/>
                  </a:lnTo>
                  <a:lnTo>
                    <a:pt x="99" y="271"/>
                  </a:lnTo>
                  <a:lnTo>
                    <a:pt x="99" y="271"/>
                  </a:lnTo>
                  <a:lnTo>
                    <a:pt x="110" y="271"/>
                  </a:lnTo>
                  <a:lnTo>
                    <a:pt x="115" y="269"/>
                  </a:lnTo>
                  <a:lnTo>
                    <a:pt x="119" y="269"/>
                  </a:lnTo>
                  <a:lnTo>
                    <a:pt x="119" y="269"/>
                  </a:lnTo>
                  <a:lnTo>
                    <a:pt x="123" y="265"/>
                  </a:lnTo>
                  <a:lnTo>
                    <a:pt x="124" y="265"/>
                  </a:lnTo>
                  <a:lnTo>
                    <a:pt x="131" y="253"/>
                  </a:lnTo>
                  <a:lnTo>
                    <a:pt x="139" y="237"/>
                  </a:lnTo>
                  <a:lnTo>
                    <a:pt x="139" y="237"/>
                  </a:lnTo>
                  <a:lnTo>
                    <a:pt x="139" y="237"/>
                  </a:lnTo>
                  <a:lnTo>
                    <a:pt x="139" y="23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68"/>
            <p:cNvSpPr>
              <a:spLocks/>
            </p:cNvSpPr>
            <p:nvPr/>
          </p:nvSpPr>
          <p:spPr bwMode="auto">
            <a:xfrm>
              <a:off x="1087994" y="2533880"/>
              <a:ext cx="108388" cy="115804"/>
            </a:xfrm>
            <a:custGeom>
              <a:avLst/>
              <a:gdLst>
                <a:gd name="T0" fmla="*/ 172 w 190"/>
                <a:gd name="T1" fmla="*/ 142 h 203"/>
                <a:gd name="T2" fmla="*/ 176 w 190"/>
                <a:gd name="T3" fmla="*/ 132 h 203"/>
                <a:gd name="T4" fmla="*/ 162 w 190"/>
                <a:gd name="T5" fmla="*/ 123 h 203"/>
                <a:gd name="T6" fmla="*/ 148 w 190"/>
                <a:gd name="T7" fmla="*/ 116 h 203"/>
                <a:gd name="T8" fmla="*/ 151 w 190"/>
                <a:gd name="T9" fmla="*/ 105 h 203"/>
                <a:gd name="T10" fmla="*/ 164 w 190"/>
                <a:gd name="T11" fmla="*/ 103 h 203"/>
                <a:gd name="T12" fmla="*/ 169 w 190"/>
                <a:gd name="T13" fmla="*/ 89 h 203"/>
                <a:gd name="T14" fmla="*/ 185 w 190"/>
                <a:gd name="T15" fmla="*/ 87 h 203"/>
                <a:gd name="T16" fmla="*/ 188 w 190"/>
                <a:gd name="T17" fmla="*/ 59 h 203"/>
                <a:gd name="T18" fmla="*/ 171 w 190"/>
                <a:gd name="T19" fmla="*/ 30 h 203"/>
                <a:gd name="T20" fmla="*/ 164 w 190"/>
                <a:gd name="T21" fmla="*/ 28 h 203"/>
                <a:gd name="T22" fmla="*/ 144 w 190"/>
                <a:gd name="T23" fmla="*/ 12 h 203"/>
                <a:gd name="T24" fmla="*/ 126 w 190"/>
                <a:gd name="T25" fmla="*/ 0 h 203"/>
                <a:gd name="T26" fmla="*/ 123 w 190"/>
                <a:gd name="T27" fmla="*/ 7 h 203"/>
                <a:gd name="T28" fmla="*/ 116 w 190"/>
                <a:gd name="T29" fmla="*/ 12 h 203"/>
                <a:gd name="T30" fmla="*/ 108 w 190"/>
                <a:gd name="T31" fmla="*/ 23 h 203"/>
                <a:gd name="T32" fmla="*/ 112 w 190"/>
                <a:gd name="T33" fmla="*/ 39 h 203"/>
                <a:gd name="T34" fmla="*/ 103 w 190"/>
                <a:gd name="T35" fmla="*/ 36 h 203"/>
                <a:gd name="T36" fmla="*/ 94 w 190"/>
                <a:gd name="T37" fmla="*/ 39 h 203"/>
                <a:gd name="T38" fmla="*/ 82 w 190"/>
                <a:gd name="T39" fmla="*/ 36 h 203"/>
                <a:gd name="T40" fmla="*/ 71 w 190"/>
                <a:gd name="T41" fmla="*/ 44 h 203"/>
                <a:gd name="T42" fmla="*/ 68 w 190"/>
                <a:gd name="T43" fmla="*/ 32 h 203"/>
                <a:gd name="T44" fmla="*/ 60 w 190"/>
                <a:gd name="T45" fmla="*/ 34 h 203"/>
                <a:gd name="T46" fmla="*/ 59 w 190"/>
                <a:gd name="T47" fmla="*/ 28 h 203"/>
                <a:gd name="T48" fmla="*/ 60 w 190"/>
                <a:gd name="T49" fmla="*/ 18 h 203"/>
                <a:gd name="T50" fmla="*/ 43 w 190"/>
                <a:gd name="T51" fmla="*/ 9 h 203"/>
                <a:gd name="T52" fmla="*/ 30 w 190"/>
                <a:gd name="T53" fmla="*/ 21 h 203"/>
                <a:gd name="T54" fmla="*/ 37 w 190"/>
                <a:gd name="T55" fmla="*/ 34 h 203"/>
                <a:gd name="T56" fmla="*/ 37 w 190"/>
                <a:gd name="T57" fmla="*/ 55 h 203"/>
                <a:gd name="T58" fmla="*/ 50 w 190"/>
                <a:gd name="T59" fmla="*/ 59 h 203"/>
                <a:gd name="T60" fmla="*/ 75 w 190"/>
                <a:gd name="T61" fmla="*/ 69 h 203"/>
                <a:gd name="T62" fmla="*/ 94 w 190"/>
                <a:gd name="T63" fmla="*/ 69 h 203"/>
                <a:gd name="T64" fmla="*/ 100 w 190"/>
                <a:gd name="T65" fmla="*/ 75 h 203"/>
                <a:gd name="T66" fmla="*/ 82 w 190"/>
                <a:gd name="T67" fmla="*/ 89 h 203"/>
                <a:gd name="T68" fmla="*/ 75 w 190"/>
                <a:gd name="T69" fmla="*/ 100 h 203"/>
                <a:gd name="T70" fmla="*/ 60 w 190"/>
                <a:gd name="T71" fmla="*/ 92 h 203"/>
                <a:gd name="T72" fmla="*/ 41 w 190"/>
                <a:gd name="T73" fmla="*/ 105 h 203"/>
                <a:gd name="T74" fmla="*/ 28 w 190"/>
                <a:gd name="T75" fmla="*/ 124 h 203"/>
                <a:gd name="T76" fmla="*/ 11 w 190"/>
                <a:gd name="T77" fmla="*/ 140 h 203"/>
                <a:gd name="T78" fmla="*/ 4 w 190"/>
                <a:gd name="T79" fmla="*/ 158 h 203"/>
                <a:gd name="T80" fmla="*/ 25 w 190"/>
                <a:gd name="T81" fmla="*/ 172 h 203"/>
                <a:gd name="T82" fmla="*/ 20 w 190"/>
                <a:gd name="T83" fmla="*/ 192 h 203"/>
                <a:gd name="T84" fmla="*/ 21 w 190"/>
                <a:gd name="T85" fmla="*/ 203 h 203"/>
                <a:gd name="T86" fmla="*/ 57 w 190"/>
                <a:gd name="T87" fmla="*/ 199 h 203"/>
                <a:gd name="T88" fmla="*/ 60 w 190"/>
                <a:gd name="T89" fmla="*/ 181 h 203"/>
                <a:gd name="T90" fmla="*/ 100 w 190"/>
                <a:gd name="T91" fmla="*/ 188 h 203"/>
                <a:gd name="T92" fmla="*/ 105 w 190"/>
                <a:gd name="T93" fmla="*/ 188 h 203"/>
                <a:gd name="T94" fmla="*/ 87 w 190"/>
                <a:gd name="T95" fmla="*/ 158 h 203"/>
                <a:gd name="T96" fmla="*/ 94 w 190"/>
                <a:gd name="T97" fmla="*/ 155 h 203"/>
                <a:gd name="T98" fmla="*/ 105 w 190"/>
                <a:gd name="T99" fmla="*/ 156 h 203"/>
                <a:gd name="T100" fmla="*/ 87 w 190"/>
                <a:gd name="T101" fmla="*/ 142 h 203"/>
                <a:gd name="T102" fmla="*/ 103 w 190"/>
                <a:gd name="T103" fmla="*/ 142 h 203"/>
                <a:gd name="T104" fmla="*/ 100 w 190"/>
                <a:gd name="T105" fmla="*/ 133 h 203"/>
                <a:gd name="T106" fmla="*/ 108 w 190"/>
                <a:gd name="T107" fmla="*/ 135 h 203"/>
                <a:gd name="T108" fmla="*/ 110 w 190"/>
                <a:gd name="T109" fmla="*/ 130 h 203"/>
                <a:gd name="T110" fmla="*/ 116 w 190"/>
                <a:gd name="T111" fmla="*/ 137 h 203"/>
                <a:gd name="T112" fmla="*/ 124 w 190"/>
                <a:gd name="T113" fmla="*/ 144 h 203"/>
                <a:gd name="T114" fmla="*/ 132 w 190"/>
                <a:gd name="T115" fmla="*/ 148 h 203"/>
                <a:gd name="T116" fmla="*/ 139 w 190"/>
                <a:gd name="T117" fmla="*/ 155 h 203"/>
                <a:gd name="T118" fmla="*/ 165 w 190"/>
                <a:gd name="T119" fmla="*/ 156 h 203"/>
                <a:gd name="T120" fmla="*/ 167 w 190"/>
                <a:gd name="T121" fmla="*/ 149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0" h="203">
                  <a:moveTo>
                    <a:pt x="167" y="149"/>
                  </a:moveTo>
                  <a:lnTo>
                    <a:pt x="167" y="149"/>
                  </a:lnTo>
                  <a:lnTo>
                    <a:pt x="167" y="148"/>
                  </a:lnTo>
                  <a:lnTo>
                    <a:pt x="169" y="148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6" y="135"/>
                  </a:lnTo>
                  <a:lnTo>
                    <a:pt x="176" y="133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2" y="130"/>
                  </a:lnTo>
                  <a:lnTo>
                    <a:pt x="167" y="128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3"/>
                  </a:lnTo>
                  <a:lnTo>
                    <a:pt x="160" y="121"/>
                  </a:lnTo>
                  <a:lnTo>
                    <a:pt x="156" y="117"/>
                  </a:lnTo>
                  <a:lnTo>
                    <a:pt x="156" y="117"/>
                  </a:lnTo>
                  <a:lnTo>
                    <a:pt x="151" y="116"/>
                  </a:lnTo>
                  <a:lnTo>
                    <a:pt x="148" y="116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51" y="108"/>
                  </a:lnTo>
                  <a:lnTo>
                    <a:pt x="151" y="105"/>
                  </a:lnTo>
                  <a:lnTo>
                    <a:pt x="153" y="103"/>
                  </a:lnTo>
                  <a:lnTo>
                    <a:pt x="153" y="103"/>
                  </a:lnTo>
                  <a:lnTo>
                    <a:pt x="153" y="103"/>
                  </a:lnTo>
                  <a:lnTo>
                    <a:pt x="160" y="103"/>
                  </a:lnTo>
                  <a:lnTo>
                    <a:pt x="164" y="103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4" y="92"/>
                  </a:lnTo>
                  <a:lnTo>
                    <a:pt x="167" y="89"/>
                  </a:lnTo>
                  <a:lnTo>
                    <a:pt x="169" y="89"/>
                  </a:lnTo>
                  <a:lnTo>
                    <a:pt x="169" y="89"/>
                  </a:lnTo>
                  <a:lnTo>
                    <a:pt x="172" y="89"/>
                  </a:lnTo>
                  <a:lnTo>
                    <a:pt x="180" y="87"/>
                  </a:lnTo>
                  <a:lnTo>
                    <a:pt x="185" y="87"/>
                  </a:lnTo>
                  <a:lnTo>
                    <a:pt x="185" y="87"/>
                  </a:lnTo>
                  <a:lnTo>
                    <a:pt x="188" y="82"/>
                  </a:lnTo>
                  <a:lnTo>
                    <a:pt x="188" y="76"/>
                  </a:lnTo>
                  <a:lnTo>
                    <a:pt x="188" y="71"/>
                  </a:lnTo>
                  <a:lnTo>
                    <a:pt x="188" y="71"/>
                  </a:lnTo>
                  <a:lnTo>
                    <a:pt x="188" y="59"/>
                  </a:lnTo>
                  <a:lnTo>
                    <a:pt x="190" y="48"/>
                  </a:lnTo>
                  <a:lnTo>
                    <a:pt x="187" y="4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1" y="30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4" y="30"/>
                  </a:lnTo>
                  <a:lnTo>
                    <a:pt x="164" y="30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56" y="25"/>
                  </a:lnTo>
                  <a:lnTo>
                    <a:pt x="151" y="20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35" y="5"/>
                  </a:lnTo>
                  <a:lnTo>
                    <a:pt x="132" y="2"/>
                  </a:lnTo>
                  <a:lnTo>
                    <a:pt x="128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9" y="5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4" y="9"/>
                  </a:lnTo>
                  <a:lnTo>
                    <a:pt x="123" y="11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4" y="14"/>
                  </a:lnTo>
                  <a:lnTo>
                    <a:pt x="112" y="18"/>
                  </a:lnTo>
                  <a:lnTo>
                    <a:pt x="110" y="21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7" y="25"/>
                  </a:lnTo>
                  <a:lnTo>
                    <a:pt x="107" y="27"/>
                  </a:lnTo>
                  <a:lnTo>
                    <a:pt x="108" y="30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08" y="41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1" y="34"/>
                  </a:lnTo>
                  <a:lnTo>
                    <a:pt x="100" y="34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4" y="39"/>
                  </a:lnTo>
                  <a:lnTo>
                    <a:pt x="91" y="39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78" y="41"/>
                  </a:lnTo>
                  <a:lnTo>
                    <a:pt x="75" y="44"/>
                  </a:lnTo>
                  <a:lnTo>
                    <a:pt x="73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69" y="44"/>
                  </a:lnTo>
                  <a:lnTo>
                    <a:pt x="68" y="44"/>
                  </a:lnTo>
                  <a:lnTo>
                    <a:pt x="68" y="41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0"/>
                  </a:lnTo>
                  <a:lnTo>
                    <a:pt x="66" y="30"/>
                  </a:lnTo>
                  <a:lnTo>
                    <a:pt x="64" y="32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9" y="30"/>
                  </a:lnTo>
                  <a:lnTo>
                    <a:pt x="59" y="28"/>
                  </a:lnTo>
                  <a:lnTo>
                    <a:pt x="60" y="25"/>
                  </a:lnTo>
                  <a:lnTo>
                    <a:pt x="62" y="21"/>
                  </a:lnTo>
                  <a:lnTo>
                    <a:pt x="62" y="20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7" y="12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4" y="9"/>
                  </a:lnTo>
                  <a:lnTo>
                    <a:pt x="43" y="9"/>
                  </a:lnTo>
                  <a:lnTo>
                    <a:pt x="41" y="12"/>
                  </a:lnTo>
                  <a:lnTo>
                    <a:pt x="37" y="18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5"/>
                  </a:lnTo>
                  <a:lnTo>
                    <a:pt x="32" y="30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9" y="41"/>
                  </a:lnTo>
                  <a:lnTo>
                    <a:pt x="39" y="44"/>
                  </a:lnTo>
                  <a:lnTo>
                    <a:pt x="39" y="50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7" y="59"/>
                  </a:lnTo>
                  <a:lnTo>
                    <a:pt x="41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3" y="60"/>
                  </a:lnTo>
                  <a:lnTo>
                    <a:pt x="59" y="6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75" y="69"/>
                  </a:lnTo>
                  <a:lnTo>
                    <a:pt x="80" y="71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92" y="68"/>
                  </a:lnTo>
                  <a:lnTo>
                    <a:pt x="94" y="69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3" y="71"/>
                  </a:lnTo>
                  <a:lnTo>
                    <a:pt x="103" y="73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91" y="80"/>
                  </a:lnTo>
                  <a:lnTo>
                    <a:pt x="84" y="85"/>
                  </a:lnTo>
                  <a:lnTo>
                    <a:pt x="84" y="85"/>
                  </a:lnTo>
                  <a:lnTo>
                    <a:pt x="82" y="89"/>
                  </a:lnTo>
                  <a:lnTo>
                    <a:pt x="82" y="89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8" y="100"/>
                  </a:lnTo>
                  <a:lnTo>
                    <a:pt x="75" y="100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4" y="92"/>
                  </a:lnTo>
                  <a:lnTo>
                    <a:pt x="62" y="92"/>
                  </a:lnTo>
                  <a:lnTo>
                    <a:pt x="60" y="92"/>
                  </a:lnTo>
                  <a:lnTo>
                    <a:pt x="57" y="94"/>
                  </a:lnTo>
                  <a:lnTo>
                    <a:pt x="57" y="94"/>
                  </a:lnTo>
                  <a:lnTo>
                    <a:pt x="48" y="101"/>
                  </a:lnTo>
                  <a:lnTo>
                    <a:pt x="44" y="101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37" y="110"/>
                  </a:lnTo>
                  <a:lnTo>
                    <a:pt x="32" y="11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7" y="128"/>
                  </a:lnTo>
                  <a:lnTo>
                    <a:pt x="21" y="130"/>
                  </a:lnTo>
                  <a:lnTo>
                    <a:pt x="12" y="135"/>
                  </a:lnTo>
                  <a:lnTo>
                    <a:pt x="12" y="135"/>
                  </a:lnTo>
                  <a:lnTo>
                    <a:pt x="11" y="140"/>
                  </a:lnTo>
                  <a:lnTo>
                    <a:pt x="7" y="144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0" y="162"/>
                  </a:lnTo>
                  <a:lnTo>
                    <a:pt x="4" y="158"/>
                  </a:lnTo>
                  <a:lnTo>
                    <a:pt x="5" y="172"/>
                  </a:lnTo>
                  <a:lnTo>
                    <a:pt x="12" y="165"/>
                  </a:lnTo>
                  <a:lnTo>
                    <a:pt x="16" y="167"/>
                  </a:lnTo>
                  <a:lnTo>
                    <a:pt x="18" y="171"/>
                  </a:lnTo>
                  <a:lnTo>
                    <a:pt x="25" y="172"/>
                  </a:lnTo>
                  <a:lnTo>
                    <a:pt x="32" y="183"/>
                  </a:lnTo>
                  <a:lnTo>
                    <a:pt x="30" y="188"/>
                  </a:lnTo>
                  <a:lnTo>
                    <a:pt x="30" y="188"/>
                  </a:lnTo>
                  <a:lnTo>
                    <a:pt x="23" y="188"/>
                  </a:lnTo>
                  <a:lnTo>
                    <a:pt x="20" y="192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8" y="196"/>
                  </a:lnTo>
                  <a:lnTo>
                    <a:pt x="21" y="203"/>
                  </a:lnTo>
                  <a:lnTo>
                    <a:pt x="21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37" y="199"/>
                  </a:lnTo>
                  <a:lnTo>
                    <a:pt x="37" y="199"/>
                  </a:lnTo>
                  <a:lnTo>
                    <a:pt x="57" y="199"/>
                  </a:lnTo>
                  <a:lnTo>
                    <a:pt x="57" y="199"/>
                  </a:lnTo>
                  <a:lnTo>
                    <a:pt x="57" y="190"/>
                  </a:lnTo>
                  <a:lnTo>
                    <a:pt x="57" y="185"/>
                  </a:lnTo>
                  <a:lnTo>
                    <a:pt x="57" y="181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4" y="176"/>
                  </a:lnTo>
                  <a:lnTo>
                    <a:pt x="69" y="176"/>
                  </a:lnTo>
                  <a:lnTo>
                    <a:pt x="75" y="174"/>
                  </a:lnTo>
                  <a:lnTo>
                    <a:pt x="100" y="188"/>
                  </a:lnTo>
                  <a:lnTo>
                    <a:pt x="100" y="188"/>
                  </a:lnTo>
                  <a:lnTo>
                    <a:pt x="103" y="190"/>
                  </a:lnTo>
                  <a:lnTo>
                    <a:pt x="105" y="190"/>
                  </a:lnTo>
                  <a:lnTo>
                    <a:pt x="105" y="188"/>
                  </a:lnTo>
                  <a:lnTo>
                    <a:pt x="105" y="188"/>
                  </a:lnTo>
                  <a:lnTo>
                    <a:pt x="105" y="188"/>
                  </a:lnTo>
                  <a:lnTo>
                    <a:pt x="101" y="181"/>
                  </a:lnTo>
                  <a:lnTo>
                    <a:pt x="94" y="172"/>
                  </a:lnTo>
                  <a:lnTo>
                    <a:pt x="87" y="162"/>
                  </a:lnTo>
                  <a:lnTo>
                    <a:pt x="87" y="158"/>
                  </a:lnTo>
                  <a:lnTo>
                    <a:pt x="87" y="156"/>
                  </a:lnTo>
                  <a:lnTo>
                    <a:pt x="87" y="156"/>
                  </a:lnTo>
                  <a:lnTo>
                    <a:pt x="91" y="153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100" y="156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3" y="156"/>
                  </a:lnTo>
                  <a:lnTo>
                    <a:pt x="105" y="156"/>
                  </a:lnTo>
                  <a:lnTo>
                    <a:pt x="105" y="156"/>
                  </a:lnTo>
                  <a:lnTo>
                    <a:pt x="94" y="149"/>
                  </a:lnTo>
                  <a:lnTo>
                    <a:pt x="89" y="144"/>
                  </a:lnTo>
                  <a:lnTo>
                    <a:pt x="87" y="144"/>
                  </a:lnTo>
                  <a:lnTo>
                    <a:pt x="87" y="142"/>
                  </a:lnTo>
                  <a:lnTo>
                    <a:pt x="87" y="142"/>
                  </a:lnTo>
                  <a:lnTo>
                    <a:pt x="91" y="142"/>
                  </a:lnTo>
                  <a:lnTo>
                    <a:pt x="94" y="142"/>
                  </a:lnTo>
                  <a:lnTo>
                    <a:pt x="100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0"/>
                  </a:lnTo>
                  <a:lnTo>
                    <a:pt x="101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3" y="133"/>
                  </a:lnTo>
                  <a:lnTo>
                    <a:pt x="105" y="133"/>
                  </a:lnTo>
                  <a:lnTo>
                    <a:pt x="107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3"/>
                  </a:lnTo>
                  <a:lnTo>
                    <a:pt x="108" y="132"/>
                  </a:lnTo>
                  <a:lnTo>
                    <a:pt x="108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4" y="132"/>
                  </a:lnTo>
                  <a:lnTo>
                    <a:pt x="116" y="133"/>
                  </a:lnTo>
                  <a:lnTo>
                    <a:pt x="116" y="133"/>
                  </a:lnTo>
                  <a:lnTo>
                    <a:pt x="116" y="137"/>
                  </a:lnTo>
                  <a:lnTo>
                    <a:pt x="119" y="140"/>
                  </a:lnTo>
                  <a:lnTo>
                    <a:pt x="121" y="140"/>
                  </a:lnTo>
                  <a:lnTo>
                    <a:pt x="121" y="140"/>
                  </a:lnTo>
                  <a:lnTo>
                    <a:pt x="123" y="142"/>
                  </a:lnTo>
                  <a:lnTo>
                    <a:pt x="124" y="144"/>
                  </a:lnTo>
                  <a:lnTo>
                    <a:pt x="124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8" y="146"/>
                  </a:lnTo>
                  <a:lnTo>
                    <a:pt x="132" y="148"/>
                  </a:lnTo>
                  <a:lnTo>
                    <a:pt x="133" y="148"/>
                  </a:lnTo>
                  <a:lnTo>
                    <a:pt x="140" y="151"/>
                  </a:lnTo>
                  <a:lnTo>
                    <a:pt x="140" y="151"/>
                  </a:lnTo>
                  <a:lnTo>
                    <a:pt x="140" y="153"/>
                  </a:lnTo>
                  <a:lnTo>
                    <a:pt x="139" y="155"/>
                  </a:lnTo>
                  <a:lnTo>
                    <a:pt x="140" y="156"/>
                  </a:lnTo>
                  <a:lnTo>
                    <a:pt x="140" y="156"/>
                  </a:lnTo>
                  <a:lnTo>
                    <a:pt x="144" y="153"/>
                  </a:lnTo>
                  <a:lnTo>
                    <a:pt x="148" y="153"/>
                  </a:lnTo>
                  <a:lnTo>
                    <a:pt x="165" y="156"/>
                  </a:lnTo>
                  <a:lnTo>
                    <a:pt x="169" y="156"/>
                  </a:lnTo>
                  <a:lnTo>
                    <a:pt x="169" y="156"/>
                  </a:lnTo>
                  <a:lnTo>
                    <a:pt x="169" y="153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69"/>
            <p:cNvSpPr>
              <a:spLocks/>
            </p:cNvSpPr>
            <p:nvPr/>
          </p:nvSpPr>
          <p:spPr bwMode="auto">
            <a:xfrm>
              <a:off x="1409736" y="2540155"/>
              <a:ext cx="216776" cy="173992"/>
            </a:xfrm>
            <a:custGeom>
              <a:avLst/>
              <a:gdLst>
                <a:gd name="T0" fmla="*/ 252 w 380"/>
                <a:gd name="T1" fmla="*/ 293 h 305"/>
                <a:gd name="T2" fmla="*/ 257 w 380"/>
                <a:gd name="T3" fmla="*/ 293 h 305"/>
                <a:gd name="T4" fmla="*/ 280 w 380"/>
                <a:gd name="T5" fmla="*/ 279 h 305"/>
                <a:gd name="T6" fmla="*/ 291 w 380"/>
                <a:gd name="T7" fmla="*/ 282 h 305"/>
                <a:gd name="T8" fmla="*/ 300 w 380"/>
                <a:gd name="T9" fmla="*/ 282 h 305"/>
                <a:gd name="T10" fmla="*/ 320 w 380"/>
                <a:gd name="T11" fmla="*/ 286 h 305"/>
                <a:gd name="T12" fmla="*/ 330 w 380"/>
                <a:gd name="T13" fmla="*/ 284 h 305"/>
                <a:gd name="T14" fmla="*/ 346 w 380"/>
                <a:gd name="T15" fmla="*/ 279 h 305"/>
                <a:gd name="T16" fmla="*/ 355 w 380"/>
                <a:gd name="T17" fmla="*/ 272 h 305"/>
                <a:gd name="T18" fmla="*/ 366 w 380"/>
                <a:gd name="T19" fmla="*/ 245 h 305"/>
                <a:gd name="T20" fmla="*/ 380 w 380"/>
                <a:gd name="T21" fmla="*/ 222 h 305"/>
                <a:gd name="T22" fmla="*/ 346 w 380"/>
                <a:gd name="T23" fmla="*/ 208 h 305"/>
                <a:gd name="T24" fmla="*/ 346 w 380"/>
                <a:gd name="T25" fmla="*/ 188 h 305"/>
                <a:gd name="T26" fmla="*/ 350 w 380"/>
                <a:gd name="T27" fmla="*/ 183 h 305"/>
                <a:gd name="T28" fmla="*/ 373 w 380"/>
                <a:gd name="T29" fmla="*/ 151 h 305"/>
                <a:gd name="T30" fmla="*/ 341 w 380"/>
                <a:gd name="T31" fmla="*/ 122 h 305"/>
                <a:gd name="T32" fmla="*/ 321 w 380"/>
                <a:gd name="T33" fmla="*/ 110 h 305"/>
                <a:gd name="T34" fmla="*/ 298 w 380"/>
                <a:gd name="T35" fmla="*/ 105 h 305"/>
                <a:gd name="T36" fmla="*/ 273 w 380"/>
                <a:gd name="T37" fmla="*/ 101 h 305"/>
                <a:gd name="T38" fmla="*/ 273 w 380"/>
                <a:gd name="T39" fmla="*/ 49 h 305"/>
                <a:gd name="T40" fmla="*/ 263 w 380"/>
                <a:gd name="T41" fmla="*/ 41 h 305"/>
                <a:gd name="T42" fmla="*/ 256 w 380"/>
                <a:gd name="T43" fmla="*/ 35 h 305"/>
                <a:gd name="T44" fmla="*/ 232 w 380"/>
                <a:gd name="T45" fmla="*/ 44 h 305"/>
                <a:gd name="T46" fmla="*/ 222 w 380"/>
                <a:gd name="T47" fmla="*/ 51 h 305"/>
                <a:gd name="T48" fmla="*/ 216 w 380"/>
                <a:gd name="T49" fmla="*/ 51 h 305"/>
                <a:gd name="T50" fmla="*/ 204 w 380"/>
                <a:gd name="T51" fmla="*/ 42 h 305"/>
                <a:gd name="T52" fmla="*/ 195 w 380"/>
                <a:gd name="T53" fmla="*/ 37 h 305"/>
                <a:gd name="T54" fmla="*/ 193 w 380"/>
                <a:gd name="T55" fmla="*/ 33 h 305"/>
                <a:gd name="T56" fmla="*/ 190 w 380"/>
                <a:gd name="T57" fmla="*/ 32 h 305"/>
                <a:gd name="T58" fmla="*/ 163 w 380"/>
                <a:gd name="T59" fmla="*/ 30 h 305"/>
                <a:gd name="T60" fmla="*/ 152 w 380"/>
                <a:gd name="T61" fmla="*/ 21 h 305"/>
                <a:gd name="T62" fmla="*/ 151 w 380"/>
                <a:gd name="T63" fmla="*/ 17 h 305"/>
                <a:gd name="T64" fmla="*/ 126 w 380"/>
                <a:gd name="T65" fmla="*/ 10 h 305"/>
                <a:gd name="T66" fmla="*/ 113 w 380"/>
                <a:gd name="T67" fmla="*/ 7 h 305"/>
                <a:gd name="T68" fmla="*/ 104 w 380"/>
                <a:gd name="T69" fmla="*/ 0 h 305"/>
                <a:gd name="T70" fmla="*/ 99 w 380"/>
                <a:gd name="T71" fmla="*/ 3 h 305"/>
                <a:gd name="T72" fmla="*/ 96 w 380"/>
                <a:gd name="T73" fmla="*/ 12 h 305"/>
                <a:gd name="T74" fmla="*/ 78 w 380"/>
                <a:gd name="T75" fmla="*/ 33 h 305"/>
                <a:gd name="T76" fmla="*/ 69 w 380"/>
                <a:gd name="T77" fmla="*/ 53 h 305"/>
                <a:gd name="T78" fmla="*/ 53 w 380"/>
                <a:gd name="T79" fmla="*/ 57 h 305"/>
                <a:gd name="T80" fmla="*/ 44 w 380"/>
                <a:gd name="T81" fmla="*/ 62 h 305"/>
                <a:gd name="T82" fmla="*/ 32 w 380"/>
                <a:gd name="T83" fmla="*/ 74 h 305"/>
                <a:gd name="T84" fmla="*/ 21 w 380"/>
                <a:gd name="T85" fmla="*/ 81 h 305"/>
                <a:gd name="T86" fmla="*/ 12 w 380"/>
                <a:gd name="T87" fmla="*/ 101 h 305"/>
                <a:gd name="T88" fmla="*/ 0 w 380"/>
                <a:gd name="T89" fmla="*/ 113 h 305"/>
                <a:gd name="T90" fmla="*/ 8 w 380"/>
                <a:gd name="T91" fmla="*/ 151 h 305"/>
                <a:gd name="T92" fmla="*/ 71 w 380"/>
                <a:gd name="T93" fmla="*/ 192 h 305"/>
                <a:gd name="T94" fmla="*/ 90 w 380"/>
                <a:gd name="T95" fmla="*/ 206 h 305"/>
                <a:gd name="T96" fmla="*/ 104 w 380"/>
                <a:gd name="T97" fmla="*/ 229 h 305"/>
                <a:gd name="T98" fmla="*/ 142 w 380"/>
                <a:gd name="T99" fmla="*/ 263 h 305"/>
                <a:gd name="T100" fmla="*/ 181 w 380"/>
                <a:gd name="T101" fmla="*/ 263 h 305"/>
                <a:gd name="T102" fmla="*/ 186 w 380"/>
                <a:gd name="T103" fmla="*/ 261 h 305"/>
                <a:gd name="T104" fmla="*/ 193 w 380"/>
                <a:gd name="T105" fmla="*/ 268 h 305"/>
                <a:gd name="T106" fmla="*/ 193 w 380"/>
                <a:gd name="T107" fmla="*/ 305 h 305"/>
                <a:gd name="T108" fmla="*/ 220 w 380"/>
                <a:gd name="T109" fmla="*/ 298 h 305"/>
                <a:gd name="T110" fmla="*/ 248 w 380"/>
                <a:gd name="T111" fmla="*/ 293 h 305"/>
                <a:gd name="T112" fmla="*/ 248 w 380"/>
                <a:gd name="T113" fmla="*/ 29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0" h="305">
                  <a:moveTo>
                    <a:pt x="248" y="293"/>
                  </a:moveTo>
                  <a:lnTo>
                    <a:pt x="248" y="293"/>
                  </a:lnTo>
                  <a:lnTo>
                    <a:pt x="252" y="293"/>
                  </a:lnTo>
                  <a:lnTo>
                    <a:pt x="256" y="293"/>
                  </a:lnTo>
                  <a:lnTo>
                    <a:pt x="257" y="293"/>
                  </a:lnTo>
                  <a:lnTo>
                    <a:pt x="257" y="293"/>
                  </a:lnTo>
                  <a:lnTo>
                    <a:pt x="268" y="284"/>
                  </a:lnTo>
                  <a:lnTo>
                    <a:pt x="277" y="280"/>
                  </a:lnTo>
                  <a:lnTo>
                    <a:pt x="280" y="279"/>
                  </a:lnTo>
                  <a:lnTo>
                    <a:pt x="282" y="279"/>
                  </a:lnTo>
                  <a:lnTo>
                    <a:pt x="282" y="279"/>
                  </a:lnTo>
                  <a:lnTo>
                    <a:pt x="291" y="282"/>
                  </a:lnTo>
                  <a:lnTo>
                    <a:pt x="295" y="282"/>
                  </a:lnTo>
                  <a:lnTo>
                    <a:pt x="300" y="282"/>
                  </a:lnTo>
                  <a:lnTo>
                    <a:pt x="300" y="282"/>
                  </a:lnTo>
                  <a:lnTo>
                    <a:pt x="305" y="282"/>
                  </a:lnTo>
                  <a:lnTo>
                    <a:pt x="311" y="284"/>
                  </a:lnTo>
                  <a:lnTo>
                    <a:pt x="320" y="286"/>
                  </a:lnTo>
                  <a:lnTo>
                    <a:pt x="320" y="286"/>
                  </a:lnTo>
                  <a:lnTo>
                    <a:pt x="323" y="286"/>
                  </a:lnTo>
                  <a:lnTo>
                    <a:pt x="330" y="284"/>
                  </a:lnTo>
                  <a:lnTo>
                    <a:pt x="341" y="280"/>
                  </a:lnTo>
                  <a:lnTo>
                    <a:pt x="341" y="280"/>
                  </a:lnTo>
                  <a:lnTo>
                    <a:pt x="346" y="279"/>
                  </a:lnTo>
                  <a:lnTo>
                    <a:pt x="352" y="279"/>
                  </a:lnTo>
                  <a:lnTo>
                    <a:pt x="352" y="277"/>
                  </a:lnTo>
                  <a:lnTo>
                    <a:pt x="355" y="272"/>
                  </a:lnTo>
                  <a:lnTo>
                    <a:pt x="353" y="263"/>
                  </a:lnTo>
                  <a:lnTo>
                    <a:pt x="360" y="252"/>
                  </a:lnTo>
                  <a:lnTo>
                    <a:pt x="366" y="245"/>
                  </a:lnTo>
                  <a:lnTo>
                    <a:pt x="373" y="241"/>
                  </a:lnTo>
                  <a:lnTo>
                    <a:pt x="378" y="241"/>
                  </a:lnTo>
                  <a:lnTo>
                    <a:pt x="380" y="222"/>
                  </a:lnTo>
                  <a:lnTo>
                    <a:pt x="366" y="21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50" y="201"/>
                  </a:lnTo>
                  <a:lnTo>
                    <a:pt x="350" y="195"/>
                  </a:lnTo>
                  <a:lnTo>
                    <a:pt x="346" y="188"/>
                  </a:lnTo>
                  <a:lnTo>
                    <a:pt x="346" y="188"/>
                  </a:lnTo>
                  <a:lnTo>
                    <a:pt x="346" y="186"/>
                  </a:lnTo>
                  <a:lnTo>
                    <a:pt x="350" y="183"/>
                  </a:lnTo>
                  <a:lnTo>
                    <a:pt x="359" y="174"/>
                  </a:lnTo>
                  <a:lnTo>
                    <a:pt x="375" y="163"/>
                  </a:lnTo>
                  <a:lnTo>
                    <a:pt x="373" y="151"/>
                  </a:lnTo>
                  <a:lnTo>
                    <a:pt x="352" y="147"/>
                  </a:lnTo>
                  <a:lnTo>
                    <a:pt x="350" y="131"/>
                  </a:lnTo>
                  <a:lnTo>
                    <a:pt x="341" y="122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21" y="110"/>
                  </a:lnTo>
                  <a:lnTo>
                    <a:pt x="309" y="105"/>
                  </a:lnTo>
                  <a:lnTo>
                    <a:pt x="298" y="105"/>
                  </a:lnTo>
                  <a:lnTo>
                    <a:pt x="298" y="105"/>
                  </a:lnTo>
                  <a:lnTo>
                    <a:pt x="291" y="105"/>
                  </a:lnTo>
                  <a:lnTo>
                    <a:pt x="282" y="101"/>
                  </a:lnTo>
                  <a:lnTo>
                    <a:pt x="273" y="101"/>
                  </a:lnTo>
                  <a:lnTo>
                    <a:pt x="284" y="81"/>
                  </a:lnTo>
                  <a:lnTo>
                    <a:pt x="280" y="49"/>
                  </a:lnTo>
                  <a:lnTo>
                    <a:pt x="273" y="49"/>
                  </a:lnTo>
                  <a:lnTo>
                    <a:pt x="273" y="49"/>
                  </a:lnTo>
                  <a:lnTo>
                    <a:pt x="268" y="44"/>
                  </a:lnTo>
                  <a:lnTo>
                    <a:pt x="263" y="41"/>
                  </a:lnTo>
                  <a:lnTo>
                    <a:pt x="257" y="37"/>
                  </a:lnTo>
                  <a:lnTo>
                    <a:pt x="257" y="37"/>
                  </a:lnTo>
                  <a:lnTo>
                    <a:pt x="256" y="35"/>
                  </a:lnTo>
                  <a:lnTo>
                    <a:pt x="250" y="35"/>
                  </a:lnTo>
                  <a:lnTo>
                    <a:pt x="240" y="39"/>
                  </a:lnTo>
                  <a:lnTo>
                    <a:pt x="232" y="44"/>
                  </a:lnTo>
                  <a:lnTo>
                    <a:pt x="227" y="48"/>
                  </a:lnTo>
                  <a:lnTo>
                    <a:pt x="227" y="48"/>
                  </a:lnTo>
                  <a:lnTo>
                    <a:pt x="222" y="51"/>
                  </a:lnTo>
                  <a:lnTo>
                    <a:pt x="218" y="51"/>
                  </a:lnTo>
                  <a:lnTo>
                    <a:pt x="218" y="51"/>
                  </a:lnTo>
                  <a:lnTo>
                    <a:pt x="216" y="51"/>
                  </a:lnTo>
                  <a:lnTo>
                    <a:pt x="213" y="48"/>
                  </a:lnTo>
                  <a:lnTo>
                    <a:pt x="209" y="44"/>
                  </a:lnTo>
                  <a:lnTo>
                    <a:pt x="204" y="42"/>
                  </a:lnTo>
                  <a:lnTo>
                    <a:pt x="204" y="42"/>
                  </a:lnTo>
                  <a:lnTo>
                    <a:pt x="197" y="39"/>
                  </a:lnTo>
                  <a:lnTo>
                    <a:pt x="195" y="37"/>
                  </a:lnTo>
                  <a:lnTo>
                    <a:pt x="193" y="37"/>
                  </a:lnTo>
                  <a:lnTo>
                    <a:pt x="193" y="37"/>
                  </a:lnTo>
                  <a:lnTo>
                    <a:pt x="193" y="33"/>
                  </a:lnTo>
                  <a:lnTo>
                    <a:pt x="193" y="32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77" y="30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58" y="28"/>
                  </a:lnTo>
                  <a:lnTo>
                    <a:pt x="154" y="25"/>
                  </a:lnTo>
                  <a:lnTo>
                    <a:pt x="152" y="21"/>
                  </a:lnTo>
                  <a:lnTo>
                    <a:pt x="152" y="17"/>
                  </a:lnTo>
                  <a:lnTo>
                    <a:pt x="152" y="17"/>
                  </a:lnTo>
                  <a:lnTo>
                    <a:pt x="151" y="17"/>
                  </a:lnTo>
                  <a:lnTo>
                    <a:pt x="149" y="16"/>
                  </a:lnTo>
                  <a:lnTo>
                    <a:pt x="142" y="14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0" y="9"/>
                  </a:lnTo>
                  <a:lnTo>
                    <a:pt x="113" y="7"/>
                  </a:lnTo>
                  <a:lnTo>
                    <a:pt x="106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1" y="0"/>
                  </a:lnTo>
                  <a:lnTo>
                    <a:pt x="99" y="1"/>
                  </a:lnTo>
                  <a:lnTo>
                    <a:pt x="99" y="3"/>
                  </a:lnTo>
                  <a:lnTo>
                    <a:pt x="97" y="9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87" y="25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4" y="42"/>
                  </a:lnTo>
                  <a:lnTo>
                    <a:pt x="71" y="51"/>
                  </a:lnTo>
                  <a:lnTo>
                    <a:pt x="69" y="53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53" y="57"/>
                  </a:lnTo>
                  <a:lnTo>
                    <a:pt x="48" y="60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35" y="65"/>
                  </a:lnTo>
                  <a:lnTo>
                    <a:pt x="33" y="71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0" y="78"/>
                  </a:lnTo>
                  <a:lnTo>
                    <a:pt x="21" y="81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2" y="101"/>
                  </a:lnTo>
                  <a:lnTo>
                    <a:pt x="5" y="101"/>
                  </a:lnTo>
                  <a:lnTo>
                    <a:pt x="7" y="110"/>
                  </a:lnTo>
                  <a:lnTo>
                    <a:pt x="0" y="113"/>
                  </a:lnTo>
                  <a:lnTo>
                    <a:pt x="8" y="124"/>
                  </a:lnTo>
                  <a:lnTo>
                    <a:pt x="5" y="140"/>
                  </a:lnTo>
                  <a:lnTo>
                    <a:pt x="8" y="151"/>
                  </a:lnTo>
                  <a:lnTo>
                    <a:pt x="12" y="165"/>
                  </a:lnTo>
                  <a:lnTo>
                    <a:pt x="40" y="181"/>
                  </a:lnTo>
                  <a:lnTo>
                    <a:pt x="71" y="192"/>
                  </a:lnTo>
                  <a:lnTo>
                    <a:pt x="71" y="192"/>
                  </a:lnTo>
                  <a:lnTo>
                    <a:pt x="81" y="201"/>
                  </a:lnTo>
                  <a:lnTo>
                    <a:pt x="90" y="206"/>
                  </a:lnTo>
                  <a:lnTo>
                    <a:pt x="97" y="213"/>
                  </a:lnTo>
                  <a:lnTo>
                    <a:pt x="97" y="213"/>
                  </a:lnTo>
                  <a:lnTo>
                    <a:pt x="104" y="229"/>
                  </a:lnTo>
                  <a:lnTo>
                    <a:pt x="108" y="243"/>
                  </a:lnTo>
                  <a:lnTo>
                    <a:pt x="136" y="245"/>
                  </a:lnTo>
                  <a:lnTo>
                    <a:pt x="142" y="263"/>
                  </a:lnTo>
                  <a:lnTo>
                    <a:pt x="177" y="263"/>
                  </a:lnTo>
                  <a:lnTo>
                    <a:pt x="177" y="263"/>
                  </a:lnTo>
                  <a:lnTo>
                    <a:pt x="181" y="263"/>
                  </a:lnTo>
                  <a:lnTo>
                    <a:pt x="183" y="261"/>
                  </a:lnTo>
                  <a:lnTo>
                    <a:pt x="186" y="261"/>
                  </a:lnTo>
                  <a:lnTo>
                    <a:pt x="186" y="261"/>
                  </a:lnTo>
                  <a:lnTo>
                    <a:pt x="190" y="263"/>
                  </a:lnTo>
                  <a:lnTo>
                    <a:pt x="190" y="265"/>
                  </a:lnTo>
                  <a:lnTo>
                    <a:pt x="193" y="268"/>
                  </a:lnTo>
                  <a:lnTo>
                    <a:pt x="186" y="275"/>
                  </a:lnTo>
                  <a:lnTo>
                    <a:pt x="186" y="302"/>
                  </a:lnTo>
                  <a:lnTo>
                    <a:pt x="193" y="305"/>
                  </a:lnTo>
                  <a:lnTo>
                    <a:pt x="200" y="296"/>
                  </a:lnTo>
                  <a:lnTo>
                    <a:pt x="213" y="293"/>
                  </a:lnTo>
                  <a:lnTo>
                    <a:pt x="220" y="298"/>
                  </a:lnTo>
                  <a:lnTo>
                    <a:pt x="222" y="298"/>
                  </a:lnTo>
                  <a:lnTo>
                    <a:pt x="222" y="295"/>
                  </a:lnTo>
                  <a:lnTo>
                    <a:pt x="248" y="293"/>
                  </a:lnTo>
                  <a:lnTo>
                    <a:pt x="248" y="293"/>
                  </a:lnTo>
                  <a:lnTo>
                    <a:pt x="248" y="293"/>
                  </a:lnTo>
                  <a:lnTo>
                    <a:pt x="248" y="29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70"/>
            <p:cNvSpPr>
              <a:spLocks/>
            </p:cNvSpPr>
            <p:nvPr/>
          </p:nvSpPr>
          <p:spPr bwMode="auto">
            <a:xfrm>
              <a:off x="1403461" y="2741529"/>
              <a:ext cx="156878" cy="122650"/>
            </a:xfrm>
            <a:custGeom>
              <a:avLst/>
              <a:gdLst>
                <a:gd name="T0" fmla="*/ 156 w 275"/>
                <a:gd name="T1" fmla="*/ 191 h 215"/>
                <a:gd name="T2" fmla="*/ 174 w 275"/>
                <a:gd name="T3" fmla="*/ 180 h 215"/>
                <a:gd name="T4" fmla="*/ 203 w 275"/>
                <a:gd name="T5" fmla="*/ 175 h 215"/>
                <a:gd name="T6" fmla="*/ 220 w 275"/>
                <a:gd name="T7" fmla="*/ 167 h 215"/>
                <a:gd name="T8" fmla="*/ 227 w 275"/>
                <a:gd name="T9" fmla="*/ 155 h 215"/>
                <a:gd name="T10" fmla="*/ 242 w 275"/>
                <a:gd name="T11" fmla="*/ 157 h 215"/>
                <a:gd name="T12" fmla="*/ 251 w 275"/>
                <a:gd name="T13" fmla="*/ 155 h 215"/>
                <a:gd name="T14" fmla="*/ 252 w 275"/>
                <a:gd name="T15" fmla="*/ 151 h 215"/>
                <a:gd name="T16" fmla="*/ 251 w 275"/>
                <a:gd name="T17" fmla="*/ 137 h 215"/>
                <a:gd name="T18" fmla="*/ 261 w 275"/>
                <a:gd name="T19" fmla="*/ 134 h 215"/>
                <a:gd name="T20" fmla="*/ 272 w 275"/>
                <a:gd name="T21" fmla="*/ 130 h 215"/>
                <a:gd name="T22" fmla="*/ 274 w 275"/>
                <a:gd name="T23" fmla="*/ 112 h 215"/>
                <a:gd name="T24" fmla="*/ 275 w 275"/>
                <a:gd name="T25" fmla="*/ 89 h 215"/>
                <a:gd name="T26" fmla="*/ 249 w 275"/>
                <a:gd name="T27" fmla="*/ 50 h 215"/>
                <a:gd name="T28" fmla="*/ 231 w 275"/>
                <a:gd name="T29" fmla="*/ 29 h 215"/>
                <a:gd name="T30" fmla="*/ 211 w 275"/>
                <a:gd name="T31" fmla="*/ 36 h 215"/>
                <a:gd name="T32" fmla="*/ 178 w 275"/>
                <a:gd name="T33" fmla="*/ 41 h 215"/>
                <a:gd name="T34" fmla="*/ 147 w 275"/>
                <a:gd name="T35" fmla="*/ 50 h 215"/>
                <a:gd name="T36" fmla="*/ 124 w 275"/>
                <a:gd name="T37" fmla="*/ 31 h 215"/>
                <a:gd name="T38" fmla="*/ 83 w 275"/>
                <a:gd name="T39" fmla="*/ 9 h 215"/>
                <a:gd name="T40" fmla="*/ 41 w 275"/>
                <a:gd name="T41" fmla="*/ 16 h 215"/>
                <a:gd name="T42" fmla="*/ 3 w 275"/>
                <a:gd name="T43" fmla="*/ 18 h 215"/>
                <a:gd name="T44" fmla="*/ 2 w 275"/>
                <a:gd name="T45" fmla="*/ 29 h 215"/>
                <a:gd name="T46" fmla="*/ 11 w 275"/>
                <a:gd name="T47" fmla="*/ 71 h 215"/>
                <a:gd name="T48" fmla="*/ 21 w 275"/>
                <a:gd name="T49" fmla="*/ 148 h 215"/>
                <a:gd name="T50" fmla="*/ 35 w 275"/>
                <a:gd name="T51" fmla="*/ 167 h 215"/>
                <a:gd name="T52" fmla="*/ 41 w 275"/>
                <a:gd name="T53" fmla="*/ 166 h 215"/>
                <a:gd name="T54" fmla="*/ 43 w 275"/>
                <a:gd name="T55" fmla="*/ 160 h 215"/>
                <a:gd name="T56" fmla="*/ 46 w 275"/>
                <a:gd name="T57" fmla="*/ 155 h 215"/>
                <a:gd name="T58" fmla="*/ 51 w 275"/>
                <a:gd name="T59" fmla="*/ 151 h 215"/>
                <a:gd name="T60" fmla="*/ 57 w 275"/>
                <a:gd name="T61" fmla="*/ 151 h 215"/>
                <a:gd name="T62" fmla="*/ 64 w 275"/>
                <a:gd name="T63" fmla="*/ 160 h 215"/>
                <a:gd name="T64" fmla="*/ 62 w 275"/>
                <a:gd name="T65" fmla="*/ 167 h 215"/>
                <a:gd name="T66" fmla="*/ 60 w 275"/>
                <a:gd name="T67" fmla="*/ 171 h 215"/>
                <a:gd name="T68" fmla="*/ 66 w 275"/>
                <a:gd name="T69" fmla="*/ 173 h 215"/>
                <a:gd name="T70" fmla="*/ 69 w 275"/>
                <a:gd name="T71" fmla="*/ 175 h 215"/>
                <a:gd name="T72" fmla="*/ 73 w 275"/>
                <a:gd name="T73" fmla="*/ 189 h 215"/>
                <a:gd name="T74" fmla="*/ 80 w 275"/>
                <a:gd name="T75" fmla="*/ 189 h 215"/>
                <a:gd name="T76" fmla="*/ 85 w 275"/>
                <a:gd name="T77" fmla="*/ 189 h 215"/>
                <a:gd name="T78" fmla="*/ 98 w 275"/>
                <a:gd name="T79" fmla="*/ 192 h 215"/>
                <a:gd name="T80" fmla="*/ 103 w 275"/>
                <a:gd name="T81" fmla="*/ 196 h 215"/>
                <a:gd name="T82" fmla="*/ 110 w 275"/>
                <a:gd name="T83" fmla="*/ 192 h 215"/>
                <a:gd name="T84" fmla="*/ 115 w 275"/>
                <a:gd name="T85" fmla="*/ 191 h 215"/>
                <a:gd name="T86" fmla="*/ 124 w 275"/>
                <a:gd name="T87" fmla="*/ 192 h 215"/>
                <a:gd name="T88" fmla="*/ 131 w 275"/>
                <a:gd name="T89" fmla="*/ 191 h 215"/>
                <a:gd name="T90" fmla="*/ 144 w 275"/>
                <a:gd name="T91" fmla="*/ 198 h 215"/>
                <a:gd name="T92" fmla="*/ 147 w 275"/>
                <a:gd name="T93" fmla="*/ 205 h 215"/>
                <a:gd name="T94" fmla="*/ 163 w 275"/>
                <a:gd name="T95" fmla="*/ 215 h 215"/>
                <a:gd name="T96" fmla="*/ 169 w 275"/>
                <a:gd name="T97" fmla="*/ 208 h 215"/>
                <a:gd name="T98" fmla="*/ 169 w 275"/>
                <a:gd name="T99" fmla="*/ 207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5" h="215">
                  <a:moveTo>
                    <a:pt x="169" y="207"/>
                  </a:moveTo>
                  <a:lnTo>
                    <a:pt x="169" y="207"/>
                  </a:lnTo>
                  <a:lnTo>
                    <a:pt x="156" y="191"/>
                  </a:lnTo>
                  <a:lnTo>
                    <a:pt x="156" y="191"/>
                  </a:lnTo>
                  <a:lnTo>
                    <a:pt x="165" y="185"/>
                  </a:lnTo>
                  <a:lnTo>
                    <a:pt x="174" y="180"/>
                  </a:lnTo>
                  <a:lnTo>
                    <a:pt x="181" y="178"/>
                  </a:lnTo>
                  <a:lnTo>
                    <a:pt x="181" y="178"/>
                  </a:lnTo>
                  <a:lnTo>
                    <a:pt x="203" y="175"/>
                  </a:lnTo>
                  <a:lnTo>
                    <a:pt x="211" y="171"/>
                  </a:lnTo>
                  <a:lnTo>
                    <a:pt x="215" y="169"/>
                  </a:lnTo>
                  <a:lnTo>
                    <a:pt x="220" y="167"/>
                  </a:lnTo>
                  <a:lnTo>
                    <a:pt x="220" y="167"/>
                  </a:lnTo>
                  <a:lnTo>
                    <a:pt x="224" y="159"/>
                  </a:lnTo>
                  <a:lnTo>
                    <a:pt x="227" y="155"/>
                  </a:lnTo>
                  <a:lnTo>
                    <a:pt x="229" y="155"/>
                  </a:lnTo>
                  <a:lnTo>
                    <a:pt x="229" y="155"/>
                  </a:lnTo>
                  <a:lnTo>
                    <a:pt x="242" y="157"/>
                  </a:lnTo>
                  <a:lnTo>
                    <a:pt x="247" y="157"/>
                  </a:lnTo>
                  <a:lnTo>
                    <a:pt x="249" y="157"/>
                  </a:lnTo>
                  <a:lnTo>
                    <a:pt x="251" y="155"/>
                  </a:lnTo>
                  <a:lnTo>
                    <a:pt x="251" y="155"/>
                  </a:lnTo>
                  <a:lnTo>
                    <a:pt x="251" y="155"/>
                  </a:lnTo>
                  <a:lnTo>
                    <a:pt x="252" y="151"/>
                  </a:lnTo>
                  <a:lnTo>
                    <a:pt x="251" y="144"/>
                  </a:lnTo>
                  <a:lnTo>
                    <a:pt x="251" y="139"/>
                  </a:lnTo>
                  <a:lnTo>
                    <a:pt x="251" y="137"/>
                  </a:lnTo>
                  <a:lnTo>
                    <a:pt x="252" y="135"/>
                  </a:lnTo>
                  <a:lnTo>
                    <a:pt x="252" y="135"/>
                  </a:lnTo>
                  <a:lnTo>
                    <a:pt x="261" y="134"/>
                  </a:lnTo>
                  <a:lnTo>
                    <a:pt x="268" y="132"/>
                  </a:lnTo>
                  <a:lnTo>
                    <a:pt x="268" y="132"/>
                  </a:lnTo>
                  <a:lnTo>
                    <a:pt x="272" y="130"/>
                  </a:lnTo>
                  <a:lnTo>
                    <a:pt x="268" y="123"/>
                  </a:lnTo>
                  <a:lnTo>
                    <a:pt x="274" y="118"/>
                  </a:lnTo>
                  <a:lnTo>
                    <a:pt x="274" y="112"/>
                  </a:lnTo>
                  <a:lnTo>
                    <a:pt x="263" y="100"/>
                  </a:lnTo>
                  <a:lnTo>
                    <a:pt x="272" y="96"/>
                  </a:lnTo>
                  <a:lnTo>
                    <a:pt x="275" y="89"/>
                  </a:lnTo>
                  <a:lnTo>
                    <a:pt x="265" y="86"/>
                  </a:lnTo>
                  <a:lnTo>
                    <a:pt x="256" y="57"/>
                  </a:lnTo>
                  <a:lnTo>
                    <a:pt x="249" y="50"/>
                  </a:lnTo>
                  <a:lnTo>
                    <a:pt x="243" y="45"/>
                  </a:lnTo>
                  <a:lnTo>
                    <a:pt x="238" y="43"/>
                  </a:lnTo>
                  <a:lnTo>
                    <a:pt x="231" y="29"/>
                  </a:lnTo>
                  <a:lnTo>
                    <a:pt x="229" y="29"/>
                  </a:lnTo>
                  <a:lnTo>
                    <a:pt x="211" y="34"/>
                  </a:lnTo>
                  <a:lnTo>
                    <a:pt x="211" y="36"/>
                  </a:lnTo>
                  <a:lnTo>
                    <a:pt x="201" y="36"/>
                  </a:lnTo>
                  <a:lnTo>
                    <a:pt x="181" y="36"/>
                  </a:lnTo>
                  <a:lnTo>
                    <a:pt x="178" y="41"/>
                  </a:lnTo>
                  <a:lnTo>
                    <a:pt x="171" y="34"/>
                  </a:lnTo>
                  <a:lnTo>
                    <a:pt x="160" y="36"/>
                  </a:lnTo>
                  <a:lnTo>
                    <a:pt x="147" y="50"/>
                  </a:lnTo>
                  <a:lnTo>
                    <a:pt x="139" y="55"/>
                  </a:lnTo>
                  <a:lnTo>
                    <a:pt x="124" y="41"/>
                  </a:lnTo>
                  <a:lnTo>
                    <a:pt x="124" y="31"/>
                  </a:lnTo>
                  <a:lnTo>
                    <a:pt x="110" y="13"/>
                  </a:lnTo>
                  <a:lnTo>
                    <a:pt x="105" y="0"/>
                  </a:lnTo>
                  <a:lnTo>
                    <a:pt x="83" y="9"/>
                  </a:lnTo>
                  <a:lnTo>
                    <a:pt x="80" y="7"/>
                  </a:lnTo>
                  <a:lnTo>
                    <a:pt x="66" y="13"/>
                  </a:lnTo>
                  <a:lnTo>
                    <a:pt x="41" y="16"/>
                  </a:lnTo>
                  <a:lnTo>
                    <a:pt x="18" y="18"/>
                  </a:lnTo>
                  <a:lnTo>
                    <a:pt x="14" y="13"/>
                  </a:lnTo>
                  <a:lnTo>
                    <a:pt x="3" y="18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5" y="45"/>
                  </a:lnTo>
                  <a:lnTo>
                    <a:pt x="11" y="71"/>
                  </a:lnTo>
                  <a:lnTo>
                    <a:pt x="18" y="116"/>
                  </a:lnTo>
                  <a:lnTo>
                    <a:pt x="18" y="116"/>
                  </a:lnTo>
                  <a:lnTo>
                    <a:pt x="21" y="148"/>
                  </a:lnTo>
                  <a:lnTo>
                    <a:pt x="25" y="169"/>
                  </a:lnTo>
                  <a:lnTo>
                    <a:pt x="25" y="169"/>
                  </a:lnTo>
                  <a:lnTo>
                    <a:pt x="35" y="167"/>
                  </a:lnTo>
                  <a:lnTo>
                    <a:pt x="35" y="167"/>
                  </a:lnTo>
                  <a:lnTo>
                    <a:pt x="37" y="167"/>
                  </a:lnTo>
                  <a:lnTo>
                    <a:pt x="41" y="166"/>
                  </a:lnTo>
                  <a:lnTo>
                    <a:pt x="43" y="164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4" y="157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8" y="153"/>
                  </a:lnTo>
                  <a:lnTo>
                    <a:pt x="51" y="151"/>
                  </a:lnTo>
                  <a:lnTo>
                    <a:pt x="55" y="151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62" y="157"/>
                  </a:lnTo>
                  <a:lnTo>
                    <a:pt x="64" y="159"/>
                  </a:lnTo>
                  <a:lnTo>
                    <a:pt x="64" y="160"/>
                  </a:lnTo>
                  <a:lnTo>
                    <a:pt x="64" y="160"/>
                  </a:lnTo>
                  <a:lnTo>
                    <a:pt x="64" y="166"/>
                  </a:lnTo>
                  <a:lnTo>
                    <a:pt x="62" y="167"/>
                  </a:lnTo>
                  <a:lnTo>
                    <a:pt x="60" y="171"/>
                  </a:lnTo>
                  <a:lnTo>
                    <a:pt x="60" y="171"/>
                  </a:lnTo>
                  <a:lnTo>
                    <a:pt x="60" y="171"/>
                  </a:lnTo>
                  <a:lnTo>
                    <a:pt x="60" y="171"/>
                  </a:lnTo>
                  <a:lnTo>
                    <a:pt x="62" y="173"/>
                  </a:lnTo>
                  <a:lnTo>
                    <a:pt x="66" y="173"/>
                  </a:lnTo>
                  <a:lnTo>
                    <a:pt x="67" y="173"/>
                  </a:lnTo>
                  <a:lnTo>
                    <a:pt x="69" y="175"/>
                  </a:lnTo>
                  <a:lnTo>
                    <a:pt x="69" y="175"/>
                  </a:lnTo>
                  <a:lnTo>
                    <a:pt x="71" y="185"/>
                  </a:lnTo>
                  <a:lnTo>
                    <a:pt x="71" y="189"/>
                  </a:lnTo>
                  <a:lnTo>
                    <a:pt x="73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80" y="189"/>
                  </a:lnTo>
                  <a:lnTo>
                    <a:pt x="83" y="189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91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9" y="194"/>
                  </a:lnTo>
                  <a:lnTo>
                    <a:pt x="101" y="196"/>
                  </a:lnTo>
                  <a:lnTo>
                    <a:pt x="103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10" y="192"/>
                  </a:lnTo>
                  <a:lnTo>
                    <a:pt x="112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21" y="192"/>
                  </a:lnTo>
                  <a:lnTo>
                    <a:pt x="123" y="192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30" y="191"/>
                  </a:lnTo>
                  <a:lnTo>
                    <a:pt x="131" y="191"/>
                  </a:lnTo>
                  <a:lnTo>
                    <a:pt x="137" y="192"/>
                  </a:lnTo>
                  <a:lnTo>
                    <a:pt x="137" y="192"/>
                  </a:lnTo>
                  <a:lnTo>
                    <a:pt x="144" y="198"/>
                  </a:lnTo>
                  <a:lnTo>
                    <a:pt x="147" y="199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1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7" y="212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7"/>
                  </a:lnTo>
                  <a:lnTo>
                    <a:pt x="169" y="207"/>
                  </a:lnTo>
                  <a:lnTo>
                    <a:pt x="169" y="207"/>
                  </a:lnTo>
                  <a:lnTo>
                    <a:pt x="169" y="207"/>
                  </a:lnTo>
                  <a:lnTo>
                    <a:pt x="169" y="20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71"/>
            <p:cNvSpPr>
              <a:spLocks/>
            </p:cNvSpPr>
            <p:nvPr/>
          </p:nvSpPr>
          <p:spPr bwMode="auto">
            <a:xfrm>
              <a:off x="744004" y="2249789"/>
              <a:ext cx="67315" cy="67885"/>
            </a:xfrm>
            <a:custGeom>
              <a:avLst/>
              <a:gdLst>
                <a:gd name="T0" fmla="*/ 50 w 118"/>
                <a:gd name="T1" fmla="*/ 119 h 119"/>
                <a:gd name="T2" fmla="*/ 55 w 118"/>
                <a:gd name="T3" fmla="*/ 116 h 119"/>
                <a:gd name="T4" fmla="*/ 59 w 118"/>
                <a:gd name="T5" fmla="*/ 119 h 119"/>
                <a:gd name="T6" fmla="*/ 66 w 118"/>
                <a:gd name="T7" fmla="*/ 116 h 119"/>
                <a:gd name="T8" fmla="*/ 73 w 118"/>
                <a:gd name="T9" fmla="*/ 112 h 119"/>
                <a:gd name="T10" fmla="*/ 84 w 118"/>
                <a:gd name="T11" fmla="*/ 109 h 119"/>
                <a:gd name="T12" fmla="*/ 84 w 118"/>
                <a:gd name="T13" fmla="*/ 100 h 119"/>
                <a:gd name="T14" fmla="*/ 89 w 118"/>
                <a:gd name="T15" fmla="*/ 98 h 119"/>
                <a:gd name="T16" fmla="*/ 102 w 118"/>
                <a:gd name="T17" fmla="*/ 103 h 119"/>
                <a:gd name="T18" fmla="*/ 103 w 118"/>
                <a:gd name="T19" fmla="*/ 100 h 119"/>
                <a:gd name="T20" fmla="*/ 105 w 118"/>
                <a:gd name="T21" fmla="*/ 96 h 119"/>
                <a:gd name="T22" fmla="*/ 107 w 118"/>
                <a:gd name="T23" fmla="*/ 96 h 119"/>
                <a:gd name="T24" fmla="*/ 107 w 118"/>
                <a:gd name="T25" fmla="*/ 86 h 119"/>
                <a:gd name="T26" fmla="*/ 105 w 118"/>
                <a:gd name="T27" fmla="*/ 84 h 119"/>
                <a:gd name="T28" fmla="*/ 105 w 118"/>
                <a:gd name="T29" fmla="*/ 77 h 119"/>
                <a:gd name="T30" fmla="*/ 118 w 118"/>
                <a:gd name="T31" fmla="*/ 64 h 119"/>
                <a:gd name="T32" fmla="*/ 118 w 118"/>
                <a:gd name="T33" fmla="*/ 55 h 119"/>
                <a:gd name="T34" fmla="*/ 114 w 118"/>
                <a:gd name="T35" fmla="*/ 43 h 119"/>
                <a:gd name="T36" fmla="*/ 118 w 118"/>
                <a:gd name="T37" fmla="*/ 39 h 119"/>
                <a:gd name="T38" fmla="*/ 116 w 118"/>
                <a:gd name="T39" fmla="*/ 34 h 119"/>
                <a:gd name="T40" fmla="*/ 112 w 118"/>
                <a:gd name="T41" fmla="*/ 30 h 119"/>
                <a:gd name="T42" fmla="*/ 105 w 118"/>
                <a:gd name="T43" fmla="*/ 30 h 119"/>
                <a:gd name="T44" fmla="*/ 100 w 118"/>
                <a:gd name="T45" fmla="*/ 30 h 119"/>
                <a:gd name="T46" fmla="*/ 93 w 118"/>
                <a:gd name="T47" fmla="*/ 30 h 119"/>
                <a:gd name="T48" fmla="*/ 75 w 118"/>
                <a:gd name="T49" fmla="*/ 30 h 119"/>
                <a:gd name="T50" fmla="*/ 75 w 118"/>
                <a:gd name="T51" fmla="*/ 30 h 119"/>
                <a:gd name="T52" fmla="*/ 63 w 118"/>
                <a:gd name="T53" fmla="*/ 29 h 119"/>
                <a:gd name="T54" fmla="*/ 48 w 118"/>
                <a:gd name="T55" fmla="*/ 20 h 119"/>
                <a:gd name="T56" fmla="*/ 45 w 118"/>
                <a:gd name="T57" fmla="*/ 9 h 119"/>
                <a:gd name="T58" fmla="*/ 45 w 118"/>
                <a:gd name="T59" fmla="*/ 2 h 119"/>
                <a:gd name="T60" fmla="*/ 36 w 118"/>
                <a:gd name="T61" fmla="*/ 2 h 119"/>
                <a:gd name="T62" fmla="*/ 32 w 118"/>
                <a:gd name="T63" fmla="*/ 7 h 119"/>
                <a:gd name="T64" fmla="*/ 25 w 118"/>
                <a:gd name="T65" fmla="*/ 18 h 119"/>
                <a:gd name="T66" fmla="*/ 22 w 118"/>
                <a:gd name="T67" fmla="*/ 20 h 119"/>
                <a:gd name="T68" fmla="*/ 16 w 118"/>
                <a:gd name="T69" fmla="*/ 23 h 119"/>
                <a:gd name="T70" fmla="*/ 7 w 118"/>
                <a:gd name="T71" fmla="*/ 30 h 119"/>
                <a:gd name="T72" fmla="*/ 2 w 118"/>
                <a:gd name="T73" fmla="*/ 41 h 119"/>
                <a:gd name="T74" fmla="*/ 4 w 118"/>
                <a:gd name="T75" fmla="*/ 54 h 119"/>
                <a:gd name="T76" fmla="*/ 13 w 118"/>
                <a:gd name="T77" fmla="*/ 54 h 119"/>
                <a:gd name="T78" fmla="*/ 20 w 118"/>
                <a:gd name="T79" fmla="*/ 52 h 119"/>
                <a:gd name="T80" fmla="*/ 22 w 118"/>
                <a:gd name="T81" fmla="*/ 61 h 119"/>
                <a:gd name="T82" fmla="*/ 25 w 118"/>
                <a:gd name="T83" fmla="*/ 68 h 119"/>
                <a:gd name="T84" fmla="*/ 34 w 118"/>
                <a:gd name="T85" fmla="*/ 71 h 119"/>
                <a:gd name="T86" fmla="*/ 38 w 118"/>
                <a:gd name="T87" fmla="*/ 73 h 119"/>
                <a:gd name="T88" fmla="*/ 41 w 118"/>
                <a:gd name="T89" fmla="*/ 84 h 119"/>
                <a:gd name="T90" fmla="*/ 45 w 118"/>
                <a:gd name="T91" fmla="*/ 86 h 119"/>
                <a:gd name="T92" fmla="*/ 41 w 118"/>
                <a:gd name="T93" fmla="*/ 96 h 119"/>
                <a:gd name="T94" fmla="*/ 36 w 118"/>
                <a:gd name="T95" fmla="*/ 112 h 119"/>
                <a:gd name="T96" fmla="*/ 39 w 118"/>
                <a:gd name="T97" fmla="*/ 112 h 119"/>
                <a:gd name="T98" fmla="*/ 48 w 118"/>
                <a:gd name="T99" fmla="*/ 118 h 119"/>
                <a:gd name="T100" fmla="*/ 48 w 118"/>
                <a:gd name="T101" fmla="*/ 11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8" h="119">
                  <a:moveTo>
                    <a:pt x="48" y="118"/>
                  </a:moveTo>
                  <a:lnTo>
                    <a:pt x="48" y="118"/>
                  </a:lnTo>
                  <a:lnTo>
                    <a:pt x="50" y="119"/>
                  </a:lnTo>
                  <a:lnTo>
                    <a:pt x="52" y="119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7" y="116"/>
                  </a:lnTo>
                  <a:lnTo>
                    <a:pt x="57" y="116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70" y="116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80" y="112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9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9" y="98"/>
                  </a:lnTo>
                  <a:lnTo>
                    <a:pt x="95" y="102"/>
                  </a:lnTo>
                  <a:lnTo>
                    <a:pt x="98" y="102"/>
                  </a:lnTo>
                  <a:lnTo>
                    <a:pt x="102" y="103"/>
                  </a:lnTo>
                  <a:lnTo>
                    <a:pt x="102" y="103"/>
                  </a:lnTo>
                  <a:lnTo>
                    <a:pt x="102" y="102"/>
                  </a:lnTo>
                  <a:lnTo>
                    <a:pt x="103" y="100"/>
                  </a:lnTo>
                  <a:lnTo>
                    <a:pt x="105" y="98"/>
                  </a:lnTo>
                  <a:lnTo>
                    <a:pt x="105" y="96"/>
                  </a:lnTo>
                  <a:lnTo>
                    <a:pt x="105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11" y="93"/>
                  </a:lnTo>
                  <a:lnTo>
                    <a:pt x="107" y="86"/>
                  </a:lnTo>
                  <a:lnTo>
                    <a:pt x="107" y="86"/>
                  </a:lnTo>
                  <a:lnTo>
                    <a:pt x="105" y="86"/>
                  </a:lnTo>
                  <a:lnTo>
                    <a:pt x="105" y="84"/>
                  </a:lnTo>
                  <a:lnTo>
                    <a:pt x="105" y="82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11" y="73"/>
                  </a:lnTo>
                  <a:lnTo>
                    <a:pt x="114" y="70"/>
                  </a:lnTo>
                  <a:lnTo>
                    <a:pt x="118" y="64"/>
                  </a:lnTo>
                  <a:lnTo>
                    <a:pt x="118" y="59"/>
                  </a:lnTo>
                  <a:lnTo>
                    <a:pt x="118" y="59"/>
                  </a:lnTo>
                  <a:lnTo>
                    <a:pt x="118" y="55"/>
                  </a:lnTo>
                  <a:lnTo>
                    <a:pt x="114" y="52"/>
                  </a:lnTo>
                  <a:lnTo>
                    <a:pt x="114" y="48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8" y="39"/>
                  </a:lnTo>
                  <a:lnTo>
                    <a:pt x="118" y="36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4" y="32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3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96" y="30"/>
                  </a:lnTo>
                  <a:lnTo>
                    <a:pt x="93" y="30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0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4" y="23"/>
                  </a:lnTo>
                  <a:lnTo>
                    <a:pt x="50" y="22"/>
                  </a:lnTo>
                  <a:lnTo>
                    <a:pt x="48" y="20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6" y="2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7"/>
                  </a:lnTo>
                  <a:lnTo>
                    <a:pt x="31" y="13"/>
                  </a:lnTo>
                  <a:lnTo>
                    <a:pt x="31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2" y="20"/>
                  </a:lnTo>
                  <a:lnTo>
                    <a:pt x="18" y="22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3" y="23"/>
                  </a:lnTo>
                  <a:lnTo>
                    <a:pt x="11" y="29"/>
                  </a:lnTo>
                  <a:lnTo>
                    <a:pt x="7" y="3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2" y="41"/>
                  </a:lnTo>
                  <a:lnTo>
                    <a:pt x="0" y="48"/>
                  </a:lnTo>
                  <a:lnTo>
                    <a:pt x="2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9" y="54"/>
                  </a:lnTo>
                  <a:lnTo>
                    <a:pt x="13" y="54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5"/>
                  </a:lnTo>
                  <a:lnTo>
                    <a:pt x="22" y="61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5" y="68"/>
                  </a:lnTo>
                  <a:lnTo>
                    <a:pt x="31" y="70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6" y="71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9" y="80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91"/>
                  </a:lnTo>
                  <a:lnTo>
                    <a:pt x="45" y="93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38" y="102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9" y="112"/>
                  </a:lnTo>
                  <a:lnTo>
                    <a:pt x="45" y="114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72"/>
            <p:cNvSpPr>
              <a:spLocks/>
            </p:cNvSpPr>
            <p:nvPr/>
          </p:nvSpPr>
          <p:spPr bwMode="auto">
            <a:xfrm>
              <a:off x="1534097" y="2699315"/>
              <a:ext cx="83288" cy="133489"/>
            </a:xfrm>
            <a:custGeom>
              <a:avLst/>
              <a:gdLst>
                <a:gd name="T0" fmla="*/ 107 w 146"/>
                <a:gd name="T1" fmla="*/ 202 h 234"/>
                <a:gd name="T2" fmla="*/ 107 w 146"/>
                <a:gd name="T3" fmla="*/ 179 h 234"/>
                <a:gd name="T4" fmla="*/ 123 w 146"/>
                <a:gd name="T5" fmla="*/ 158 h 234"/>
                <a:gd name="T6" fmla="*/ 132 w 146"/>
                <a:gd name="T7" fmla="*/ 129 h 234"/>
                <a:gd name="T8" fmla="*/ 116 w 146"/>
                <a:gd name="T9" fmla="*/ 124 h 234"/>
                <a:gd name="T10" fmla="*/ 105 w 146"/>
                <a:gd name="T11" fmla="*/ 122 h 234"/>
                <a:gd name="T12" fmla="*/ 118 w 146"/>
                <a:gd name="T13" fmla="*/ 105 h 234"/>
                <a:gd name="T14" fmla="*/ 116 w 146"/>
                <a:gd name="T15" fmla="*/ 97 h 234"/>
                <a:gd name="T16" fmla="*/ 116 w 146"/>
                <a:gd name="T17" fmla="*/ 80 h 234"/>
                <a:gd name="T18" fmla="*/ 116 w 146"/>
                <a:gd name="T19" fmla="*/ 78 h 234"/>
                <a:gd name="T20" fmla="*/ 121 w 146"/>
                <a:gd name="T21" fmla="*/ 71 h 234"/>
                <a:gd name="T22" fmla="*/ 123 w 146"/>
                <a:gd name="T23" fmla="*/ 69 h 234"/>
                <a:gd name="T24" fmla="*/ 126 w 146"/>
                <a:gd name="T25" fmla="*/ 65 h 234"/>
                <a:gd name="T26" fmla="*/ 146 w 146"/>
                <a:gd name="T27" fmla="*/ 57 h 234"/>
                <a:gd name="T28" fmla="*/ 142 w 146"/>
                <a:gd name="T29" fmla="*/ 35 h 234"/>
                <a:gd name="T30" fmla="*/ 141 w 146"/>
                <a:gd name="T31" fmla="*/ 33 h 234"/>
                <a:gd name="T32" fmla="*/ 137 w 146"/>
                <a:gd name="T33" fmla="*/ 25 h 234"/>
                <a:gd name="T34" fmla="*/ 135 w 146"/>
                <a:gd name="T35" fmla="*/ 23 h 234"/>
                <a:gd name="T36" fmla="*/ 132 w 146"/>
                <a:gd name="T37" fmla="*/ 16 h 234"/>
                <a:gd name="T38" fmla="*/ 134 w 146"/>
                <a:gd name="T39" fmla="*/ 5 h 234"/>
                <a:gd name="T40" fmla="*/ 134 w 146"/>
                <a:gd name="T41" fmla="*/ 0 h 234"/>
                <a:gd name="T42" fmla="*/ 123 w 146"/>
                <a:gd name="T43" fmla="*/ 1 h 234"/>
                <a:gd name="T44" fmla="*/ 112 w 146"/>
                <a:gd name="T45" fmla="*/ 5 h 234"/>
                <a:gd name="T46" fmla="*/ 102 w 146"/>
                <a:gd name="T47" fmla="*/ 7 h 234"/>
                <a:gd name="T48" fmla="*/ 93 w 146"/>
                <a:gd name="T49" fmla="*/ 5 h 234"/>
                <a:gd name="T50" fmla="*/ 82 w 146"/>
                <a:gd name="T51" fmla="*/ 3 h 234"/>
                <a:gd name="T52" fmla="*/ 77 w 146"/>
                <a:gd name="T53" fmla="*/ 3 h 234"/>
                <a:gd name="T54" fmla="*/ 64 w 146"/>
                <a:gd name="T55" fmla="*/ 0 h 234"/>
                <a:gd name="T56" fmla="*/ 62 w 146"/>
                <a:gd name="T57" fmla="*/ 0 h 234"/>
                <a:gd name="T58" fmla="*/ 50 w 146"/>
                <a:gd name="T59" fmla="*/ 5 h 234"/>
                <a:gd name="T60" fmla="*/ 39 w 146"/>
                <a:gd name="T61" fmla="*/ 14 h 234"/>
                <a:gd name="T62" fmla="*/ 34 w 146"/>
                <a:gd name="T63" fmla="*/ 14 h 234"/>
                <a:gd name="T64" fmla="*/ 4 w 146"/>
                <a:gd name="T65" fmla="*/ 16 h 234"/>
                <a:gd name="T66" fmla="*/ 0 w 146"/>
                <a:gd name="T67" fmla="*/ 28 h 234"/>
                <a:gd name="T68" fmla="*/ 2 w 146"/>
                <a:gd name="T69" fmla="*/ 58 h 234"/>
                <a:gd name="T70" fmla="*/ 2 w 146"/>
                <a:gd name="T71" fmla="*/ 90 h 234"/>
                <a:gd name="T72" fmla="*/ 2 w 146"/>
                <a:gd name="T73" fmla="*/ 103 h 234"/>
                <a:gd name="T74" fmla="*/ 14 w 146"/>
                <a:gd name="T75" fmla="*/ 119 h 234"/>
                <a:gd name="T76" fmla="*/ 27 w 146"/>
                <a:gd name="T77" fmla="*/ 131 h 234"/>
                <a:gd name="T78" fmla="*/ 46 w 146"/>
                <a:gd name="T79" fmla="*/ 163 h 234"/>
                <a:gd name="T80" fmla="*/ 34 w 146"/>
                <a:gd name="T81" fmla="*/ 174 h 234"/>
                <a:gd name="T82" fmla="*/ 45 w 146"/>
                <a:gd name="T83" fmla="*/ 192 h 234"/>
                <a:gd name="T84" fmla="*/ 43 w 146"/>
                <a:gd name="T85" fmla="*/ 204 h 234"/>
                <a:gd name="T86" fmla="*/ 39 w 146"/>
                <a:gd name="T87" fmla="*/ 206 h 234"/>
                <a:gd name="T88" fmla="*/ 46 w 146"/>
                <a:gd name="T89" fmla="*/ 211 h 234"/>
                <a:gd name="T90" fmla="*/ 55 w 146"/>
                <a:gd name="T91" fmla="*/ 218 h 234"/>
                <a:gd name="T92" fmla="*/ 68 w 146"/>
                <a:gd name="T93" fmla="*/ 218 h 234"/>
                <a:gd name="T94" fmla="*/ 80 w 146"/>
                <a:gd name="T95" fmla="*/ 225 h 234"/>
                <a:gd name="T96" fmla="*/ 87 w 146"/>
                <a:gd name="T97" fmla="*/ 234 h 234"/>
                <a:gd name="T98" fmla="*/ 112 w 146"/>
                <a:gd name="T99" fmla="*/ 209 h 234"/>
                <a:gd name="T100" fmla="*/ 112 w 146"/>
                <a:gd name="T101" fmla="*/ 209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6" h="234">
                  <a:moveTo>
                    <a:pt x="112" y="209"/>
                  </a:moveTo>
                  <a:lnTo>
                    <a:pt x="107" y="202"/>
                  </a:lnTo>
                  <a:lnTo>
                    <a:pt x="114" y="190"/>
                  </a:lnTo>
                  <a:lnTo>
                    <a:pt x="107" y="179"/>
                  </a:lnTo>
                  <a:lnTo>
                    <a:pt x="109" y="167"/>
                  </a:lnTo>
                  <a:lnTo>
                    <a:pt x="123" y="158"/>
                  </a:lnTo>
                  <a:lnTo>
                    <a:pt x="119" y="147"/>
                  </a:lnTo>
                  <a:lnTo>
                    <a:pt x="132" y="129"/>
                  </a:lnTo>
                  <a:lnTo>
                    <a:pt x="119" y="129"/>
                  </a:lnTo>
                  <a:lnTo>
                    <a:pt x="116" y="124"/>
                  </a:lnTo>
                  <a:lnTo>
                    <a:pt x="109" y="129"/>
                  </a:lnTo>
                  <a:lnTo>
                    <a:pt x="105" y="122"/>
                  </a:lnTo>
                  <a:lnTo>
                    <a:pt x="112" y="110"/>
                  </a:lnTo>
                  <a:lnTo>
                    <a:pt x="118" y="105"/>
                  </a:lnTo>
                  <a:lnTo>
                    <a:pt x="116" y="97"/>
                  </a:lnTo>
                  <a:lnTo>
                    <a:pt x="116" y="97"/>
                  </a:lnTo>
                  <a:lnTo>
                    <a:pt x="116" y="89"/>
                  </a:lnTo>
                  <a:lnTo>
                    <a:pt x="116" y="80"/>
                  </a:lnTo>
                  <a:lnTo>
                    <a:pt x="116" y="80"/>
                  </a:lnTo>
                  <a:lnTo>
                    <a:pt x="116" y="78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1" y="71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6" y="65"/>
                  </a:lnTo>
                  <a:lnTo>
                    <a:pt x="137" y="62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2" y="35"/>
                  </a:lnTo>
                  <a:lnTo>
                    <a:pt x="142" y="35"/>
                  </a:lnTo>
                  <a:lnTo>
                    <a:pt x="141" y="33"/>
                  </a:lnTo>
                  <a:lnTo>
                    <a:pt x="139" y="26"/>
                  </a:lnTo>
                  <a:lnTo>
                    <a:pt x="137" y="25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4" y="21"/>
                  </a:lnTo>
                  <a:lnTo>
                    <a:pt x="132" y="16"/>
                  </a:lnTo>
                  <a:lnTo>
                    <a:pt x="126" y="9"/>
                  </a:lnTo>
                  <a:lnTo>
                    <a:pt x="134" y="5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8" y="0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12" y="5"/>
                  </a:lnTo>
                  <a:lnTo>
                    <a:pt x="105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93" y="5"/>
                  </a:lnTo>
                  <a:lnTo>
                    <a:pt x="87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77" y="3"/>
                  </a:lnTo>
                  <a:lnTo>
                    <a:pt x="73" y="3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59" y="1"/>
                  </a:lnTo>
                  <a:lnTo>
                    <a:pt x="50" y="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4" y="16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6" y="48"/>
                  </a:lnTo>
                  <a:lnTo>
                    <a:pt x="2" y="58"/>
                  </a:lnTo>
                  <a:lnTo>
                    <a:pt x="2" y="80"/>
                  </a:lnTo>
                  <a:lnTo>
                    <a:pt x="2" y="90"/>
                  </a:lnTo>
                  <a:lnTo>
                    <a:pt x="2" y="101"/>
                  </a:lnTo>
                  <a:lnTo>
                    <a:pt x="2" y="103"/>
                  </a:lnTo>
                  <a:lnTo>
                    <a:pt x="9" y="117"/>
                  </a:lnTo>
                  <a:lnTo>
                    <a:pt x="14" y="119"/>
                  </a:lnTo>
                  <a:lnTo>
                    <a:pt x="20" y="124"/>
                  </a:lnTo>
                  <a:lnTo>
                    <a:pt x="27" y="131"/>
                  </a:lnTo>
                  <a:lnTo>
                    <a:pt x="36" y="160"/>
                  </a:lnTo>
                  <a:lnTo>
                    <a:pt x="46" y="163"/>
                  </a:lnTo>
                  <a:lnTo>
                    <a:pt x="43" y="170"/>
                  </a:lnTo>
                  <a:lnTo>
                    <a:pt x="34" y="174"/>
                  </a:lnTo>
                  <a:lnTo>
                    <a:pt x="45" y="186"/>
                  </a:lnTo>
                  <a:lnTo>
                    <a:pt x="45" y="192"/>
                  </a:lnTo>
                  <a:lnTo>
                    <a:pt x="39" y="197"/>
                  </a:lnTo>
                  <a:lnTo>
                    <a:pt x="43" y="204"/>
                  </a:lnTo>
                  <a:lnTo>
                    <a:pt x="43" y="204"/>
                  </a:lnTo>
                  <a:lnTo>
                    <a:pt x="39" y="206"/>
                  </a:lnTo>
                  <a:lnTo>
                    <a:pt x="43" y="209"/>
                  </a:lnTo>
                  <a:lnTo>
                    <a:pt x="46" y="211"/>
                  </a:lnTo>
                  <a:lnTo>
                    <a:pt x="55" y="218"/>
                  </a:lnTo>
                  <a:lnTo>
                    <a:pt x="55" y="218"/>
                  </a:lnTo>
                  <a:lnTo>
                    <a:pt x="68" y="218"/>
                  </a:lnTo>
                  <a:lnTo>
                    <a:pt x="68" y="218"/>
                  </a:lnTo>
                  <a:lnTo>
                    <a:pt x="75" y="222"/>
                  </a:lnTo>
                  <a:lnTo>
                    <a:pt x="80" y="225"/>
                  </a:lnTo>
                  <a:lnTo>
                    <a:pt x="82" y="231"/>
                  </a:lnTo>
                  <a:lnTo>
                    <a:pt x="87" y="234"/>
                  </a:lnTo>
                  <a:lnTo>
                    <a:pt x="93" y="233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73"/>
            <p:cNvSpPr>
              <a:spLocks/>
            </p:cNvSpPr>
            <p:nvPr/>
          </p:nvSpPr>
          <p:spPr bwMode="auto">
            <a:xfrm>
              <a:off x="1135913" y="2398110"/>
              <a:ext cx="152884" cy="174562"/>
            </a:xfrm>
            <a:custGeom>
              <a:avLst/>
              <a:gdLst>
                <a:gd name="T0" fmla="*/ 193 w 268"/>
                <a:gd name="T1" fmla="*/ 19 h 306"/>
                <a:gd name="T2" fmla="*/ 188 w 268"/>
                <a:gd name="T3" fmla="*/ 39 h 306"/>
                <a:gd name="T4" fmla="*/ 183 w 268"/>
                <a:gd name="T5" fmla="*/ 46 h 306"/>
                <a:gd name="T6" fmla="*/ 147 w 268"/>
                <a:gd name="T7" fmla="*/ 74 h 306"/>
                <a:gd name="T8" fmla="*/ 142 w 268"/>
                <a:gd name="T9" fmla="*/ 78 h 306"/>
                <a:gd name="T10" fmla="*/ 124 w 268"/>
                <a:gd name="T11" fmla="*/ 85 h 306"/>
                <a:gd name="T12" fmla="*/ 120 w 268"/>
                <a:gd name="T13" fmla="*/ 90 h 306"/>
                <a:gd name="T14" fmla="*/ 120 w 268"/>
                <a:gd name="T15" fmla="*/ 99 h 306"/>
                <a:gd name="T16" fmla="*/ 128 w 268"/>
                <a:gd name="T17" fmla="*/ 108 h 306"/>
                <a:gd name="T18" fmla="*/ 119 w 268"/>
                <a:gd name="T19" fmla="*/ 121 h 306"/>
                <a:gd name="T20" fmla="*/ 117 w 268"/>
                <a:gd name="T21" fmla="*/ 126 h 306"/>
                <a:gd name="T22" fmla="*/ 113 w 268"/>
                <a:gd name="T23" fmla="*/ 142 h 306"/>
                <a:gd name="T24" fmla="*/ 112 w 268"/>
                <a:gd name="T25" fmla="*/ 146 h 306"/>
                <a:gd name="T26" fmla="*/ 96 w 268"/>
                <a:gd name="T27" fmla="*/ 144 h 306"/>
                <a:gd name="T28" fmla="*/ 87 w 268"/>
                <a:gd name="T29" fmla="*/ 149 h 306"/>
                <a:gd name="T30" fmla="*/ 81 w 268"/>
                <a:gd name="T31" fmla="*/ 156 h 306"/>
                <a:gd name="T32" fmla="*/ 80 w 268"/>
                <a:gd name="T33" fmla="*/ 163 h 306"/>
                <a:gd name="T34" fmla="*/ 71 w 268"/>
                <a:gd name="T35" fmla="*/ 167 h 306"/>
                <a:gd name="T36" fmla="*/ 62 w 268"/>
                <a:gd name="T37" fmla="*/ 160 h 306"/>
                <a:gd name="T38" fmla="*/ 58 w 268"/>
                <a:gd name="T39" fmla="*/ 158 h 306"/>
                <a:gd name="T40" fmla="*/ 46 w 268"/>
                <a:gd name="T41" fmla="*/ 167 h 306"/>
                <a:gd name="T42" fmla="*/ 39 w 268"/>
                <a:gd name="T43" fmla="*/ 179 h 306"/>
                <a:gd name="T44" fmla="*/ 28 w 268"/>
                <a:gd name="T45" fmla="*/ 186 h 306"/>
                <a:gd name="T46" fmla="*/ 21 w 268"/>
                <a:gd name="T47" fmla="*/ 183 h 306"/>
                <a:gd name="T48" fmla="*/ 14 w 268"/>
                <a:gd name="T49" fmla="*/ 179 h 306"/>
                <a:gd name="T50" fmla="*/ 10 w 268"/>
                <a:gd name="T51" fmla="*/ 183 h 306"/>
                <a:gd name="T52" fmla="*/ 8 w 268"/>
                <a:gd name="T53" fmla="*/ 195 h 306"/>
                <a:gd name="T54" fmla="*/ 0 w 268"/>
                <a:gd name="T55" fmla="*/ 204 h 306"/>
                <a:gd name="T56" fmla="*/ 0 w 268"/>
                <a:gd name="T57" fmla="*/ 208 h 306"/>
                <a:gd name="T58" fmla="*/ 0 w 268"/>
                <a:gd name="T59" fmla="*/ 218 h 306"/>
                <a:gd name="T60" fmla="*/ 10 w 268"/>
                <a:gd name="T61" fmla="*/ 226 h 306"/>
                <a:gd name="T62" fmla="*/ 26 w 268"/>
                <a:gd name="T63" fmla="*/ 240 h 306"/>
                <a:gd name="T64" fmla="*/ 37 w 268"/>
                <a:gd name="T65" fmla="*/ 240 h 306"/>
                <a:gd name="T66" fmla="*/ 44 w 268"/>
                <a:gd name="T67" fmla="*/ 238 h 306"/>
                <a:gd name="T68" fmla="*/ 60 w 268"/>
                <a:gd name="T69" fmla="*/ 250 h 306"/>
                <a:gd name="T70" fmla="*/ 72 w 268"/>
                <a:gd name="T71" fmla="*/ 263 h 306"/>
                <a:gd name="T72" fmla="*/ 80 w 268"/>
                <a:gd name="T73" fmla="*/ 268 h 306"/>
                <a:gd name="T74" fmla="*/ 83 w 268"/>
                <a:gd name="T75" fmla="*/ 270 h 306"/>
                <a:gd name="T76" fmla="*/ 103 w 268"/>
                <a:gd name="T77" fmla="*/ 282 h 306"/>
                <a:gd name="T78" fmla="*/ 147 w 268"/>
                <a:gd name="T79" fmla="*/ 288 h 306"/>
                <a:gd name="T80" fmla="*/ 174 w 268"/>
                <a:gd name="T81" fmla="*/ 298 h 306"/>
                <a:gd name="T82" fmla="*/ 204 w 268"/>
                <a:gd name="T83" fmla="*/ 302 h 306"/>
                <a:gd name="T84" fmla="*/ 209 w 268"/>
                <a:gd name="T85" fmla="*/ 272 h 306"/>
                <a:gd name="T86" fmla="*/ 232 w 268"/>
                <a:gd name="T87" fmla="*/ 265 h 306"/>
                <a:gd name="T88" fmla="*/ 256 w 268"/>
                <a:gd name="T89" fmla="*/ 263 h 306"/>
                <a:gd name="T90" fmla="*/ 256 w 268"/>
                <a:gd name="T91" fmla="*/ 256 h 306"/>
                <a:gd name="T92" fmla="*/ 268 w 268"/>
                <a:gd name="T93" fmla="*/ 233 h 306"/>
                <a:gd name="T94" fmla="*/ 264 w 268"/>
                <a:gd name="T95" fmla="*/ 201 h 306"/>
                <a:gd name="T96" fmla="*/ 241 w 268"/>
                <a:gd name="T97" fmla="*/ 169 h 306"/>
                <a:gd name="T98" fmla="*/ 247 w 268"/>
                <a:gd name="T99" fmla="*/ 122 h 306"/>
                <a:gd name="T100" fmla="*/ 248 w 268"/>
                <a:gd name="T101" fmla="*/ 119 h 306"/>
                <a:gd name="T102" fmla="*/ 252 w 268"/>
                <a:gd name="T103" fmla="*/ 96 h 306"/>
                <a:gd name="T104" fmla="*/ 256 w 268"/>
                <a:gd name="T105" fmla="*/ 87 h 306"/>
                <a:gd name="T106" fmla="*/ 261 w 268"/>
                <a:gd name="T107" fmla="*/ 74 h 306"/>
                <a:gd name="T108" fmla="*/ 254 w 268"/>
                <a:gd name="T109" fmla="*/ 58 h 306"/>
                <a:gd name="T110" fmla="*/ 241 w 268"/>
                <a:gd name="T111" fmla="*/ 32 h 306"/>
                <a:gd name="T112" fmla="*/ 236 w 268"/>
                <a:gd name="T113" fmla="*/ 23 h 306"/>
                <a:gd name="T114" fmla="*/ 224 w 268"/>
                <a:gd name="T115" fmla="*/ 12 h 306"/>
                <a:gd name="T116" fmla="*/ 220 w 268"/>
                <a:gd name="T117" fmla="*/ 0 h 306"/>
                <a:gd name="T118" fmla="*/ 204 w 268"/>
                <a:gd name="T119" fmla="*/ 9 h 306"/>
                <a:gd name="T120" fmla="*/ 199 w 268"/>
                <a:gd name="T121" fmla="*/ 14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8" h="306">
                  <a:moveTo>
                    <a:pt x="199" y="14"/>
                  </a:moveTo>
                  <a:lnTo>
                    <a:pt x="199" y="14"/>
                  </a:lnTo>
                  <a:lnTo>
                    <a:pt x="193" y="19"/>
                  </a:lnTo>
                  <a:lnTo>
                    <a:pt x="192" y="26"/>
                  </a:lnTo>
                  <a:lnTo>
                    <a:pt x="190" y="34"/>
                  </a:lnTo>
                  <a:lnTo>
                    <a:pt x="188" y="39"/>
                  </a:lnTo>
                  <a:lnTo>
                    <a:pt x="188" y="39"/>
                  </a:lnTo>
                  <a:lnTo>
                    <a:pt x="186" y="42"/>
                  </a:lnTo>
                  <a:lnTo>
                    <a:pt x="183" y="46"/>
                  </a:lnTo>
                  <a:lnTo>
                    <a:pt x="168" y="57"/>
                  </a:lnTo>
                  <a:lnTo>
                    <a:pt x="158" y="66"/>
                  </a:lnTo>
                  <a:lnTo>
                    <a:pt x="147" y="74"/>
                  </a:lnTo>
                  <a:lnTo>
                    <a:pt x="147" y="74"/>
                  </a:lnTo>
                  <a:lnTo>
                    <a:pt x="145" y="76"/>
                  </a:lnTo>
                  <a:lnTo>
                    <a:pt x="142" y="78"/>
                  </a:lnTo>
                  <a:lnTo>
                    <a:pt x="136" y="82"/>
                  </a:lnTo>
                  <a:lnTo>
                    <a:pt x="128" y="83"/>
                  </a:lnTo>
                  <a:lnTo>
                    <a:pt x="124" y="8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0" y="90"/>
                  </a:lnTo>
                  <a:lnTo>
                    <a:pt x="119" y="96"/>
                  </a:lnTo>
                  <a:lnTo>
                    <a:pt x="120" y="96"/>
                  </a:lnTo>
                  <a:lnTo>
                    <a:pt x="120" y="99"/>
                  </a:lnTo>
                  <a:lnTo>
                    <a:pt x="124" y="103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9" y="114"/>
                  </a:lnTo>
                  <a:lnTo>
                    <a:pt x="128" y="115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17" y="122"/>
                  </a:lnTo>
                  <a:lnTo>
                    <a:pt x="117" y="126"/>
                  </a:lnTo>
                  <a:lnTo>
                    <a:pt x="117" y="131"/>
                  </a:lnTo>
                  <a:lnTo>
                    <a:pt x="117" y="140"/>
                  </a:lnTo>
                  <a:lnTo>
                    <a:pt x="113" y="142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6"/>
                  </a:lnTo>
                  <a:lnTo>
                    <a:pt x="108" y="146"/>
                  </a:lnTo>
                  <a:lnTo>
                    <a:pt x="104" y="146"/>
                  </a:lnTo>
                  <a:lnTo>
                    <a:pt x="96" y="144"/>
                  </a:lnTo>
                  <a:lnTo>
                    <a:pt x="96" y="144"/>
                  </a:lnTo>
                  <a:lnTo>
                    <a:pt x="92" y="146"/>
                  </a:lnTo>
                  <a:lnTo>
                    <a:pt x="87" y="149"/>
                  </a:lnTo>
                  <a:lnTo>
                    <a:pt x="83" y="154"/>
                  </a:lnTo>
                  <a:lnTo>
                    <a:pt x="81" y="156"/>
                  </a:lnTo>
                  <a:lnTo>
                    <a:pt x="81" y="156"/>
                  </a:lnTo>
                  <a:lnTo>
                    <a:pt x="81" y="156"/>
                  </a:lnTo>
                  <a:lnTo>
                    <a:pt x="81" y="160"/>
                  </a:lnTo>
                  <a:lnTo>
                    <a:pt x="80" y="163"/>
                  </a:lnTo>
                  <a:lnTo>
                    <a:pt x="76" y="165"/>
                  </a:lnTo>
                  <a:lnTo>
                    <a:pt x="71" y="167"/>
                  </a:lnTo>
                  <a:lnTo>
                    <a:pt x="71" y="167"/>
                  </a:lnTo>
                  <a:lnTo>
                    <a:pt x="69" y="167"/>
                  </a:lnTo>
                  <a:lnTo>
                    <a:pt x="67" y="165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0" y="158"/>
                  </a:lnTo>
                  <a:lnTo>
                    <a:pt x="58" y="158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46" y="167"/>
                  </a:lnTo>
                  <a:lnTo>
                    <a:pt x="44" y="172"/>
                  </a:lnTo>
                  <a:lnTo>
                    <a:pt x="44" y="172"/>
                  </a:lnTo>
                  <a:lnTo>
                    <a:pt x="39" y="179"/>
                  </a:lnTo>
                  <a:lnTo>
                    <a:pt x="35" y="183"/>
                  </a:lnTo>
                  <a:lnTo>
                    <a:pt x="28" y="186"/>
                  </a:lnTo>
                  <a:lnTo>
                    <a:pt x="28" y="186"/>
                  </a:lnTo>
                  <a:lnTo>
                    <a:pt x="26" y="186"/>
                  </a:lnTo>
                  <a:lnTo>
                    <a:pt x="24" y="186"/>
                  </a:lnTo>
                  <a:lnTo>
                    <a:pt x="21" y="183"/>
                  </a:lnTo>
                  <a:lnTo>
                    <a:pt x="19" y="181"/>
                  </a:lnTo>
                  <a:lnTo>
                    <a:pt x="16" y="179"/>
                  </a:lnTo>
                  <a:lnTo>
                    <a:pt x="14" y="179"/>
                  </a:lnTo>
                  <a:lnTo>
                    <a:pt x="14" y="179"/>
                  </a:lnTo>
                  <a:lnTo>
                    <a:pt x="10" y="181"/>
                  </a:lnTo>
                  <a:lnTo>
                    <a:pt x="10" y="183"/>
                  </a:lnTo>
                  <a:lnTo>
                    <a:pt x="10" y="186"/>
                  </a:lnTo>
                  <a:lnTo>
                    <a:pt x="8" y="190"/>
                  </a:lnTo>
                  <a:lnTo>
                    <a:pt x="8" y="195"/>
                  </a:lnTo>
                  <a:lnTo>
                    <a:pt x="7" y="197"/>
                  </a:lnTo>
                  <a:lnTo>
                    <a:pt x="7" y="197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1" y="206"/>
                  </a:lnTo>
                  <a:lnTo>
                    <a:pt x="0" y="208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0" y="218"/>
                  </a:lnTo>
                  <a:lnTo>
                    <a:pt x="3" y="222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21" y="233"/>
                  </a:lnTo>
                  <a:lnTo>
                    <a:pt x="26" y="240"/>
                  </a:lnTo>
                  <a:lnTo>
                    <a:pt x="26" y="240"/>
                  </a:lnTo>
                  <a:lnTo>
                    <a:pt x="30" y="242"/>
                  </a:lnTo>
                  <a:lnTo>
                    <a:pt x="30" y="242"/>
                  </a:lnTo>
                  <a:lnTo>
                    <a:pt x="37" y="240"/>
                  </a:lnTo>
                  <a:lnTo>
                    <a:pt x="42" y="238"/>
                  </a:lnTo>
                  <a:lnTo>
                    <a:pt x="42" y="238"/>
                  </a:lnTo>
                  <a:lnTo>
                    <a:pt x="44" y="238"/>
                  </a:lnTo>
                  <a:lnTo>
                    <a:pt x="48" y="240"/>
                  </a:lnTo>
                  <a:lnTo>
                    <a:pt x="51" y="243"/>
                  </a:lnTo>
                  <a:lnTo>
                    <a:pt x="60" y="250"/>
                  </a:lnTo>
                  <a:lnTo>
                    <a:pt x="60" y="250"/>
                  </a:lnTo>
                  <a:lnTo>
                    <a:pt x="67" y="258"/>
                  </a:lnTo>
                  <a:lnTo>
                    <a:pt x="72" y="263"/>
                  </a:lnTo>
                  <a:lnTo>
                    <a:pt x="80" y="266"/>
                  </a:lnTo>
                  <a:lnTo>
                    <a:pt x="80" y="266"/>
                  </a:lnTo>
                  <a:lnTo>
                    <a:pt x="80" y="268"/>
                  </a:lnTo>
                  <a:lnTo>
                    <a:pt x="80" y="268"/>
                  </a:lnTo>
                  <a:lnTo>
                    <a:pt x="81" y="270"/>
                  </a:lnTo>
                  <a:lnTo>
                    <a:pt x="83" y="270"/>
                  </a:lnTo>
                  <a:lnTo>
                    <a:pt x="87" y="268"/>
                  </a:lnTo>
                  <a:lnTo>
                    <a:pt x="88" y="266"/>
                  </a:lnTo>
                  <a:lnTo>
                    <a:pt x="103" y="282"/>
                  </a:lnTo>
                  <a:lnTo>
                    <a:pt x="108" y="282"/>
                  </a:lnTo>
                  <a:lnTo>
                    <a:pt x="128" y="279"/>
                  </a:lnTo>
                  <a:lnTo>
                    <a:pt x="147" y="288"/>
                  </a:lnTo>
                  <a:lnTo>
                    <a:pt x="158" y="293"/>
                  </a:lnTo>
                  <a:lnTo>
                    <a:pt x="167" y="304"/>
                  </a:lnTo>
                  <a:lnTo>
                    <a:pt x="174" y="298"/>
                  </a:lnTo>
                  <a:lnTo>
                    <a:pt x="195" y="302"/>
                  </a:lnTo>
                  <a:lnTo>
                    <a:pt x="200" y="306"/>
                  </a:lnTo>
                  <a:lnTo>
                    <a:pt x="204" y="302"/>
                  </a:lnTo>
                  <a:lnTo>
                    <a:pt x="202" y="293"/>
                  </a:lnTo>
                  <a:lnTo>
                    <a:pt x="208" y="281"/>
                  </a:lnTo>
                  <a:lnTo>
                    <a:pt x="209" y="272"/>
                  </a:lnTo>
                  <a:lnTo>
                    <a:pt x="215" y="263"/>
                  </a:lnTo>
                  <a:lnTo>
                    <a:pt x="231" y="261"/>
                  </a:lnTo>
                  <a:lnTo>
                    <a:pt x="232" y="265"/>
                  </a:lnTo>
                  <a:lnTo>
                    <a:pt x="245" y="263"/>
                  </a:lnTo>
                  <a:lnTo>
                    <a:pt x="256" y="263"/>
                  </a:lnTo>
                  <a:lnTo>
                    <a:pt x="256" y="263"/>
                  </a:lnTo>
                  <a:lnTo>
                    <a:pt x="256" y="261"/>
                  </a:lnTo>
                  <a:lnTo>
                    <a:pt x="256" y="256"/>
                  </a:lnTo>
                  <a:lnTo>
                    <a:pt x="256" y="256"/>
                  </a:lnTo>
                  <a:lnTo>
                    <a:pt x="259" y="249"/>
                  </a:lnTo>
                  <a:lnTo>
                    <a:pt x="263" y="243"/>
                  </a:lnTo>
                  <a:lnTo>
                    <a:pt x="268" y="233"/>
                  </a:lnTo>
                  <a:lnTo>
                    <a:pt x="261" y="229"/>
                  </a:lnTo>
                  <a:lnTo>
                    <a:pt x="259" y="215"/>
                  </a:lnTo>
                  <a:lnTo>
                    <a:pt x="264" y="201"/>
                  </a:lnTo>
                  <a:lnTo>
                    <a:pt x="264" y="195"/>
                  </a:lnTo>
                  <a:lnTo>
                    <a:pt x="264" y="186"/>
                  </a:lnTo>
                  <a:lnTo>
                    <a:pt x="241" y="169"/>
                  </a:lnTo>
                  <a:lnTo>
                    <a:pt x="241" y="163"/>
                  </a:lnTo>
                  <a:lnTo>
                    <a:pt x="252" y="135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8" y="122"/>
                  </a:lnTo>
                  <a:lnTo>
                    <a:pt x="248" y="119"/>
                  </a:lnTo>
                  <a:lnTo>
                    <a:pt x="248" y="119"/>
                  </a:lnTo>
                  <a:lnTo>
                    <a:pt x="250" y="103"/>
                  </a:lnTo>
                  <a:lnTo>
                    <a:pt x="252" y="96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6" y="87"/>
                  </a:lnTo>
                  <a:lnTo>
                    <a:pt x="256" y="83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3"/>
                  </a:lnTo>
                  <a:lnTo>
                    <a:pt x="259" y="67"/>
                  </a:lnTo>
                  <a:lnTo>
                    <a:pt x="254" y="58"/>
                  </a:lnTo>
                  <a:lnTo>
                    <a:pt x="247" y="39"/>
                  </a:lnTo>
                  <a:lnTo>
                    <a:pt x="247" y="39"/>
                  </a:lnTo>
                  <a:lnTo>
                    <a:pt x="241" y="32"/>
                  </a:lnTo>
                  <a:lnTo>
                    <a:pt x="240" y="25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29" y="18"/>
                  </a:lnTo>
                  <a:lnTo>
                    <a:pt x="224" y="14"/>
                  </a:lnTo>
                  <a:lnTo>
                    <a:pt x="224" y="12"/>
                  </a:lnTo>
                  <a:lnTo>
                    <a:pt x="224" y="12"/>
                  </a:lnTo>
                  <a:lnTo>
                    <a:pt x="225" y="3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09" y="5"/>
                  </a:lnTo>
                  <a:lnTo>
                    <a:pt x="204" y="9"/>
                  </a:lnTo>
                  <a:lnTo>
                    <a:pt x="199" y="14"/>
                  </a:lnTo>
                  <a:lnTo>
                    <a:pt x="199" y="14"/>
                  </a:lnTo>
                  <a:lnTo>
                    <a:pt x="199" y="14"/>
                  </a:lnTo>
                  <a:lnTo>
                    <a:pt x="199" y="14"/>
                  </a:lnTo>
                  <a:lnTo>
                    <a:pt x="199" y="1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74"/>
            <p:cNvSpPr>
              <a:spLocks/>
            </p:cNvSpPr>
            <p:nvPr/>
          </p:nvSpPr>
          <p:spPr bwMode="auto">
            <a:xfrm>
              <a:off x="786789" y="2203011"/>
              <a:ext cx="87281" cy="71308"/>
            </a:xfrm>
            <a:custGeom>
              <a:avLst/>
              <a:gdLst>
                <a:gd name="T0" fmla="*/ 28 w 153"/>
                <a:gd name="T1" fmla="*/ 112 h 125"/>
                <a:gd name="T2" fmla="*/ 30 w 153"/>
                <a:gd name="T3" fmla="*/ 112 h 125"/>
                <a:gd name="T4" fmla="*/ 37 w 153"/>
                <a:gd name="T5" fmla="*/ 112 h 125"/>
                <a:gd name="T6" fmla="*/ 43 w 153"/>
                <a:gd name="T7" fmla="*/ 112 h 125"/>
                <a:gd name="T8" fmla="*/ 55 w 153"/>
                <a:gd name="T9" fmla="*/ 111 h 125"/>
                <a:gd name="T10" fmla="*/ 55 w 153"/>
                <a:gd name="T11" fmla="*/ 111 h 125"/>
                <a:gd name="T12" fmla="*/ 62 w 153"/>
                <a:gd name="T13" fmla="*/ 102 h 125"/>
                <a:gd name="T14" fmla="*/ 69 w 153"/>
                <a:gd name="T15" fmla="*/ 109 h 125"/>
                <a:gd name="T16" fmla="*/ 76 w 153"/>
                <a:gd name="T17" fmla="*/ 123 h 125"/>
                <a:gd name="T18" fmla="*/ 78 w 153"/>
                <a:gd name="T19" fmla="*/ 121 h 125"/>
                <a:gd name="T20" fmla="*/ 85 w 153"/>
                <a:gd name="T21" fmla="*/ 120 h 125"/>
                <a:gd name="T22" fmla="*/ 91 w 153"/>
                <a:gd name="T23" fmla="*/ 125 h 125"/>
                <a:gd name="T24" fmla="*/ 98 w 153"/>
                <a:gd name="T25" fmla="*/ 125 h 125"/>
                <a:gd name="T26" fmla="*/ 101 w 153"/>
                <a:gd name="T27" fmla="*/ 123 h 125"/>
                <a:gd name="T28" fmla="*/ 123 w 153"/>
                <a:gd name="T29" fmla="*/ 125 h 125"/>
                <a:gd name="T30" fmla="*/ 124 w 153"/>
                <a:gd name="T31" fmla="*/ 121 h 125"/>
                <a:gd name="T32" fmla="*/ 133 w 153"/>
                <a:gd name="T33" fmla="*/ 112 h 125"/>
                <a:gd name="T34" fmla="*/ 140 w 153"/>
                <a:gd name="T35" fmla="*/ 111 h 125"/>
                <a:gd name="T36" fmla="*/ 149 w 153"/>
                <a:gd name="T37" fmla="*/ 105 h 125"/>
                <a:gd name="T38" fmla="*/ 153 w 153"/>
                <a:gd name="T39" fmla="*/ 96 h 125"/>
                <a:gd name="T40" fmla="*/ 149 w 153"/>
                <a:gd name="T41" fmla="*/ 96 h 125"/>
                <a:gd name="T42" fmla="*/ 144 w 153"/>
                <a:gd name="T43" fmla="*/ 89 h 125"/>
                <a:gd name="T44" fmla="*/ 140 w 153"/>
                <a:gd name="T45" fmla="*/ 75 h 125"/>
                <a:gd name="T46" fmla="*/ 133 w 153"/>
                <a:gd name="T47" fmla="*/ 64 h 125"/>
                <a:gd name="T48" fmla="*/ 128 w 153"/>
                <a:gd name="T49" fmla="*/ 64 h 125"/>
                <a:gd name="T50" fmla="*/ 117 w 153"/>
                <a:gd name="T51" fmla="*/ 63 h 125"/>
                <a:gd name="T52" fmla="*/ 105 w 153"/>
                <a:gd name="T53" fmla="*/ 56 h 125"/>
                <a:gd name="T54" fmla="*/ 98 w 153"/>
                <a:gd name="T55" fmla="*/ 41 h 125"/>
                <a:gd name="T56" fmla="*/ 91 w 153"/>
                <a:gd name="T57" fmla="*/ 34 h 125"/>
                <a:gd name="T58" fmla="*/ 89 w 153"/>
                <a:gd name="T59" fmla="*/ 31 h 125"/>
                <a:gd name="T60" fmla="*/ 91 w 153"/>
                <a:gd name="T61" fmla="*/ 24 h 125"/>
                <a:gd name="T62" fmla="*/ 87 w 153"/>
                <a:gd name="T63" fmla="*/ 20 h 125"/>
                <a:gd name="T64" fmla="*/ 82 w 153"/>
                <a:gd name="T65" fmla="*/ 16 h 125"/>
                <a:gd name="T66" fmla="*/ 78 w 153"/>
                <a:gd name="T67" fmla="*/ 8 h 125"/>
                <a:gd name="T68" fmla="*/ 76 w 153"/>
                <a:gd name="T69" fmla="*/ 2 h 125"/>
                <a:gd name="T70" fmla="*/ 66 w 153"/>
                <a:gd name="T71" fmla="*/ 2 h 125"/>
                <a:gd name="T72" fmla="*/ 62 w 153"/>
                <a:gd name="T73" fmla="*/ 8 h 125"/>
                <a:gd name="T74" fmla="*/ 55 w 153"/>
                <a:gd name="T75" fmla="*/ 9 h 125"/>
                <a:gd name="T76" fmla="*/ 46 w 153"/>
                <a:gd name="T77" fmla="*/ 20 h 125"/>
                <a:gd name="T78" fmla="*/ 30 w 153"/>
                <a:gd name="T79" fmla="*/ 20 h 125"/>
                <a:gd name="T80" fmla="*/ 30 w 153"/>
                <a:gd name="T81" fmla="*/ 32 h 125"/>
                <a:gd name="T82" fmla="*/ 23 w 153"/>
                <a:gd name="T83" fmla="*/ 38 h 125"/>
                <a:gd name="T84" fmla="*/ 21 w 153"/>
                <a:gd name="T85" fmla="*/ 41 h 125"/>
                <a:gd name="T86" fmla="*/ 16 w 153"/>
                <a:gd name="T87" fmla="*/ 48 h 125"/>
                <a:gd name="T88" fmla="*/ 14 w 153"/>
                <a:gd name="T89" fmla="*/ 57 h 125"/>
                <a:gd name="T90" fmla="*/ 14 w 153"/>
                <a:gd name="T91" fmla="*/ 70 h 125"/>
                <a:gd name="T92" fmla="*/ 11 w 153"/>
                <a:gd name="T93" fmla="*/ 73 h 125"/>
                <a:gd name="T94" fmla="*/ 2 w 153"/>
                <a:gd name="T95" fmla="*/ 77 h 125"/>
                <a:gd name="T96" fmla="*/ 5 w 153"/>
                <a:gd name="T97" fmla="*/ 89 h 125"/>
                <a:gd name="T98" fmla="*/ 5 w 153"/>
                <a:gd name="T99" fmla="*/ 96 h 125"/>
                <a:gd name="T100" fmla="*/ 2 w 153"/>
                <a:gd name="T101" fmla="*/ 100 h 125"/>
                <a:gd name="T102" fmla="*/ 0 w 153"/>
                <a:gd name="T103" fmla="*/ 112 h 125"/>
                <a:gd name="T104" fmla="*/ 7 w 153"/>
                <a:gd name="T105" fmla="*/ 112 h 125"/>
                <a:gd name="T106" fmla="*/ 25 w 153"/>
                <a:gd name="T107" fmla="*/ 112 h 125"/>
                <a:gd name="T108" fmla="*/ 25 w 153"/>
                <a:gd name="T109" fmla="*/ 11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3" h="125">
                  <a:moveTo>
                    <a:pt x="25" y="112"/>
                  </a:moveTo>
                  <a:lnTo>
                    <a:pt x="25" y="112"/>
                  </a:lnTo>
                  <a:lnTo>
                    <a:pt x="28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9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50" y="112"/>
                  </a:lnTo>
                  <a:lnTo>
                    <a:pt x="55" y="112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9" y="105"/>
                  </a:lnTo>
                  <a:lnTo>
                    <a:pt x="59" y="104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6" y="105"/>
                  </a:lnTo>
                  <a:lnTo>
                    <a:pt x="69" y="109"/>
                  </a:lnTo>
                  <a:lnTo>
                    <a:pt x="71" y="118"/>
                  </a:lnTo>
                  <a:lnTo>
                    <a:pt x="71" y="118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84" y="118"/>
                  </a:lnTo>
                  <a:lnTo>
                    <a:pt x="85" y="118"/>
                  </a:lnTo>
                  <a:lnTo>
                    <a:pt x="85" y="120"/>
                  </a:lnTo>
                  <a:lnTo>
                    <a:pt x="85" y="120"/>
                  </a:lnTo>
                  <a:lnTo>
                    <a:pt x="89" y="125"/>
                  </a:lnTo>
                  <a:lnTo>
                    <a:pt x="91" y="125"/>
                  </a:lnTo>
                  <a:lnTo>
                    <a:pt x="92" y="125"/>
                  </a:lnTo>
                  <a:lnTo>
                    <a:pt x="92" y="125"/>
                  </a:lnTo>
                  <a:lnTo>
                    <a:pt x="98" y="125"/>
                  </a:lnTo>
                  <a:lnTo>
                    <a:pt x="100" y="123"/>
                  </a:lnTo>
                  <a:lnTo>
                    <a:pt x="101" y="123"/>
                  </a:lnTo>
                  <a:lnTo>
                    <a:pt x="101" y="123"/>
                  </a:lnTo>
                  <a:lnTo>
                    <a:pt x="110" y="125"/>
                  </a:lnTo>
                  <a:lnTo>
                    <a:pt x="119" y="125"/>
                  </a:lnTo>
                  <a:lnTo>
                    <a:pt x="123" y="125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4" y="121"/>
                  </a:lnTo>
                  <a:lnTo>
                    <a:pt x="124" y="121"/>
                  </a:lnTo>
                  <a:lnTo>
                    <a:pt x="130" y="116"/>
                  </a:lnTo>
                  <a:lnTo>
                    <a:pt x="133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40" y="111"/>
                  </a:lnTo>
                  <a:lnTo>
                    <a:pt x="144" y="111"/>
                  </a:lnTo>
                  <a:lnTo>
                    <a:pt x="148" y="111"/>
                  </a:lnTo>
                  <a:lnTo>
                    <a:pt x="149" y="105"/>
                  </a:lnTo>
                  <a:lnTo>
                    <a:pt x="149" y="105"/>
                  </a:lnTo>
                  <a:lnTo>
                    <a:pt x="153" y="96"/>
                  </a:lnTo>
                  <a:lnTo>
                    <a:pt x="153" y="96"/>
                  </a:lnTo>
                  <a:lnTo>
                    <a:pt x="151" y="96"/>
                  </a:lnTo>
                  <a:lnTo>
                    <a:pt x="151" y="96"/>
                  </a:lnTo>
                  <a:lnTo>
                    <a:pt x="149" y="96"/>
                  </a:lnTo>
                  <a:lnTo>
                    <a:pt x="148" y="93"/>
                  </a:lnTo>
                  <a:lnTo>
                    <a:pt x="144" y="89"/>
                  </a:lnTo>
                  <a:lnTo>
                    <a:pt x="144" y="89"/>
                  </a:lnTo>
                  <a:lnTo>
                    <a:pt x="140" y="79"/>
                  </a:lnTo>
                  <a:lnTo>
                    <a:pt x="140" y="79"/>
                  </a:lnTo>
                  <a:lnTo>
                    <a:pt x="140" y="75"/>
                  </a:lnTo>
                  <a:lnTo>
                    <a:pt x="139" y="73"/>
                  </a:lnTo>
                  <a:lnTo>
                    <a:pt x="139" y="70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4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4" y="64"/>
                  </a:lnTo>
                  <a:lnTo>
                    <a:pt x="117" y="63"/>
                  </a:lnTo>
                  <a:lnTo>
                    <a:pt x="117" y="63"/>
                  </a:lnTo>
                  <a:lnTo>
                    <a:pt x="110" y="59"/>
                  </a:lnTo>
                  <a:lnTo>
                    <a:pt x="105" y="56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98" y="41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1" y="34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91" y="29"/>
                  </a:lnTo>
                  <a:lnTo>
                    <a:pt x="91" y="24"/>
                  </a:lnTo>
                  <a:lnTo>
                    <a:pt x="89" y="22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5" y="20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78" y="11"/>
                  </a:lnTo>
                  <a:lnTo>
                    <a:pt x="78" y="8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1" y="0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2" y="8"/>
                  </a:lnTo>
                  <a:lnTo>
                    <a:pt x="59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0" y="16"/>
                  </a:lnTo>
                  <a:lnTo>
                    <a:pt x="46" y="18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8" y="34"/>
                  </a:lnTo>
                  <a:lnTo>
                    <a:pt x="27" y="36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8"/>
                  </a:lnTo>
                  <a:lnTo>
                    <a:pt x="14" y="50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5" y="73"/>
                  </a:lnTo>
                  <a:lnTo>
                    <a:pt x="4" y="75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4" y="82"/>
                  </a:lnTo>
                  <a:lnTo>
                    <a:pt x="5" y="89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5" y="96"/>
                  </a:lnTo>
                  <a:lnTo>
                    <a:pt x="4" y="96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2" y="105"/>
                  </a:lnTo>
                  <a:lnTo>
                    <a:pt x="2" y="111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18" y="112"/>
                  </a:lnTo>
                  <a:lnTo>
                    <a:pt x="21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75"/>
            <p:cNvSpPr>
              <a:spLocks/>
            </p:cNvSpPr>
            <p:nvPr/>
          </p:nvSpPr>
          <p:spPr bwMode="auto">
            <a:xfrm>
              <a:off x="1101115" y="1975966"/>
              <a:ext cx="105536" cy="157448"/>
            </a:xfrm>
            <a:custGeom>
              <a:avLst/>
              <a:gdLst>
                <a:gd name="T0" fmla="*/ 21 w 185"/>
                <a:gd name="T1" fmla="*/ 119 h 276"/>
                <a:gd name="T2" fmla="*/ 21 w 185"/>
                <a:gd name="T3" fmla="*/ 125 h 276"/>
                <a:gd name="T4" fmla="*/ 29 w 185"/>
                <a:gd name="T5" fmla="*/ 132 h 276"/>
                <a:gd name="T6" fmla="*/ 34 w 185"/>
                <a:gd name="T7" fmla="*/ 135 h 276"/>
                <a:gd name="T8" fmla="*/ 37 w 185"/>
                <a:gd name="T9" fmla="*/ 143 h 276"/>
                <a:gd name="T10" fmla="*/ 37 w 185"/>
                <a:gd name="T11" fmla="*/ 151 h 276"/>
                <a:gd name="T12" fmla="*/ 41 w 185"/>
                <a:gd name="T13" fmla="*/ 135 h 276"/>
                <a:gd name="T14" fmla="*/ 45 w 185"/>
                <a:gd name="T15" fmla="*/ 132 h 276"/>
                <a:gd name="T16" fmla="*/ 55 w 185"/>
                <a:gd name="T17" fmla="*/ 114 h 276"/>
                <a:gd name="T18" fmla="*/ 57 w 185"/>
                <a:gd name="T19" fmla="*/ 119 h 276"/>
                <a:gd name="T20" fmla="*/ 57 w 185"/>
                <a:gd name="T21" fmla="*/ 125 h 276"/>
                <a:gd name="T22" fmla="*/ 52 w 185"/>
                <a:gd name="T23" fmla="*/ 132 h 276"/>
                <a:gd name="T24" fmla="*/ 50 w 185"/>
                <a:gd name="T25" fmla="*/ 143 h 276"/>
                <a:gd name="T26" fmla="*/ 50 w 185"/>
                <a:gd name="T27" fmla="*/ 148 h 276"/>
                <a:gd name="T28" fmla="*/ 55 w 185"/>
                <a:gd name="T29" fmla="*/ 160 h 276"/>
                <a:gd name="T30" fmla="*/ 57 w 185"/>
                <a:gd name="T31" fmla="*/ 169 h 276"/>
                <a:gd name="T32" fmla="*/ 59 w 185"/>
                <a:gd name="T33" fmla="*/ 191 h 276"/>
                <a:gd name="T34" fmla="*/ 61 w 185"/>
                <a:gd name="T35" fmla="*/ 201 h 276"/>
                <a:gd name="T36" fmla="*/ 68 w 185"/>
                <a:gd name="T37" fmla="*/ 215 h 276"/>
                <a:gd name="T38" fmla="*/ 71 w 185"/>
                <a:gd name="T39" fmla="*/ 228 h 276"/>
                <a:gd name="T40" fmla="*/ 80 w 185"/>
                <a:gd name="T41" fmla="*/ 249 h 276"/>
                <a:gd name="T42" fmla="*/ 87 w 185"/>
                <a:gd name="T43" fmla="*/ 258 h 276"/>
                <a:gd name="T44" fmla="*/ 100 w 185"/>
                <a:gd name="T45" fmla="*/ 269 h 276"/>
                <a:gd name="T46" fmla="*/ 112 w 185"/>
                <a:gd name="T47" fmla="*/ 272 h 276"/>
                <a:gd name="T48" fmla="*/ 137 w 185"/>
                <a:gd name="T49" fmla="*/ 276 h 276"/>
                <a:gd name="T50" fmla="*/ 146 w 185"/>
                <a:gd name="T51" fmla="*/ 274 h 276"/>
                <a:gd name="T52" fmla="*/ 157 w 185"/>
                <a:gd name="T53" fmla="*/ 270 h 276"/>
                <a:gd name="T54" fmla="*/ 169 w 185"/>
                <a:gd name="T55" fmla="*/ 254 h 276"/>
                <a:gd name="T56" fmla="*/ 173 w 185"/>
                <a:gd name="T57" fmla="*/ 247 h 276"/>
                <a:gd name="T58" fmla="*/ 180 w 185"/>
                <a:gd name="T59" fmla="*/ 235 h 276"/>
                <a:gd name="T60" fmla="*/ 181 w 185"/>
                <a:gd name="T61" fmla="*/ 219 h 276"/>
                <a:gd name="T62" fmla="*/ 178 w 185"/>
                <a:gd name="T63" fmla="*/ 196 h 276"/>
                <a:gd name="T64" fmla="*/ 180 w 185"/>
                <a:gd name="T65" fmla="*/ 167 h 276"/>
                <a:gd name="T66" fmla="*/ 185 w 185"/>
                <a:gd name="T67" fmla="*/ 137 h 276"/>
                <a:gd name="T68" fmla="*/ 185 w 185"/>
                <a:gd name="T69" fmla="*/ 119 h 276"/>
                <a:gd name="T70" fmla="*/ 183 w 185"/>
                <a:gd name="T71" fmla="*/ 111 h 276"/>
                <a:gd name="T72" fmla="*/ 178 w 185"/>
                <a:gd name="T73" fmla="*/ 100 h 276"/>
                <a:gd name="T74" fmla="*/ 167 w 185"/>
                <a:gd name="T75" fmla="*/ 84 h 276"/>
                <a:gd name="T76" fmla="*/ 165 w 185"/>
                <a:gd name="T77" fmla="*/ 75 h 276"/>
                <a:gd name="T78" fmla="*/ 164 w 185"/>
                <a:gd name="T79" fmla="*/ 63 h 276"/>
                <a:gd name="T80" fmla="*/ 158 w 185"/>
                <a:gd name="T81" fmla="*/ 20 h 276"/>
                <a:gd name="T82" fmla="*/ 144 w 185"/>
                <a:gd name="T83" fmla="*/ 20 h 276"/>
                <a:gd name="T84" fmla="*/ 144 w 185"/>
                <a:gd name="T85" fmla="*/ 11 h 276"/>
                <a:gd name="T86" fmla="*/ 139 w 185"/>
                <a:gd name="T87" fmla="*/ 15 h 276"/>
                <a:gd name="T88" fmla="*/ 137 w 185"/>
                <a:gd name="T89" fmla="*/ 15 h 276"/>
                <a:gd name="T90" fmla="*/ 126 w 185"/>
                <a:gd name="T91" fmla="*/ 9 h 276"/>
                <a:gd name="T92" fmla="*/ 109 w 185"/>
                <a:gd name="T93" fmla="*/ 11 h 276"/>
                <a:gd name="T94" fmla="*/ 98 w 185"/>
                <a:gd name="T95" fmla="*/ 0 h 276"/>
                <a:gd name="T96" fmla="*/ 98 w 185"/>
                <a:gd name="T97" fmla="*/ 9 h 276"/>
                <a:gd name="T98" fmla="*/ 64 w 185"/>
                <a:gd name="T99" fmla="*/ 23 h 276"/>
                <a:gd name="T100" fmla="*/ 57 w 185"/>
                <a:gd name="T101" fmla="*/ 50 h 276"/>
                <a:gd name="T102" fmla="*/ 34 w 185"/>
                <a:gd name="T103" fmla="*/ 64 h 276"/>
                <a:gd name="T104" fmla="*/ 23 w 185"/>
                <a:gd name="T105" fmla="*/ 63 h 276"/>
                <a:gd name="T106" fmla="*/ 11 w 185"/>
                <a:gd name="T107" fmla="*/ 64 h 276"/>
                <a:gd name="T108" fmla="*/ 7 w 185"/>
                <a:gd name="T109" fmla="*/ 66 h 276"/>
                <a:gd name="T110" fmla="*/ 0 w 185"/>
                <a:gd name="T111" fmla="*/ 79 h 276"/>
                <a:gd name="T112" fmla="*/ 0 w 185"/>
                <a:gd name="T113" fmla="*/ 79 h 276"/>
                <a:gd name="T114" fmla="*/ 5 w 185"/>
                <a:gd name="T115" fmla="*/ 89 h 276"/>
                <a:gd name="T116" fmla="*/ 9 w 185"/>
                <a:gd name="T117" fmla="*/ 100 h 276"/>
                <a:gd name="T118" fmla="*/ 14 w 185"/>
                <a:gd name="T119" fmla="*/ 102 h 276"/>
                <a:gd name="T120" fmla="*/ 20 w 185"/>
                <a:gd name="T121" fmla="*/ 112 h 276"/>
                <a:gd name="T122" fmla="*/ 21 w 185"/>
                <a:gd name="T123" fmla="*/ 119 h 276"/>
                <a:gd name="T124" fmla="*/ 21 w 185"/>
                <a:gd name="T125" fmla="*/ 11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5" h="276">
                  <a:moveTo>
                    <a:pt x="21" y="119"/>
                  </a:moveTo>
                  <a:lnTo>
                    <a:pt x="21" y="119"/>
                  </a:lnTo>
                  <a:lnTo>
                    <a:pt x="21" y="123"/>
                  </a:lnTo>
                  <a:lnTo>
                    <a:pt x="21" y="125"/>
                  </a:lnTo>
                  <a:lnTo>
                    <a:pt x="25" y="128"/>
                  </a:lnTo>
                  <a:lnTo>
                    <a:pt x="29" y="132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7"/>
                  </a:lnTo>
                  <a:lnTo>
                    <a:pt x="37" y="143"/>
                  </a:lnTo>
                  <a:lnTo>
                    <a:pt x="37" y="151"/>
                  </a:lnTo>
                  <a:lnTo>
                    <a:pt x="37" y="151"/>
                  </a:lnTo>
                  <a:lnTo>
                    <a:pt x="41" y="141"/>
                  </a:lnTo>
                  <a:lnTo>
                    <a:pt x="41" y="135"/>
                  </a:lnTo>
                  <a:lnTo>
                    <a:pt x="45" y="132"/>
                  </a:lnTo>
                  <a:lnTo>
                    <a:pt x="45" y="132"/>
                  </a:lnTo>
                  <a:lnTo>
                    <a:pt x="52" y="123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7" y="119"/>
                  </a:lnTo>
                  <a:lnTo>
                    <a:pt x="59" y="123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2" y="132"/>
                  </a:lnTo>
                  <a:lnTo>
                    <a:pt x="50" y="135"/>
                  </a:lnTo>
                  <a:lnTo>
                    <a:pt x="50" y="143"/>
                  </a:lnTo>
                  <a:lnTo>
                    <a:pt x="50" y="143"/>
                  </a:lnTo>
                  <a:lnTo>
                    <a:pt x="50" y="148"/>
                  </a:lnTo>
                  <a:lnTo>
                    <a:pt x="52" y="153"/>
                  </a:lnTo>
                  <a:lnTo>
                    <a:pt x="55" y="160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85"/>
                  </a:lnTo>
                  <a:lnTo>
                    <a:pt x="59" y="191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6" y="212"/>
                  </a:lnTo>
                  <a:lnTo>
                    <a:pt x="68" y="215"/>
                  </a:lnTo>
                  <a:lnTo>
                    <a:pt x="71" y="228"/>
                  </a:lnTo>
                  <a:lnTo>
                    <a:pt x="71" y="228"/>
                  </a:lnTo>
                  <a:lnTo>
                    <a:pt x="77" y="238"/>
                  </a:lnTo>
                  <a:lnTo>
                    <a:pt x="80" y="249"/>
                  </a:lnTo>
                  <a:lnTo>
                    <a:pt x="84" y="254"/>
                  </a:lnTo>
                  <a:lnTo>
                    <a:pt x="87" y="258"/>
                  </a:lnTo>
                  <a:lnTo>
                    <a:pt x="93" y="265"/>
                  </a:lnTo>
                  <a:lnTo>
                    <a:pt x="100" y="269"/>
                  </a:lnTo>
                  <a:lnTo>
                    <a:pt x="100" y="269"/>
                  </a:lnTo>
                  <a:lnTo>
                    <a:pt x="112" y="272"/>
                  </a:lnTo>
                  <a:lnTo>
                    <a:pt x="125" y="276"/>
                  </a:lnTo>
                  <a:lnTo>
                    <a:pt x="137" y="276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9" y="272"/>
                  </a:lnTo>
                  <a:lnTo>
                    <a:pt x="157" y="270"/>
                  </a:lnTo>
                  <a:lnTo>
                    <a:pt x="162" y="263"/>
                  </a:lnTo>
                  <a:lnTo>
                    <a:pt x="169" y="254"/>
                  </a:lnTo>
                  <a:lnTo>
                    <a:pt x="173" y="247"/>
                  </a:lnTo>
                  <a:lnTo>
                    <a:pt x="173" y="247"/>
                  </a:lnTo>
                  <a:lnTo>
                    <a:pt x="178" y="242"/>
                  </a:lnTo>
                  <a:lnTo>
                    <a:pt x="180" y="235"/>
                  </a:lnTo>
                  <a:lnTo>
                    <a:pt x="181" y="228"/>
                  </a:lnTo>
                  <a:lnTo>
                    <a:pt x="181" y="219"/>
                  </a:lnTo>
                  <a:lnTo>
                    <a:pt x="181" y="219"/>
                  </a:lnTo>
                  <a:lnTo>
                    <a:pt x="178" y="196"/>
                  </a:lnTo>
                  <a:lnTo>
                    <a:pt x="178" y="183"/>
                  </a:lnTo>
                  <a:lnTo>
                    <a:pt x="180" y="167"/>
                  </a:lnTo>
                  <a:lnTo>
                    <a:pt x="180" y="167"/>
                  </a:lnTo>
                  <a:lnTo>
                    <a:pt x="185" y="137"/>
                  </a:lnTo>
                  <a:lnTo>
                    <a:pt x="185" y="125"/>
                  </a:lnTo>
                  <a:lnTo>
                    <a:pt x="185" y="119"/>
                  </a:lnTo>
                  <a:lnTo>
                    <a:pt x="183" y="111"/>
                  </a:lnTo>
                  <a:lnTo>
                    <a:pt x="183" y="111"/>
                  </a:lnTo>
                  <a:lnTo>
                    <a:pt x="181" y="105"/>
                  </a:lnTo>
                  <a:lnTo>
                    <a:pt x="178" y="100"/>
                  </a:lnTo>
                  <a:lnTo>
                    <a:pt x="173" y="91"/>
                  </a:lnTo>
                  <a:lnTo>
                    <a:pt x="167" y="84"/>
                  </a:lnTo>
                  <a:lnTo>
                    <a:pt x="165" y="80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4" y="63"/>
                  </a:lnTo>
                  <a:lnTo>
                    <a:pt x="162" y="45"/>
                  </a:lnTo>
                  <a:lnTo>
                    <a:pt x="158" y="20"/>
                  </a:lnTo>
                  <a:lnTo>
                    <a:pt x="151" y="23"/>
                  </a:lnTo>
                  <a:lnTo>
                    <a:pt x="144" y="20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1" y="13"/>
                  </a:lnTo>
                  <a:lnTo>
                    <a:pt x="139" y="15"/>
                  </a:lnTo>
                  <a:lnTo>
                    <a:pt x="137" y="15"/>
                  </a:lnTo>
                  <a:lnTo>
                    <a:pt x="137" y="15"/>
                  </a:lnTo>
                  <a:lnTo>
                    <a:pt x="130" y="11"/>
                  </a:lnTo>
                  <a:lnTo>
                    <a:pt x="126" y="9"/>
                  </a:lnTo>
                  <a:lnTo>
                    <a:pt x="123" y="6"/>
                  </a:lnTo>
                  <a:lnTo>
                    <a:pt x="109" y="11"/>
                  </a:lnTo>
                  <a:lnTo>
                    <a:pt x="107" y="7"/>
                  </a:lnTo>
                  <a:lnTo>
                    <a:pt x="98" y="0"/>
                  </a:lnTo>
                  <a:lnTo>
                    <a:pt x="93" y="2"/>
                  </a:lnTo>
                  <a:lnTo>
                    <a:pt x="98" y="9"/>
                  </a:lnTo>
                  <a:lnTo>
                    <a:pt x="80" y="11"/>
                  </a:lnTo>
                  <a:lnTo>
                    <a:pt x="64" y="23"/>
                  </a:lnTo>
                  <a:lnTo>
                    <a:pt x="64" y="41"/>
                  </a:lnTo>
                  <a:lnTo>
                    <a:pt x="57" y="50"/>
                  </a:lnTo>
                  <a:lnTo>
                    <a:pt x="52" y="61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23" y="63"/>
                  </a:lnTo>
                  <a:lnTo>
                    <a:pt x="16" y="63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7" y="66"/>
                  </a:lnTo>
                  <a:lnTo>
                    <a:pt x="5" y="68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5" y="89"/>
                  </a:lnTo>
                  <a:lnTo>
                    <a:pt x="7" y="95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4" y="102"/>
                  </a:lnTo>
                  <a:lnTo>
                    <a:pt x="18" y="105"/>
                  </a:lnTo>
                  <a:lnTo>
                    <a:pt x="20" y="112"/>
                  </a:lnTo>
                  <a:lnTo>
                    <a:pt x="21" y="119"/>
                  </a:lnTo>
                  <a:lnTo>
                    <a:pt x="21" y="119"/>
                  </a:lnTo>
                  <a:lnTo>
                    <a:pt x="21" y="119"/>
                  </a:lnTo>
                  <a:lnTo>
                    <a:pt x="21" y="119"/>
                  </a:lnTo>
                  <a:lnTo>
                    <a:pt x="21" y="11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76"/>
            <p:cNvSpPr>
              <a:spLocks/>
            </p:cNvSpPr>
            <p:nvPr/>
          </p:nvSpPr>
          <p:spPr bwMode="auto">
            <a:xfrm>
              <a:off x="815312" y="2110025"/>
              <a:ext cx="78154" cy="102113"/>
            </a:xfrm>
            <a:custGeom>
              <a:avLst/>
              <a:gdLst>
                <a:gd name="T0" fmla="*/ 28 w 137"/>
                <a:gd name="T1" fmla="*/ 171 h 179"/>
                <a:gd name="T2" fmla="*/ 32 w 137"/>
                <a:gd name="T3" fmla="*/ 179 h 179"/>
                <a:gd name="T4" fmla="*/ 41 w 137"/>
                <a:gd name="T5" fmla="*/ 167 h 179"/>
                <a:gd name="T6" fmla="*/ 55 w 137"/>
                <a:gd name="T7" fmla="*/ 163 h 179"/>
                <a:gd name="T8" fmla="*/ 57 w 137"/>
                <a:gd name="T9" fmla="*/ 162 h 179"/>
                <a:gd name="T10" fmla="*/ 58 w 137"/>
                <a:gd name="T11" fmla="*/ 153 h 179"/>
                <a:gd name="T12" fmla="*/ 64 w 137"/>
                <a:gd name="T13" fmla="*/ 140 h 179"/>
                <a:gd name="T14" fmla="*/ 73 w 137"/>
                <a:gd name="T15" fmla="*/ 133 h 179"/>
                <a:gd name="T16" fmla="*/ 80 w 137"/>
                <a:gd name="T17" fmla="*/ 131 h 179"/>
                <a:gd name="T18" fmla="*/ 78 w 137"/>
                <a:gd name="T19" fmla="*/ 126 h 179"/>
                <a:gd name="T20" fmla="*/ 80 w 137"/>
                <a:gd name="T21" fmla="*/ 119 h 179"/>
                <a:gd name="T22" fmla="*/ 89 w 137"/>
                <a:gd name="T23" fmla="*/ 117 h 179"/>
                <a:gd name="T24" fmla="*/ 90 w 137"/>
                <a:gd name="T25" fmla="*/ 115 h 179"/>
                <a:gd name="T26" fmla="*/ 94 w 137"/>
                <a:gd name="T27" fmla="*/ 108 h 179"/>
                <a:gd name="T28" fmla="*/ 98 w 137"/>
                <a:gd name="T29" fmla="*/ 105 h 179"/>
                <a:gd name="T30" fmla="*/ 103 w 137"/>
                <a:gd name="T31" fmla="*/ 108 h 179"/>
                <a:gd name="T32" fmla="*/ 112 w 137"/>
                <a:gd name="T33" fmla="*/ 99 h 179"/>
                <a:gd name="T34" fmla="*/ 115 w 137"/>
                <a:gd name="T35" fmla="*/ 92 h 179"/>
                <a:gd name="T36" fmla="*/ 114 w 137"/>
                <a:gd name="T37" fmla="*/ 85 h 179"/>
                <a:gd name="T38" fmla="*/ 114 w 137"/>
                <a:gd name="T39" fmla="*/ 76 h 179"/>
                <a:gd name="T40" fmla="*/ 114 w 137"/>
                <a:gd name="T41" fmla="*/ 69 h 179"/>
                <a:gd name="T42" fmla="*/ 119 w 137"/>
                <a:gd name="T43" fmla="*/ 67 h 179"/>
                <a:gd name="T44" fmla="*/ 130 w 137"/>
                <a:gd name="T45" fmla="*/ 67 h 179"/>
                <a:gd name="T46" fmla="*/ 128 w 137"/>
                <a:gd name="T47" fmla="*/ 60 h 179"/>
                <a:gd name="T48" fmla="*/ 130 w 137"/>
                <a:gd name="T49" fmla="*/ 50 h 179"/>
                <a:gd name="T50" fmla="*/ 133 w 137"/>
                <a:gd name="T51" fmla="*/ 43 h 179"/>
                <a:gd name="T52" fmla="*/ 137 w 137"/>
                <a:gd name="T53" fmla="*/ 32 h 179"/>
                <a:gd name="T54" fmla="*/ 131 w 137"/>
                <a:gd name="T55" fmla="*/ 18 h 179"/>
                <a:gd name="T56" fmla="*/ 131 w 137"/>
                <a:gd name="T57" fmla="*/ 14 h 179"/>
                <a:gd name="T58" fmla="*/ 133 w 137"/>
                <a:gd name="T59" fmla="*/ 7 h 179"/>
                <a:gd name="T60" fmla="*/ 130 w 137"/>
                <a:gd name="T61" fmla="*/ 0 h 179"/>
                <a:gd name="T62" fmla="*/ 112 w 137"/>
                <a:gd name="T63" fmla="*/ 0 h 179"/>
                <a:gd name="T64" fmla="*/ 98 w 137"/>
                <a:gd name="T65" fmla="*/ 12 h 179"/>
                <a:gd name="T66" fmla="*/ 89 w 137"/>
                <a:gd name="T67" fmla="*/ 19 h 179"/>
                <a:gd name="T68" fmla="*/ 80 w 137"/>
                <a:gd name="T69" fmla="*/ 28 h 179"/>
                <a:gd name="T70" fmla="*/ 55 w 137"/>
                <a:gd name="T71" fmla="*/ 30 h 179"/>
                <a:gd name="T72" fmla="*/ 51 w 137"/>
                <a:gd name="T73" fmla="*/ 44 h 179"/>
                <a:gd name="T74" fmla="*/ 28 w 137"/>
                <a:gd name="T75" fmla="*/ 53 h 179"/>
                <a:gd name="T76" fmla="*/ 26 w 137"/>
                <a:gd name="T77" fmla="*/ 64 h 179"/>
                <a:gd name="T78" fmla="*/ 0 w 137"/>
                <a:gd name="T79" fmla="*/ 85 h 179"/>
                <a:gd name="T80" fmla="*/ 9 w 137"/>
                <a:gd name="T81" fmla="*/ 110 h 179"/>
                <a:gd name="T82" fmla="*/ 0 w 137"/>
                <a:gd name="T83" fmla="*/ 124 h 179"/>
                <a:gd name="T84" fmla="*/ 14 w 137"/>
                <a:gd name="T85" fmla="*/ 135 h 179"/>
                <a:gd name="T86" fmla="*/ 19 w 137"/>
                <a:gd name="T87" fmla="*/ 149 h 179"/>
                <a:gd name="T88" fmla="*/ 16 w 137"/>
                <a:gd name="T89" fmla="*/ 165 h 179"/>
                <a:gd name="T90" fmla="*/ 26 w 137"/>
                <a:gd name="T91" fmla="*/ 165 h 179"/>
                <a:gd name="T92" fmla="*/ 26 w 137"/>
                <a:gd name="T93" fmla="*/ 16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7" h="179">
                  <a:moveTo>
                    <a:pt x="26" y="165"/>
                  </a:moveTo>
                  <a:lnTo>
                    <a:pt x="26" y="165"/>
                  </a:lnTo>
                  <a:lnTo>
                    <a:pt x="28" y="171"/>
                  </a:lnTo>
                  <a:lnTo>
                    <a:pt x="28" y="174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5" y="174"/>
                  </a:lnTo>
                  <a:lnTo>
                    <a:pt x="39" y="172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51" y="165"/>
                  </a:lnTo>
                  <a:lnTo>
                    <a:pt x="55" y="163"/>
                  </a:lnTo>
                  <a:lnTo>
                    <a:pt x="57" y="163"/>
                  </a:lnTo>
                  <a:lnTo>
                    <a:pt x="57" y="162"/>
                  </a:lnTo>
                  <a:lnTo>
                    <a:pt x="57" y="162"/>
                  </a:lnTo>
                  <a:lnTo>
                    <a:pt x="57" y="156"/>
                  </a:lnTo>
                  <a:lnTo>
                    <a:pt x="58" y="153"/>
                  </a:lnTo>
                  <a:lnTo>
                    <a:pt x="58" y="153"/>
                  </a:lnTo>
                  <a:lnTo>
                    <a:pt x="60" y="149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7" y="135"/>
                  </a:lnTo>
                  <a:lnTo>
                    <a:pt x="69" y="135"/>
                  </a:lnTo>
                  <a:lnTo>
                    <a:pt x="73" y="133"/>
                  </a:lnTo>
                  <a:lnTo>
                    <a:pt x="73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8" y="126"/>
                  </a:lnTo>
                  <a:lnTo>
                    <a:pt x="78" y="123"/>
                  </a:lnTo>
                  <a:lnTo>
                    <a:pt x="80" y="121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3" y="117"/>
                  </a:lnTo>
                  <a:lnTo>
                    <a:pt x="89" y="117"/>
                  </a:lnTo>
                  <a:lnTo>
                    <a:pt x="90" y="117"/>
                  </a:lnTo>
                  <a:lnTo>
                    <a:pt x="90" y="115"/>
                  </a:lnTo>
                  <a:lnTo>
                    <a:pt x="90" y="115"/>
                  </a:lnTo>
                  <a:lnTo>
                    <a:pt x="90" y="112"/>
                  </a:lnTo>
                  <a:lnTo>
                    <a:pt x="90" y="110"/>
                  </a:lnTo>
                  <a:lnTo>
                    <a:pt x="94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8" y="105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8" y="103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5" y="92"/>
                  </a:lnTo>
                  <a:lnTo>
                    <a:pt x="114" y="89"/>
                  </a:lnTo>
                  <a:lnTo>
                    <a:pt x="114" y="85"/>
                  </a:lnTo>
                  <a:lnTo>
                    <a:pt x="114" y="83"/>
                  </a:lnTo>
                  <a:lnTo>
                    <a:pt x="114" y="83"/>
                  </a:lnTo>
                  <a:lnTo>
                    <a:pt x="114" y="76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69"/>
                  </a:lnTo>
                  <a:lnTo>
                    <a:pt x="115" y="67"/>
                  </a:lnTo>
                  <a:lnTo>
                    <a:pt x="119" y="67"/>
                  </a:lnTo>
                  <a:lnTo>
                    <a:pt x="119" y="67"/>
                  </a:lnTo>
                  <a:lnTo>
                    <a:pt x="124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4"/>
                  </a:lnTo>
                  <a:lnTo>
                    <a:pt x="130" y="64"/>
                  </a:lnTo>
                  <a:lnTo>
                    <a:pt x="128" y="60"/>
                  </a:lnTo>
                  <a:lnTo>
                    <a:pt x="130" y="57"/>
                  </a:lnTo>
                  <a:lnTo>
                    <a:pt x="130" y="53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44"/>
                  </a:lnTo>
                  <a:lnTo>
                    <a:pt x="133" y="43"/>
                  </a:lnTo>
                  <a:lnTo>
                    <a:pt x="137" y="35"/>
                  </a:lnTo>
                  <a:lnTo>
                    <a:pt x="137" y="35"/>
                  </a:lnTo>
                  <a:lnTo>
                    <a:pt x="137" y="32"/>
                  </a:lnTo>
                  <a:lnTo>
                    <a:pt x="137" y="25"/>
                  </a:lnTo>
                  <a:lnTo>
                    <a:pt x="133" y="21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0" y="16"/>
                  </a:lnTo>
                  <a:lnTo>
                    <a:pt x="131" y="14"/>
                  </a:lnTo>
                  <a:lnTo>
                    <a:pt x="133" y="11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1" y="3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21" y="0"/>
                  </a:lnTo>
                  <a:lnTo>
                    <a:pt x="117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03" y="7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4" y="16"/>
                  </a:lnTo>
                  <a:lnTo>
                    <a:pt x="89" y="19"/>
                  </a:lnTo>
                  <a:lnTo>
                    <a:pt x="83" y="23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3" y="25"/>
                  </a:lnTo>
                  <a:lnTo>
                    <a:pt x="62" y="25"/>
                  </a:lnTo>
                  <a:lnTo>
                    <a:pt x="55" y="30"/>
                  </a:lnTo>
                  <a:lnTo>
                    <a:pt x="57" y="34"/>
                  </a:lnTo>
                  <a:lnTo>
                    <a:pt x="53" y="37"/>
                  </a:lnTo>
                  <a:lnTo>
                    <a:pt x="51" y="44"/>
                  </a:lnTo>
                  <a:lnTo>
                    <a:pt x="41" y="48"/>
                  </a:lnTo>
                  <a:lnTo>
                    <a:pt x="35" y="51"/>
                  </a:lnTo>
                  <a:lnTo>
                    <a:pt x="28" y="53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26" y="64"/>
                  </a:lnTo>
                  <a:lnTo>
                    <a:pt x="14" y="76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7" y="94"/>
                  </a:lnTo>
                  <a:lnTo>
                    <a:pt x="2" y="101"/>
                  </a:lnTo>
                  <a:lnTo>
                    <a:pt x="9" y="110"/>
                  </a:lnTo>
                  <a:lnTo>
                    <a:pt x="12" y="119"/>
                  </a:lnTo>
                  <a:lnTo>
                    <a:pt x="5" y="121"/>
                  </a:lnTo>
                  <a:lnTo>
                    <a:pt x="0" y="124"/>
                  </a:lnTo>
                  <a:lnTo>
                    <a:pt x="7" y="131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6" y="140"/>
                  </a:lnTo>
                  <a:lnTo>
                    <a:pt x="19" y="149"/>
                  </a:lnTo>
                  <a:lnTo>
                    <a:pt x="19" y="149"/>
                  </a:lnTo>
                  <a:lnTo>
                    <a:pt x="18" y="156"/>
                  </a:lnTo>
                  <a:lnTo>
                    <a:pt x="18" y="162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21" y="163"/>
                  </a:lnTo>
                  <a:lnTo>
                    <a:pt x="26" y="165"/>
                  </a:lnTo>
                  <a:lnTo>
                    <a:pt x="26" y="165"/>
                  </a:lnTo>
                  <a:lnTo>
                    <a:pt x="26" y="165"/>
                  </a:lnTo>
                  <a:lnTo>
                    <a:pt x="26" y="165"/>
                  </a:lnTo>
                  <a:lnTo>
                    <a:pt x="26" y="165"/>
                  </a:lnTo>
                  <a:lnTo>
                    <a:pt x="26" y="165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77"/>
            <p:cNvSpPr>
              <a:spLocks/>
            </p:cNvSpPr>
            <p:nvPr/>
          </p:nvSpPr>
          <p:spPr bwMode="auto">
            <a:xfrm>
              <a:off x="1565473" y="2090629"/>
              <a:ext cx="363386" cy="764422"/>
            </a:xfrm>
            <a:custGeom>
              <a:avLst/>
              <a:gdLst>
                <a:gd name="T0" fmla="*/ 77 w 637"/>
                <a:gd name="T1" fmla="*/ 267 h 1340"/>
                <a:gd name="T2" fmla="*/ 71 w 637"/>
                <a:gd name="T3" fmla="*/ 318 h 1340"/>
                <a:gd name="T4" fmla="*/ 32 w 637"/>
                <a:gd name="T5" fmla="*/ 377 h 1340"/>
                <a:gd name="T6" fmla="*/ 77 w 637"/>
                <a:gd name="T7" fmla="*/ 402 h 1340"/>
                <a:gd name="T8" fmla="*/ 70 w 637"/>
                <a:gd name="T9" fmla="*/ 450 h 1340"/>
                <a:gd name="T10" fmla="*/ 52 w 637"/>
                <a:gd name="T11" fmla="*/ 544 h 1340"/>
                <a:gd name="T12" fmla="*/ 68 w 637"/>
                <a:gd name="T13" fmla="*/ 589 h 1340"/>
                <a:gd name="T14" fmla="*/ 87 w 637"/>
                <a:gd name="T15" fmla="*/ 642 h 1340"/>
                <a:gd name="T16" fmla="*/ 70 w 637"/>
                <a:gd name="T17" fmla="*/ 690 h 1340"/>
                <a:gd name="T18" fmla="*/ 45 w 637"/>
                <a:gd name="T19" fmla="*/ 750 h 1340"/>
                <a:gd name="T20" fmla="*/ 48 w 637"/>
                <a:gd name="T21" fmla="*/ 807 h 1340"/>
                <a:gd name="T22" fmla="*/ 0 w 637"/>
                <a:gd name="T23" fmla="*/ 889 h 1340"/>
                <a:gd name="T24" fmla="*/ 102 w 637"/>
                <a:gd name="T25" fmla="*/ 951 h 1340"/>
                <a:gd name="T26" fmla="*/ 93 w 637"/>
                <a:gd name="T27" fmla="*/ 1033 h 1340"/>
                <a:gd name="T28" fmla="*/ 82 w 637"/>
                <a:gd name="T29" fmla="*/ 1092 h 1340"/>
                <a:gd name="T30" fmla="*/ 79 w 637"/>
                <a:gd name="T31" fmla="*/ 1159 h 1340"/>
                <a:gd name="T32" fmla="*/ 134 w 637"/>
                <a:gd name="T33" fmla="*/ 1207 h 1340"/>
                <a:gd name="T34" fmla="*/ 144 w 637"/>
                <a:gd name="T35" fmla="*/ 1253 h 1340"/>
                <a:gd name="T36" fmla="*/ 128 w 637"/>
                <a:gd name="T37" fmla="*/ 1285 h 1340"/>
                <a:gd name="T38" fmla="*/ 105 w 637"/>
                <a:gd name="T39" fmla="*/ 1332 h 1340"/>
                <a:gd name="T40" fmla="*/ 175 w 637"/>
                <a:gd name="T41" fmla="*/ 1337 h 1340"/>
                <a:gd name="T42" fmla="*/ 214 w 637"/>
                <a:gd name="T43" fmla="*/ 1292 h 1340"/>
                <a:gd name="T44" fmla="*/ 256 w 637"/>
                <a:gd name="T45" fmla="*/ 1266 h 1340"/>
                <a:gd name="T46" fmla="*/ 295 w 637"/>
                <a:gd name="T47" fmla="*/ 1260 h 1340"/>
                <a:gd name="T48" fmla="*/ 276 w 637"/>
                <a:gd name="T49" fmla="*/ 1218 h 1340"/>
                <a:gd name="T50" fmla="*/ 306 w 637"/>
                <a:gd name="T51" fmla="*/ 1172 h 1340"/>
                <a:gd name="T52" fmla="*/ 335 w 637"/>
                <a:gd name="T53" fmla="*/ 1109 h 1340"/>
                <a:gd name="T54" fmla="*/ 377 w 637"/>
                <a:gd name="T55" fmla="*/ 1049 h 1340"/>
                <a:gd name="T56" fmla="*/ 409 w 637"/>
                <a:gd name="T57" fmla="*/ 1042 h 1340"/>
                <a:gd name="T58" fmla="*/ 432 w 637"/>
                <a:gd name="T59" fmla="*/ 1037 h 1340"/>
                <a:gd name="T60" fmla="*/ 461 w 637"/>
                <a:gd name="T61" fmla="*/ 1006 h 1340"/>
                <a:gd name="T62" fmla="*/ 489 w 637"/>
                <a:gd name="T63" fmla="*/ 964 h 1340"/>
                <a:gd name="T64" fmla="*/ 546 w 637"/>
                <a:gd name="T65" fmla="*/ 951 h 1340"/>
                <a:gd name="T66" fmla="*/ 560 w 637"/>
                <a:gd name="T67" fmla="*/ 836 h 1340"/>
                <a:gd name="T68" fmla="*/ 582 w 637"/>
                <a:gd name="T69" fmla="*/ 722 h 1340"/>
                <a:gd name="T70" fmla="*/ 610 w 637"/>
                <a:gd name="T71" fmla="*/ 693 h 1340"/>
                <a:gd name="T72" fmla="*/ 548 w 637"/>
                <a:gd name="T73" fmla="*/ 679 h 1340"/>
                <a:gd name="T74" fmla="*/ 560 w 637"/>
                <a:gd name="T75" fmla="*/ 626 h 1340"/>
                <a:gd name="T76" fmla="*/ 541 w 637"/>
                <a:gd name="T77" fmla="*/ 565 h 1340"/>
                <a:gd name="T78" fmla="*/ 534 w 637"/>
                <a:gd name="T79" fmla="*/ 436 h 1340"/>
                <a:gd name="T80" fmla="*/ 578 w 637"/>
                <a:gd name="T81" fmla="*/ 402 h 1340"/>
                <a:gd name="T82" fmla="*/ 598 w 637"/>
                <a:gd name="T83" fmla="*/ 373 h 1340"/>
                <a:gd name="T84" fmla="*/ 623 w 637"/>
                <a:gd name="T85" fmla="*/ 302 h 1340"/>
                <a:gd name="T86" fmla="*/ 594 w 637"/>
                <a:gd name="T87" fmla="*/ 251 h 1340"/>
                <a:gd name="T88" fmla="*/ 591 w 637"/>
                <a:gd name="T89" fmla="*/ 185 h 1340"/>
                <a:gd name="T90" fmla="*/ 587 w 637"/>
                <a:gd name="T91" fmla="*/ 194 h 1340"/>
                <a:gd name="T92" fmla="*/ 527 w 637"/>
                <a:gd name="T93" fmla="*/ 231 h 1340"/>
                <a:gd name="T94" fmla="*/ 532 w 637"/>
                <a:gd name="T95" fmla="*/ 215 h 1340"/>
                <a:gd name="T96" fmla="*/ 587 w 637"/>
                <a:gd name="T97" fmla="*/ 146 h 1340"/>
                <a:gd name="T98" fmla="*/ 601 w 637"/>
                <a:gd name="T99" fmla="*/ 62 h 1340"/>
                <a:gd name="T100" fmla="*/ 521 w 637"/>
                <a:gd name="T101" fmla="*/ 52 h 1340"/>
                <a:gd name="T102" fmla="*/ 507 w 637"/>
                <a:gd name="T103" fmla="*/ 29 h 1340"/>
                <a:gd name="T104" fmla="*/ 470 w 637"/>
                <a:gd name="T105" fmla="*/ 0 h 1340"/>
                <a:gd name="T106" fmla="*/ 436 w 637"/>
                <a:gd name="T107" fmla="*/ 52 h 1340"/>
                <a:gd name="T108" fmla="*/ 409 w 637"/>
                <a:gd name="T109" fmla="*/ 71 h 1340"/>
                <a:gd name="T110" fmla="*/ 327 w 637"/>
                <a:gd name="T111" fmla="*/ 84 h 1340"/>
                <a:gd name="T112" fmla="*/ 249 w 637"/>
                <a:gd name="T113" fmla="*/ 107 h 1340"/>
                <a:gd name="T114" fmla="*/ 210 w 637"/>
                <a:gd name="T115" fmla="*/ 174 h 1340"/>
                <a:gd name="T116" fmla="*/ 112 w 637"/>
                <a:gd name="T117" fmla="*/ 176 h 1340"/>
                <a:gd name="T118" fmla="*/ 112 w 637"/>
                <a:gd name="T119" fmla="*/ 251 h 1340"/>
                <a:gd name="T120" fmla="*/ 105 w 637"/>
                <a:gd name="T121" fmla="*/ 272 h 1340"/>
                <a:gd name="T122" fmla="*/ 61 w 637"/>
                <a:gd name="T123" fmla="*/ 226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7" h="1340">
                  <a:moveTo>
                    <a:pt x="63" y="238"/>
                  </a:moveTo>
                  <a:lnTo>
                    <a:pt x="63" y="238"/>
                  </a:lnTo>
                  <a:lnTo>
                    <a:pt x="73" y="249"/>
                  </a:lnTo>
                  <a:lnTo>
                    <a:pt x="79" y="254"/>
                  </a:lnTo>
                  <a:lnTo>
                    <a:pt x="80" y="258"/>
                  </a:lnTo>
                  <a:lnTo>
                    <a:pt x="80" y="260"/>
                  </a:lnTo>
                  <a:lnTo>
                    <a:pt x="80" y="260"/>
                  </a:lnTo>
                  <a:lnTo>
                    <a:pt x="80" y="261"/>
                  </a:lnTo>
                  <a:lnTo>
                    <a:pt x="79" y="261"/>
                  </a:lnTo>
                  <a:lnTo>
                    <a:pt x="77" y="261"/>
                  </a:lnTo>
                  <a:lnTo>
                    <a:pt x="77" y="267"/>
                  </a:lnTo>
                  <a:lnTo>
                    <a:pt x="77" y="267"/>
                  </a:lnTo>
                  <a:lnTo>
                    <a:pt x="77" y="267"/>
                  </a:lnTo>
                  <a:lnTo>
                    <a:pt x="77" y="269"/>
                  </a:lnTo>
                  <a:lnTo>
                    <a:pt x="71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1" y="272"/>
                  </a:lnTo>
                  <a:lnTo>
                    <a:pt x="57" y="274"/>
                  </a:lnTo>
                  <a:lnTo>
                    <a:pt x="54" y="277"/>
                  </a:lnTo>
                  <a:lnTo>
                    <a:pt x="54" y="277"/>
                  </a:lnTo>
                  <a:lnTo>
                    <a:pt x="66" y="297"/>
                  </a:lnTo>
                  <a:lnTo>
                    <a:pt x="66" y="297"/>
                  </a:lnTo>
                  <a:lnTo>
                    <a:pt x="68" y="302"/>
                  </a:lnTo>
                  <a:lnTo>
                    <a:pt x="70" y="309"/>
                  </a:lnTo>
                  <a:lnTo>
                    <a:pt x="71" y="318"/>
                  </a:lnTo>
                  <a:lnTo>
                    <a:pt x="71" y="318"/>
                  </a:lnTo>
                  <a:lnTo>
                    <a:pt x="68" y="329"/>
                  </a:lnTo>
                  <a:lnTo>
                    <a:pt x="68" y="333"/>
                  </a:lnTo>
                  <a:lnTo>
                    <a:pt x="66" y="333"/>
                  </a:lnTo>
                  <a:lnTo>
                    <a:pt x="64" y="333"/>
                  </a:lnTo>
                  <a:lnTo>
                    <a:pt x="64" y="333"/>
                  </a:lnTo>
                  <a:lnTo>
                    <a:pt x="64" y="331"/>
                  </a:lnTo>
                  <a:lnTo>
                    <a:pt x="61" y="331"/>
                  </a:lnTo>
                  <a:lnTo>
                    <a:pt x="59" y="333"/>
                  </a:lnTo>
                  <a:lnTo>
                    <a:pt x="52" y="334"/>
                  </a:lnTo>
                  <a:lnTo>
                    <a:pt x="52" y="334"/>
                  </a:lnTo>
                  <a:lnTo>
                    <a:pt x="25" y="354"/>
                  </a:lnTo>
                  <a:lnTo>
                    <a:pt x="32" y="377"/>
                  </a:lnTo>
                  <a:lnTo>
                    <a:pt x="32" y="377"/>
                  </a:lnTo>
                  <a:lnTo>
                    <a:pt x="32" y="379"/>
                  </a:lnTo>
                  <a:lnTo>
                    <a:pt x="38" y="382"/>
                  </a:lnTo>
                  <a:lnTo>
                    <a:pt x="41" y="384"/>
                  </a:lnTo>
                  <a:lnTo>
                    <a:pt x="41" y="384"/>
                  </a:lnTo>
                  <a:lnTo>
                    <a:pt x="52" y="391"/>
                  </a:lnTo>
                  <a:lnTo>
                    <a:pt x="57" y="395"/>
                  </a:lnTo>
                  <a:lnTo>
                    <a:pt x="64" y="395"/>
                  </a:lnTo>
                  <a:lnTo>
                    <a:pt x="64" y="395"/>
                  </a:lnTo>
                  <a:lnTo>
                    <a:pt x="68" y="395"/>
                  </a:lnTo>
                  <a:lnTo>
                    <a:pt x="71" y="398"/>
                  </a:lnTo>
                  <a:lnTo>
                    <a:pt x="71" y="400"/>
                  </a:lnTo>
                  <a:lnTo>
                    <a:pt x="77" y="402"/>
                  </a:lnTo>
                  <a:lnTo>
                    <a:pt x="77" y="402"/>
                  </a:lnTo>
                  <a:lnTo>
                    <a:pt x="77" y="404"/>
                  </a:lnTo>
                  <a:lnTo>
                    <a:pt x="79" y="409"/>
                  </a:lnTo>
                  <a:lnTo>
                    <a:pt x="79" y="416"/>
                  </a:lnTo>
                  <a:lnTo>
                    <a:pt x="79" y="429"/>
                  </a:lnTo>
                  <a:lnTo>
                    <a:pt x="79" y="429"/>
                  </a:lnTo>
                  <a:lnTo>
                    <a:pt x="79" y="432"/>
                  </a:lnTo>
                  <a:lnTo>
                    <a:pt x="77" y="434"/>
                  </a:lnTo>
                  <a:lnTo>
                    <a:pt x="73" y="437"/>
                  </a:lnTo>
                  <a:lnTo>
                    <a:pt x="71" y="443"/>
                  </a:lnTo>
                  <a:lnTo>
                    <a:pt x="71" y="443"/>
                  </a:lnTo>
                  <a:lnTo>
                    <a:pt x="71" y="448"/>
                  </a:lnTo>
                  <a:lnTo>
                    <a:pt x="70" y="450"/>
                  </a:lnTo>
                  <a:lnTo>
                    <a:pt x="66" y="455"/>
                  </a:lnTo>
                  <a:lnTo>
                    <a:pt x="61" y="464"/>
                  </a:lnTo>
                  <a:lnTo>
                    <a:pt x="48" y="462"/>
                  </a:lnTo>
                  <a:lnTo>
                    <a:pt x="52" y="491"/>
                  </a:lnTo>
                  <a:lnTo>
                    <a:pt x="45" y="500"/>
                  </a:lnTo>
                  <a:lnTo>
                    <a:pt x="45" y="500"/>
                  </a:lnTo>
                  <a:lnTo>
                    <a:pt x="48" y="503"/>
                  </a:lnTo>
                  <a:lnTo>
                    <a:pt x="50" y="510"/>
                  </a:lnTo>
                  <a:lnTo>
                    <a:pt x="54" y="516"/>
                  </a:lnTo>
                  <a:lnTo>
                    <a:pt x="54" y="516"/>
                  </a:lnTo>
                  <a:lnTo>
                    <a:pt x="59" y="530"/>
                  </a:lnTo>
                  <a:lnTo>
                    <a:pt x="61" y="535"/>
                  </a:lnTo>
                  <a:lnTo>
                    <a:pt x="52" y="544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59" y="560"/>
                  </a:lnTo>
                  <a:lnTo>
                    <a:pt x="59" y="562"/>
                  </a:lnTo>
                  <a:lnTo>
                    <a:pt x="57" y="564"/>
                  </a:lnTo>
                  <a:lnTo>
                    <a:pt x="57" y="564"/>
                  </a:lnTo>
                  <a:lnTo>
                    <a:pt x="54" y="567"/>
                  </a:lnTo>
                  <a:lnTo>
                    <a:pt x="52" y="574"/>
                  </a:lnTo>
                  <a:lnTo>
                    <a:pt x="52" y="581"/>
                  </a:lnTo>
                  <a:lnTo>
                    <a:pt x="52" y="581"/>
                  </a:lnTo>
                  <a:lnTo>
                    <a:pt x="61" y="583"/>
                  </a:lnTo>
                  <a:lnTo>
                    <a:pt x="64" y="585"/>
                  </a:lnTo>
                  <a:lnTo>
                    <a:pt x="68" y="589"/>
                  </a:lnTo>
                  <a:lnTo>
                    <a:pt x="68" y="589"/>
                  </a:lnTo>
                  <a:lnTo>
                    <a:pt x="68" y="596"/>
                  </a:lnTo>
                  <a:lnTo>
                    <a:pt x="70" y="603"/>
                  </a:lnTo>
                  <a:lnTo>
                    <a:pt x="68" y="608"/>
                  </a:lnTo>
                  <a:lnTo>
                    <a:pt x="68" y="615"/>
                  </a:lnTo>
                  <a:lnTo>
                    <a:pt x="68" y="615"/>
                  </a:lnTo>
                  <a:lnTo>
                    <a:pt x="61" y="629"/>
                  </a:lnTo>
                  <a:lnTo>
                    <a:pt x="61" y="629"/>
                  </a:lnTo>
                  <a:lnTo>
                    <a:pt x="71" y="635"/>
                  </a:lnTo>
                  <a:lnTo>
                    <a:pt x="80" y="638"/>
                  </a:lnTo>
                  <a:lnTo>
                    <a:pt x="86" y="640"/>
                  </a:lnTo>
                  <a:lnTo>
                    <a:pt x="86" y="640"/>
                  </a:lnTo>
                  <a:lnTo>
                    <a:pt x="87" y="642"/>
                  </a:lnTo>
                  <a:lnTo>
                    <a:pt x="89" y="644"/>
                  </a:lnTo>
                  <a:lnTo>
                    <a:pt x="91" y="654"/>
                  </a:lnTo>
                  <a:lnTo>
                    <a:pt x="91" y="654"/>
                  </a:lnTo>
                  <a:lnTo>
                    <a:pt x="89" y="658"/>
                  </a:lnTo>
                  <a:lnTo>
                    <a:pt x="87" y="663"/>
                  </a:lnTo>
                  <a:lnTo>
                    <a:pt x="84" y="676"/>
                  </a:lnTo>
                  <a:lnTo>
                    <a:pt x="84" y="676"/>
                  </a:lnTo>
                  <a:lnTo>
                    <a:pt x="82" y="679"/>
                  </a:lnTo>
                  <a:lnTo>
                    <a:pt x="82" y="681"/>
                  </a:lnTo>
                  <a:lnTo>
                    <a:pt x="79" y="681"/>
                  </a:lnTo>
                  <a:lnTo>
                    <a:pt x="77" y="685"/>
                  </a:lnTo>
                  <a:lnTo>
                    <a:pt x="77" y="685"/>
                  </a:lnTo>
                  <a:lnTo>
                    <a:pt x="70" y="690"/>
                  </a:lnTo>
                  <a:lnTo>
                    <a:pt x="64" y="697"/>
                  </a:lnTo>
                  <a:lnTo>
                    <a:pt x="61" y="704"/>
                  </a:lnTo>
                  <a:lnTo>
                    <a:pt x="61" y="704"/>
                  </a:lnTo>
                  <a:lnTo>
                    <a:pt x="64" y="711"/>
                  </a:lnTo>
                  <a:lnTo>
                    <a:pt x="64" y="711"/>
                  </a:lnTo>
                  <a:lnTo>
                    <a:pt x="66" y="717"/>
                  </a:lnTo>
                  <a:lnTo>
                    <a:pt x="66" y="722"/>
                  </a:lnTo>
                  <a:lnTo>
                    <a:pt x="66" y="725"/>
                  </a:lnTo>
                  <a:lnTo>
                    <a:pt x="64" y="729"/>
                  </a:lnTo>
                  <a:lnTo>
                    <a:pt x="64" y="729"/>
                  </a:lnTo>
                  <a:lnTo>
                    <a:pt x="57" y="741"/>
                  </a:lnTo>
                  <a:lnTo>
                    <a:pt x="45" y="750"/>
                  </a:lnTo>
                  <a:lnTo>
                    <a:pt x="45" y="750"/>
                  </a:lnTo>
                  <a:lnTo>
                    <a:pt x="38" y="757"/>
                  </a:lnTo>
                  <a:lnTo>
                    <a:pt x="36" y="761"/>
                  </a:lnTo>
                  <a:lnTo>
                    <a:pt x="31" y="766"/>
                  </a:lnTo>
                  <a:lnTo>
                    <a:pt x="31" y="766"/>
                  </a:lnTo>
                  <a:lnTo>
                    <a:pt x="29" y="770"/>
                  </a:lnTo>
                  <a:lnTo>
                    <a:pt x="29" y="770"/>
                  </a:lnTo>
                  <a:lnTo>
                    <a:pt x="27" y="777"/>
                  </a:lnTo>
                  <a:lnTo>
                    <a:pt x="25" y="782"/>
                  </a:lnTo>
                  <a:lnTo>
                    <a:pt x="27" y="789"/>
                  </a:lnTo>
                  <a:lnTo>
                    <a:pt x="27" y="789"/>
                  </a:lnTo>
                  <a:lnTo>
                    <a:pt x="29" y="795"/>
                  </a:lnTo>
                  <a:lnTo>
                    <a:pt x="38" y="798"/>
                  </a:lnTo>
                  <a:lnTo>
                    <a:pt x="48" y="807"/>
                  </a:lnTo>
                  <a:lnTo>
                    <a:pt x="48" y="807"/>
                  </a:lnTo>
                  <a:lnTo>
                    <a:pt x="54" y="811"/>
                  </a:lnTo>
                  <a:lnTo>
                    <a:pt x="57" y="813"/>
                  </a:lnTo>
                  <a:lnTo>
                    <a:pt x="57" y="813"/>
                  </a:lnTo>
                  <a:lnTo>
                    <a:pt x="57" y="816"/>
                  </a:lnTo>
                  <a:lnTo>
                    <a:pt x="52" y="818"/>
                  </a:lnTo>
                  <a:lnTo>
                    <a:pt x="47" y="820"/>
                  </a:lnTo>
                  <a:lnTo>
                    <a:pt x="47" y="825"/>
                  </a:lnTo>
                  <a:lnTo>
                    <a:pt x="0" y="837"/>
                  </a:lnTo>
                  <a:lnTo>
                    <a:pt x="7" y="837"/>
                  </a:lnTo>
                  <a:lnTo>
                    <a:pt x="11" y="869"/>
                  </a:lnTo>
                  <a:lnTo>
                    <a:pt x="0" y="889"/>
                  </a:lnTo>
                  <a:lnTo>
                    <a:pt x="0" y="889"/>
                  </a:lnTo>
                  <a:lnTo>
                    <a:pt x="9" y="889"/>
                  </a:lnTo>
                  <a:lnTo>
                    <a:pt x="18" y="893"/>
                  </a:lnTo>
                  <a:lnTo>
                    <a:pt x="25" y="893"/>
                  </a:lnTo>
                  <a:lnTo>
                    <a:pt x="25" y="893"/>
                  </a:lnTo>
                  <a:lnTo>
                    <a:pt x="36" y="893"/>
                  </a:lnTo>
                  <a:lnTo>
                    <a:pt x="48" y="898"/>
                  </a:lnTo>
                  <a:lnTo>
                    <a:pt x="64" y="901"/>
                  </a:lnTo>
                  <a:lnTo>
                    <a:pt x="68" y="910"/>
                  </a:lnTo>
                  <a:lnTo>
                    <a:pt x="77" y="919"/>
                  </a:lnTo>
                  <a:lnTo>
                    <a:pt x="79" y="935"/>
                  </a:lnTo>
                  <a:lnTo>
                    <a:pt x="100" y="939"/>
                  </a:lnTo>
                  <a:lnTo>
                    <a:pt x="102" y="951"/>
                  </a:lnTo>
                  <a:lnTo>
                    <a:pt x="102" y="951"/>
                  </a:lnTo>
                  <a:lnTo>
                    <a:pt x="86" y="962"/>
                  </a:lnTo>
                  <a:lnTo>
                    <a:pt x="77" y="971"/>
                  </a:lnTo>
                  <a:lnTo>
                    <a:pt x="73" y="974"/>
                  </a:lnTo>
                  <a:lnTo>
                    <a:pt x="73" y="976"/>
                  </a:lnTo>
                  <a:lnTo>
                    <a:pt x="73" y="976"/>
                  </a:lnTo>
                  <a:lnTo>
                    <a:pt x="77" y="983"/>
                  </a:lnTo>
                  <a:lnTo>
                    <a:pt x="77" y="989"/>
                  </a:lnTo>
                  <a:lnTo>
                    <a:pt x="73" y="996"/>
                  </a:lnTo>
                  <a:lnTo>
                    <a:pt x="93" y="1006"/>
                  </a:lnTo>
                  <a:lnTo>
                    <a:pt x="107" y="1010"/>
                  </a:lnTo>
                  <a:lnTo>
                    <a:pt x="105" y="1029"/>
                  </a:lnTo>
                  <a:lnTo>
                    <a:pt x="100" y="1029"/>
                  </a:lnTo>
                  <a:lnTo>
                    <a:pt x="93" y="1033"/>
                  </a:lnTo>
                  <a:lnTo>
                    <a:pt x="87" y="1040"/>
                  </a:lnTo>
                  <a:lnTo>
                    <a:pt x="80" y="1051"/>
                  </a:lnTo>
                  <a:lnTo>
                    <a:pt x="82" y="1060"/>
                  </a:lnTo>
                  <a:lnTo>
                    <a:pt x="79" y="1065"/>
                  </a:lnTo>
                  <a:lnTo>
                    <a:pt x="79" y="1067"/>
                  </a:lnTo>
                  <a:lnTo>
                    <a:pt x="79" y="1072"/>
                  </a:lnTo>
                  <a:lnTo>
                    <a:pt x="71" y="1076"/>
                  </a:lnTo>
                  <a:lnTo>
                    <a:pt x="71" y="1076"/>
                  </a:lnTo>
                  <a:lnTo>
                    <a:pt x="77" y="1083"/>
                  </a:lnTo>
                  <a:lnTo>
                    <a:pt x="79" y="1088"/>
                  </a:lnTo>
                  <a:lnTo>
                    <a:pt x="80" y="1090"/>
                  </a:lnTo>
                  <a:lnTo>
                    <a:pt x="80" y="1090"/>
                  </a:lnTo>
                  <a:lnTo>
                    <a:pt x="82" y="1092"/>
                  </a:lnTo>
                  <a:lnTo>
                    <a:pt x="84" y="1093"/>
                  </a:lnTo>
                  <a:lnTo>
                    <a:pt x="86" y="1100"/>
                  </a:lnTo>
                  <a:lnTo>
                    <a:pt x="87" y="1102"/>
                  </a:lnTo>
                  <a:lnTo>
                    <a:pt x="87" y="1102"/>
                  </a:lnTo>
                  <a:lnTo>
                    <a:pt x="91" y="1124"/>
                  </a:lnTo>
                  <a:lnTo>
                    <a:pt x="91" y="1124"/>
                  </a:lnTo>
                  <a:lnTo>
                    <a:pt x="82" y="1129"/>
                  </a:lnTo>
                  <a:lnTo>
                    <a:pt x="71" y="1132"/>
                  </a:lnTo>
                  <a:lnTo>
                    <a:pt x="68" y="1136"/>
                  </a:lnTo>
                  <a:lnTo>
                    <a:pt x="68" y="1136"/>
                  </a:lnTo>
                  <a:lnTo>
                    <a:pt x="66" y="1138"/>
                  </a:lnTo>
                  <a:lnTo>
                    <a:pt x="77" y="1150"/>
                  </a:lnTo>
                  <a:lnTo>
                    <a:pt x="79" y="1159"/>
                  </a:lnTo>
                  <a:lnTo>
                    <a:pt x="89" y="1163"/>
                  </a:lnTo>
                  <a:lnTo>
                    <a:pt x="103" y="1163"/>
                  </a:lnTo>
                  <a:lnTo>
                    <a:pt x="118" y="1168"/>
                  </a:lnTo>
                  <a:lnTo>
                    <a:pt x="127" y="1177"/>
                  </a:lnTo>
                  <a:lnTo>
                    <a:pt x="127" y="1177"/>
                  </a:lnTo>
                  <a:lnTo>
                    <a:pt x="125" y="1184"/>
                  </a:lnTo>
                  <a:lnTo>
                    <a:pt x="125" y="1189"/>
                  </a:lnTo>
                  <a:lnTo>
                    <a:pt x="125" y="1191"/>
                  </a:lnTo>
                  <a:lnTo>
                    <a:pt x="125" y="1191"/>
                  </a:lnTo>
                  <a:lnTo>
                    <a:pt x="125" y="1191"/>
                  </a:lnTo>
                  <a:lnTo>
                    <a:pt x="130" y="1196"/>
                  </a:lnTo>
                  <a:lnTo>
                    <a:pt x="132" y="1200"/>
                  </a:lnTo>
                  <a:lnTo>
                    <a:pt x="134" y="1207"/>
                  </a:lnTo>
                  <a:lnTo>
                    <a:pt x="134" y="1207"/>
                  </a:lnTo>
                  <a:lnTo>
                    <a:pt x="134" y="1212"/>
                  </a:lnTo>
                  <a:lnTo>
                    <a:pt x="137" y="1218"/>
                  </a:lnTo>
                  <a:lnTo>
                    <a:pt x="137" y="1218"/>
                  </a:lnTo>
                  <a:lnTo>
                    <a:pt x="139" y="1220"/>
                  </a:lnTo>
                  <a:lnTo>
                    <a:pt x="137" y="1225"/>
                  </a:lnTo>
                  <a:lnTo>
                    <a:pt x="137" y="1228"/>
                  </a:lnTo>
                  <a:lnTo>
                    <a:pt x="137" y="1232"/>
                  </a:lnTo>
                  <a:lnTo>
                    <a:pt x="137" y="1232"/>
                  </a:lnTo>
                  <a:lnTo>
                    <a:pt x="141" y="1244"/>
                  </a:lnTo>
                  <a:lnTo>
                    <a:pt x="143" y="1250"/>
                  </a:lnTo>
                  <a:lnTo>
                    <a:pt x="144" y="1253"/>
                  </a:lnTo>
                  <a:lnTo>
                    <a:pt x="144" y="1253"/>
                  </a:lnTo>
                  <a:lnTo>
                    <a:pt x="146" y="1257"/>
                  </a:lnTo>
                  <a:lnTo>
                    <a:pt x="148" y="1259"/>
                  </a:lnTo>
                  <a:lnTo>
                    <a:pt x="148" y="1260"/>
                  </a:lnTo>
                  <a:lnTo>
                    <a:pt x="146" y="1266"/>
                  </a:lnTo>
                  <a:lnTo>
                    <a:pt x="146" y="1266"/>
                  </a:lnTo>
                  <a:lnTo>
                    <a:pt x="143" y="1268"/>
                  </a:lnTo>
                  <a:lnTo>
                    <a:pt x="139" y="1269"/>
                  </a:lnTo>
                  <a:lnTo>
                    <a:pt x="137" y="1269"/>
                  </a:lnTo>
                  <a:lnTo>
                    <a:pt x="132" y="1273"/>
                  </a:lnTo>
                  <a:lnTo>
                    <a:pt x="132" y="1273"/>
                  </a:lnTo>
                  <a:lnTo>
                    <a:pt x="130" y="1280"/>
                  </a:lnTo>
                  <a:lnTo>
                    <a:pt x="128" y="1285"/>
                  </a:lnTo>
                  <a:lnTo>
                    <a:pt x="128" y="1285"/>
                  </a:lnTo>
                  <a:lnTo>
                    <a:pt x="119" y="1291"/>
                  </a:lnTo>
                  <a:lnTo>
                    <a:pt x="112" y="1296"/>
                  </a:lnTo>
                  <a:lnTo>
                    <a:pt x="107" y="1300"/>
                  </a:lnTo>
                  <a:lnTo>
                    <a:pt x="107" y="1300"/>
                  </a:lnTo>
                  <a:lnTo>
                    <a:pt x="102" y="1307"/>
                  </a:lnTo>
                  <a:lnTo>
                    <a:pt x="98" y="1310"/>
                  </a:lnTo>
                  <a:lnTo>
                    <a:pt x="100" y="1314"/>
                  </a:lnTo>
                  <a:lnTo>
                    <a:pt x="100" y="1314"/>
                  </a:lnTo>
                  <a:lnTo>
                    <a:pt x="102" y="1321"/>
                  </a:lnTo>
                  <a:lnTo>
                    <a:pt x="102" y="1330"/>
                  </a:lnTo>
                  <a:lnTo>
                    <a:pt x="103" y="1330"/>
                  </a:lnTo>
                  <a:lnTo>
                    <a:pt x="105" y="1332"/>
                  </a:lnTo>
                  <a:lnTo>
                    <a:pt x="105" y="1332"/>
                  </a:lnTo>
                  <a:lnTo>
                    <a:pt x="119" y="1332"/>
                  </a:lnTo>
                  <a:lnTo>
                    <a:pt x="119" y="1332"/>
                  </a:lnTo>
                  <a:lnTo>
                    <a:pt x="128" y="1333"/>
                  </a:lnTo>
                  <a:lnTo>
                    <a:pt x="130" y="1333"/>
                  </a:lnTo>
                  <a:lnTo>
                    <a:pt x="134" y="1333"/>
                  </a:lnTo>
                  <a:lnTo>
                    <a:pt x="134" y="1333"/>
                  </a:lnTo>
                  <a:lnTo>
                    <a:pt x="144" y="1339"/>
                  </a:lnTo>
                  <a:lnTo>
                    <a:pt x="148" y="1340"/>
                  </a:lnTo>
                  <a:lnTo>
                    <a:pt x="153" y="1340"/>
                  </a:lnTo>
                  <a:lnTo>
                    <a:pt x="153" y="1340"/>
                  </a:lnTo>
                  <a:lnTo>
                    <a:pt x="167" y="1339"/>
                  </a:lnTo>
                  <a:lnTo>
                    <a:pt x="173" y="1337"/>
                  </a:lnTo>
                  <a:lnTo>
                    <a:pt x="175" y="1337"/>
                  </a:lnTo>
                  <a:lnTo>
                    <a:pt x="178" y="1335"/>
                  </a:lnTo>
                  <a:lnTo>
                    <a:pt x="178" y="1335"/>
                  </a:lnTo>
                  <a:lnTo>
                    <a:pt x="182" y="1332"/>
                  </a:lnTo>
                  <a:lnTo>
                    <a:pt x="189" y="1328"/>
                  </a:lnTo>
                  <a:lnTo>
                    <a:pt x="194" y="1323"/>
                  </a:lnTo>
                  <a:lnTo>
                    <a:pt x="199" y="1317"/>
                  </a:lnTo>
                  <a:lnTo>
                    <a:pt x="199" y="1317"/>
                  </a:lnTo>
                  <a:lnTo>
                    <a:pt x="203" y="1312"/>
                  </a:lnTo>
                  <a:lnTo>
                    <a:pt x="207" y="1301"/>
                  </a:lnTo>
                  <a:lnTo>
                    <a:pt x="210" y="1296"/>
                  </a:lnTo>
                  <a:lnTo>
                    <a:pt x="212" y="1292"/>
                  </a:lnTo>
                  <a:lnTo>
                    <a:pt x="214" y="1292"/>
                  </a:lnTo>
                  <a:lnTo>
                    <a:pt x="214" y="1292"/>
                  </a:lnTo>
                  <a:lnTo>
                    <a:pt x="223" y="1291"/>
                  </a:lnTo>
                  <a:lnTo>
                    <a:pt x="224" y="1289"/>
                  </a:lnTo>
                  <a:lnTo>
                    <a:pt x="228" y="1289"/>
                  </a:lnTo>
                  <a:lnTo>
                    <a:pt x="228" y="1285"/>
                  </a:lnTo>
                  <a:lnTo>
                    <a:pt x="228" y="1285"/>
                  </a:lnTo>
                  <a:lnTo>
                    <a:pt x="231" y="1273"/>
                  </a:lnTo>
                  <a:lnTo>
                    <a:pt x="231" y="1269"/>
                  </a:lnTo>
                  <a:lnTo>
                    <a:pt x="233" y="1269"/>
                  </a:lnTo>
                  <a:lnTo>
                    <a:pt x="235" y="1268"/>
                  </a:lnTo>
                  <a:lnTo>
                    <a:pt x="235" y="1268"/>
                  </a:lnTo>
                  <a:lnTo>
                    <a:pt x="246" y="1266"/>
                  </a:lnTo>
                  <a:lnTo>
                    <a:pt x="256" y="1266"/>
                  </a:lnTo>
                  <a:lnTo>
                    <a:pt x="256" y="1266"/>
                  </a:lnTo>
                  <a:lnTo>
                    <a:pt x="262" y="1266"/>
                  </a:lnTo>
                  <a:lnTo>
                    <a:pt x="265" y="1266"/>
                  </a:lnTo>
                  <a:lnTo>
                    <a:pt x="269" y="1264"/>
                  </a:lnTo>
                  <a:lnTo>
                    <a:pt x="272" y="1264"/>
                  </a:lnTo>
                  <a:lnTo>
                    <a:pt x="272" y="1264"/>
                  </a:lnTo>
                  <a:lnTo>
                    <a:pt x="276" y="1260"/>
                  </a:lnTo>
                  <a:lnTo>
                    <a:pt x="281" y="1260"/>
                  </a:lnTo>
                  <a:lnTo>
                    <a:pt x="285" y="1260"/>
                  </a:lnTo>
                  <a:lnTo>
                    <a:pt x="288" y="1260"/>
                  </a:lnTo>
                  <a:lnTo>
                    <a:pt x="288" y="1260"/>
                  </a:lnTo>
                  <a:lnTo>
                    <a:pt x="292" y="1260"/>
                  </a:lnTo>
                  <a:lnTo>
                    <a:pt x="292" y="1260"/>
                  </a:lnTo>
                  <a:lnTo>
                    <a:pt x="295" y="1260"/>
                  </a:lnTo>
                  <a:lnTo>
                    <a:pt x="295" y="1257"/>
                  </a:lnTo>
                  <a:lnTo>
                    <a:pt x="297" y="1255"/>
                  </a:lnTo>
                  <a:lnTo>
                    <a:pt x="297" y="1255"/>
                  </a:lnTo>
                  <a:lnTo>
                    <a:pt x="294" y="1252"/>
                  </a:lnTo>
                  <a:lnTo>
                    <a:pt x="290" y="1250"/>
                  </a:lnTo>
                  <a:lnTo>
                    <a:pt x="290" y="1250"/>
                  </a:lnTo>
                  <a:lnTo>
                    <a:pt x="287" y="1246"/>
                  </a:lnTo>
                  <a:lnTo>
                    <a:pt x="283" y="1244"/>
                  </a:lnTo>
                  <a:lnTo>
                    <a:pt x="281" y="1237"/>
                  </a:lnTo>
                  <a:lnTo>
                    <a:pt x="278" y="1234"/>
                  </a:lnTo>
                  <a:lnTo>
                    <a:pt x="276" y="1225"/>
                  </a:lnTo>
                  <a:lnTo>
                    <a:pt x="276" y="1218"/>
                  </a:lnTo>
                  <a:lnTo>
                    <a:pt x="276" y="1218"/>
                  </a:lnTo>
                  <a:lnTo>
                    <a:pt x="276" y="1216"/>
                  </a:lnTo>
                  <a:lnTo>
                    <a:pt x="278" y="1214"/>
                  </a:lnTo>
                  <a:lnTo>
                    <a:pt x="283" y="1212"/>
                  </a:lnTo>
                  <a:lnTo>
                    <a:pt x="288" y="1209"/>
                  </a:lnTo>
                  <a:lnTo>
                    <a:pt x="292" y="1207"/>
                  </a:lnTo>
                  <a:lnTo>
                    <a:pt x="292" y="1207"/>
                  </a:lnTo>
                  <a:lnTo>
                    <a:pt x="295" y="1200"/>
                  </a:lnTo>
                  <a:lnTo>
                    <a:pt x="301" y="1196"/>
                  </a:lnTo>
                  <a:lnTo>
                    <a:pt x="303" y="1189"/>
                  </a:lnTo>
                  <a:lnTo>
                    <a:pt x="303" y="1182"/>
                  </a:lnTo>
                  <a:lnTo>
                    <a:pt x="303" y="1182"/>
                  </a:lnTo>
                  <a:lnTo>
                    <a:pt x="304" y="1175"/>
                  </a:lnTo>
                  <a:lnTo>
                    <a:pt x="306" y="1172"/>
                  </a:lnTo>
                  <a:lnTo>
                    <a:pt x="310" y="1164"/>
                  </a:lnTo>
                  <a:lnTo>
                    <a:pt x="310" y="1154"/>
                  </a:lnTo>
                  <a:lnTo>
                    <a:pt x="310" y="1154"/>
                  </a:lnTo>
                  <a:lnTo>
                    <a:pt x="311" y="1148"/>
                  </a:lnTo>
                  <a:lnTo>
                    <a:pt x="311" y="1147"/>
                  </a:lnTo>
                  <a:lnTo>
                    <a:pt x="315" y="1145"/>
                  </a:lnTo>
                  <a:lnTo>
                    <a:pt x="317" y="1141"/>
                  </a:lnTo>
                  <a:lnTo>
                    <a:pt x="319" y="1138"/>
                  </a:lnTo>
                  <a:lnTo>
                    <a:pt x="322" y="1134"/>
                  </a:lnTo>
                  <a:lnTo>
                    <a:pt x="322" y="1134"/>
                  </a:lnTo>
                  <a:lnTo>
                    <a:pt x="326" y="1125"/>
                  </a:lnTo>
                  <a:lnTo>
                    <a:pt x="329" y="1116"/>
                  </a:lnTo>
                  <a:lnTo>
                    <a:pt x="335" y="1109"/>
                  </a:lnTo>
                  <a:lnTo>
                    <a:pt x="338" y="1100"/>
                  </a:lnTo>
                  <a:lnTo>
                    <a:pt x="338" y="1100"/>
                  </a:lnTo>
                  <a:lnTo>
                    <a:pt x="342" y="1095"/>
                  </a:lnTo>
                  <a:lnTo>
                    <a:pt x="338" y="1092"/>
                  </a:lnTo>
                  <a:lnTo>
                    <a:pt x="336" y="1088"/>
                  </a:lnTo>
                  <a:lnTo>
                    <a:pt x="335" y="1086"/>
                  </a:lnTo>
                  <a:lnTo>
                    <a:pt x="329" y="1083"/>
                  </a:lnTo>
                  <a:lnTo>
                    <a:pt x="326" y="1081"/>
                  </a:lnTo>
                  <a:lnTo>
                    <a:pt x="349" y="1042"/>
                  </a:lnTo>
                  <a:lnTo>
                    <a:pt x="349" y="1042"/>
                  </a:lnTo>
                  <a:lnTo>
                    <a:pt x="359" y="1045"/>
                  </a:lnTo>
                  <a:lnTo>
                    <a:pt x="370" y="1047"/>
                  </a:lnTo>
                  <a:lnTo>
                    <a:pt x="377" y="1049"/>
                  </a:lnTo>
                  <a:lnTo>
                    <a:pt x="377" y="1049"/>
                  </a:lnTo>
                  <a:lnTo>
                    <a:pt x="379" y="1047"/>
                  </a:lnTo>
                  <a:lnTo>
                    <a:pt x="384" y="1045"/>
                  </a:lnTo>
                  <a:lnTo>
                    <a:pt x="390" y="1037"/>
                  </a:lnTo>
                  <a:lnTo>
                    <a:pt x="397" y="1029"/>
                  </a:lnTo>
                  <a:lnTo>
                    <a:pt x="400" y="1029"/>
                  </a:lnTo>
                  <a:lnTo>
                    <a:pt x="406" y="1029"/>
                  </a:lnTo>
                  <a:lnTo>
                    <a:pt x="406" y="1029"/>
                  </a:lnTo>
                  <a:lnTo>
                    <a:pt x="407" y="1029"/>
                  </a:lnTo>
                  <a:lnTo>
                    <a:pt x="409" y="1029"/>
                  </a:lnTo>
                  <a:lnTo>
                    <a:pt x="409" y="1033"/>
                  </a:lnTo>
                  <a:lnTo>
                    <a:pt x="409" y="1037"/>
                  </a:lnTo>
                  <a:lnTo>
                    <a:pt x="409" y="1042"/>
                  </a:lnTo>
                  <a:lnTo>
                    <a:pt x="409" y="1044"/>
                  </a:lnTo>
                  <a:lnTo>
                    <a:pt x="409" y="1044"/>
                  </a:lnTo>
                  <a:lnTo>
                    <a:pt x="418" y="1053"/>
                  </a:lnTo>
                  <a:lnTo>
                    <a:pt x="425" y="1056"/>
                  </a:lnTo>
                  <a:lnTo>
                    <a:pt x="431" y="1061"/>
                  </a:lnTo>
                  <a:lnTo>
                    <a:pt x="431" y="1061"/>
                  </a:lnTo>
                  <a:lnTo>
                    <a:pt x="432" y="1061"/>
                  </a:lnTo>
                  <a:lnTo>
                    <a:pt x="432" y="1061"/>
                  </a:lnTo>
                  <a:lnTo>
                    <a:pt x="432" y="1056"/>
                  </a:lnTo>
                  <a:lnTo>
                    <a:pt x="431" y="1045"/>
                  </a:lnTo>
                  <a:lnTo>
                    <a:pt x="431" y="1045"/>
                  </a:lnTo>
                  <a:lnTo>
                    <a:pt x="431" y="1040"/>
                  </a:lnTo>
                  <a:lnTo>
                    <a:pt x="432" y="1037"/>
                  </a:lnTo>
                  <a:lnTo>
                    <a:pt x="436" y="1033"/>
                  </a:lnTo>
                  <a:lnTo>
                    <a:pt x="438" y="1029"/>
                  </a:lnTo>
                  <a:lnTo>
                    <a:pt x="438" y="1029"/>
                  </a:lnTo>
                  <a:lnTo>
                    <a:pt x="439" y="1029"/>
                  </a:lnTo>
                  <a:lnTo>
                    <a:pt x="443" y="1026"/>
                  </a:lnTo>
                  <a:lnTo>
                    <a:pt x="447" y="1022"/>
                  </a:lnTo>
                  <a:lnTo>
                    <a:pt x="447" y="1022"/>
                  </a:lnTo>
                  <a:lnTo>
                    <a:pt x="450" y="1017"/>
                  </a:lnTo>
                  <a:lnTo>
                    <a:pt x="454" y="1013"/>
                  </a:lnTo>
                  <a:lnTo>
                    <a:pt x="455" y="1010"/>
                  </a:lnTo>
                  <a:lnTo>
                    <a:pt x="457" y="1006"/>
                  </a:lnTo>
                  <a:lnTo>
                    <a:pt x="457" y="1006"/>
                  </a:lnTo>
                  <a:lnTo>
                    <a:pt x="461" y="1006"/>
                  </a:lnTo>
                  <a:lnTo>
                    <a:pt x="466" y="1003"/>
                  </a:lnTo>
                  <a:lnTo>
                    <a:pt x="468" y="999"/>
                  </a:lnTo>
                  <a:lnTo>
                    <a:pt x="473" y="994"/>
                  </a:lnTo>
                  <a:lnTo>
                    <a:pt x="473" y="994"/>
                  </a:lnTo>
                  <a:lnTo>
                    <a:pt x="475" y="992"/>
                  </a:lnTo>
                  <a:lnTo>
                    <a:pt x="477" y="990"/>
                  </a:lnTo>
                  <a:lnTo>
                    <a:pt x="477" y="985"/>
                  </a:lnTo>
                  <a:lnTo>
                    <a:pt x="475" y="981"/>
                  </a:lnTo>
                  <a:lnTo>
                    <a:pt x="475" y="976"/>
                  </a:lnTo>
                  <a:lnTo>
                    <a:pt x="475" y="976"/>
                  </a:lnTo>
                  <a:lnTo>
                    <a:pt x="477" y="973"/>
                  </a:lnTo>
                  <a:lnTo>
                    <a:pt x="480" y="969"/>
                  </a:lnTo>
                  <a:lnTo>
                    <a:pt x="489" y="964"/>
                  </a:lnTo>
                  <a:lnTo>
                    <a:pt x="507" y="983"/>
                  </a:lnTo>
                  <a:lnTo>
                    <a:pt x="507" y="983"/>
                  </a:lnTo>
                  <a:lnTo>
                    <a:pt x="516" y="989"/>
                  </a:lnTo>
                  <a:lnTo>
                    <a:pt x="525" y="992"/>
                  </a:lnTo>
                  <a:lnTo>
                    <a:pt x="528" y="996"/>
                  </a:lnTo>
                  <a:lnTo>
                    <a:pt x="528" y="996"/>
                  </a:lnTo>
                  <a:lnTo>
                    <a:pt x="530" y="999"/>
                  </a:lnTo>
                  <a:lnTo>
                    <a:pt x="532" y="999"/>
                  </a:lnTo>
                  <a:lnTo>
                    <a:pt x="537" y="996"/>
                  </a:lnTo>
                  <a:lnTo>
                    <a:pt x="543" y="990"/>
                  </a:lnTo>
                  <a:lnTo>
                    <a:pt x="551" y="974"/>
                  </a:lnTo>
                  <a:lnTo>
                    <a:pt x="557" y="962"/>
                  </a:lnTo>
                  <a:lnTo>
                    <a:pt x="546" y="951"/>
                  </a:lnTo>
                  <a:lnTo>
                    <a:pt x="543" y="935"/>
                  </a:lnTo>
                  <a:lnTo>
                    <a:pt x="557" y="930"/>
                  </a:lnTo>
                  <a:lnTo>
                    <a:pt x="557" y="910"/>
                  </a:lnTo>
                  <a:lnTo>
                    <a:pt x="557" y="910"/>
                  </a:lnTo>
                  <a:lnTo>
                    <a:pt x="548" y="910"/>
                  </a:lnTo>
                  <a:lnTo>
                    <a:pt x="541" y="909"/>
                  </a:lnTo>
                  <a:lnTo>
                    <a:pt x="537" y="907"/>
                  </a:lnTo>
                  <a:lnTo>
                    <a:pt x="537" y="907"/>
                  </a:lnTo>
                  <a:lnTo>
                    <a:pt x="534" y="901"/>
                  </a:lnTo>
                  <a:lnTo>
                    <a:pt x="530" y="891"/>
                  </a:lnTo>
                  <a:lnTo>
                    <a:pt x="527" y="878"/>
                  </a:lnTo>
                  <a:lnTo>
                    <a:pt x="537" y="853"/>
                  </a:lnTo>
                  <a:lnTo>
                    <a:pt x="560" y="836"/>
                  </a:lnTo>
                  <a:lnTo>
                    <a:pt x="560" y="829"/>
                  </a:lnTo>
                  <a:lnTo>
                    <a:pt x="571" y="818"/>
                  </a:lnTo>
                  <a:lnTo>
                    <a:pt x="571" y="802"/>
                  </a:lnTo>
                  <a:lnTo>
                    <a:pt x="571" y="802"/>
                  </a:lnTo>
                  <a:lnTo>
                    <a:pt x="578" y="786"/>
                  </a:lnTo>
                  <a:lnTo>
                    <a:pt x="578" y="786"/>
                  </a:lnTo>
                  <a:lnTo>
                    <a:pt x="575" y="782"/>
                  </a:lnTo>
                  <a:lnTo>
                    <a:pt x="571" y="777"/>
                  </a:lnTo>
                  <a:lnTo>
                    <a:pt x="562" y="765"/>
                  </a:lnTo>
                  <a:lnTo>
                    <a:pt x="569" y="757"/>
                  </a:lnTo>
                  <a:lnTo>
                    <a:pt x="569" y="738"/>
                  </a:lnTo>
                  <a:lnTo>
                    <a:pt x="571" y="718"/>
                  </a:lnTo>
                  <a:lnTo>
                    <a:pt x="582" y="722"/>
                  </a:lnTo>
                  <a:lnTo>
                    <a:pt x="582" y="722"/>
                  </a:lnTo>
                  <a:lnTo>
                    <a:pt x="591" y="715"/>
                  </a:lnTo>
                  <a:lnTo>
                    <a:pt x="596" y="709"/>
                  </a:lnTo>
                  <a:lnTo>
                    <a:pt x="601" y="706"/>
                  </a:lnTo>
                  <a:lnTo>
                    <a:pt x="607" y="706"/>
                  </a:lnTo>
                  <a:lnTo>
                    <a:pt x="607" y="706"/>
                  </a:lnTo>
                  <a:lnTo>
                    <a:pt x="608" y="704"/>
                  </a:lnTo>
                  <a:lnTo>
                    <a:pt x="610" y="702"/>
                  </a:lnTo>
                  <a:lnTo>
                    <a:pt x="610" y="699"/>
                  </a:lnTo>
                  <a:lnTo>
                    <a:pt x="610" y="695"/>
                  </a:lnTo>
                  <a:lnTo>
                    <a:pt x="610" y="695"/>
                  </a:lnTo>
                  <a:lnTo>
                    <a:pt x="610" y="693"/>
                  </a:lnTo>
                  <a:lnTo>
                    <a:pt x="610" y="693"/>
                  </a:lnTo>
                  <a:lnTo>
                    <a:pt x="598" y="693"/>
                  </a:lnTo>
                  <a:lnTo>
                    <a:pt x="589" y="693"/>
                  </a:lnTo>
                  <a:lnTo>
                    <a:pt x="578" y="693"/>
                  </a:lnTo>
                  <a:lnTo>
                    <a:pt x="578" y="693"/>
                  </a:lnTo>
                  <a:lnTo>
                    <a:pt x="573" y="690"/>
                  </a:lnTo>
                  <a:lnTo>
                    <a:pt x="567" y="690"/>
                  </a:lnTo>
                  <a:lnTo>
                    <a:pt x="560" y="690"/>
                  </a:lnTo>
                  <a:lnTo>
                    <a:pt x="557" y="688"/>
                  </a:lnTo>
                  <a:lnTo>
                    <a:pt x="557" y="688"/>
                  </a:lnTo>
                  <a:lnTo>
                    <a:pt x="551" y="688"/>
                  </a:lnTo>
                  <a:lnTo>
                    <a:pt x="548" y="685"/>
                  </a:lnTo>
                  <a:lnTo>
                    <a:pt x="548" y="683"/>
                  </a:lnTo>
                  <a:lnTo>
                    <a:pt x="548" y="679"/>
                  </a:lnTo>
                  <a:lnTo>
                    <a:pt x="548" y="679"/>
                  </a:lnTo>
                  <a:lnTo>
                    <a:pt x="550" y="665"/>
                  </a:lnTo>
                  <a:lnTo>
                    <a:pt x="550" y="660"/>
                  </a:lnTo>
                  <a:lnTo>
                    <a:pt x="553" y="654"/>
                  </a:lnTo>
                  <a:lnTo>
                    <a:pt x="553" y="654"/>
                  </a:lnTo>
                  <a:lnTo>
                    <a:pt x="557" y="645"/>
                  </a:lnTo>
                  <a:lnTo>
                    <a:pt x="562" y="642"/>
                  </a:lnTo>
                  <a:lnTo>
                    <a:pt x="567" y="637"/>
                  </a:lnTo>
                  <a:lnTo>
                    <a:pt x="567" y="635"/>
                  </a:lnTo>
                  <a:lnTo>
                    <a:pt x="567" y="635"/>
                  </a:lnTo>
                  <a:lnTo>
                    <a:pt x="567" y="635"/>
                  </a:lnTo>
                  <a:lnTo>
                    <a:pt x="562" y="629"/>
                  </a:lnTo>
                  <a:lnTo>
                    <a:pt x="560" y="626"/>
                  </a:lnTo>
                  <a:lnTo>
                    <a:pt x="557" y="622"/>
                  </a:lnTo>
                  <a:lnTo>
                    <a:pt x="557" y="617"/>
                  </a:lnTo>
                  <a:lnTo>
                    <a:pt x="557" y="617"/>
                  </a:lnTo>
                  <a:lnTo>
                    <a:pt x="555" y="606"/>
                  </a:lnTo>
                  <a:lnTo>
                    <a:pt x="555" y="603"/>
                  </a:lnTo>
                  <a:lnTo>
                    <a:pt x="553" y="601"/>
                  </a:lnTo>
                  <a:lnTo>
                    <a:pt x="553" y="601"/>
                  </a:lnTo>
                  <a:lnTo>
                    <a:pt x="551" y="599"/>
                  </a:lnTo>
                  <a:lnTo>
                    <a:pt x="550" y="597"/>
                  </a:lnTo>
                  <a:lnTo>
                    <a:pt x="548" y="592"/>
                  </a:lnTo>
                  <a:lnTo>
                    <a:pt x="548" y="574"/>
                  </a:lnTo>
                  <a:lnTo>
                    <a:pt x="548" y="574"/>
                  </a:lnTo>
                  <a:lnTo>
                    <a:pt x="541" y="565"/>
                  </a:lnTo>
                  <a:lnTo>
                    <a:pt x="535" y="562"/>
                  </a:lnTo>
                  <a:lnTo>
                    <a:pt x="534" y="558"/>
                  </a:lnTo>
                  <a:lnTo>
                    <a:pt x="535" y="557"/>
                  </a:lnTo>
                  <a:lnTo>
                    <a:pt x="535" y="557"/>
                  </a:lnTo>
                  <a:lnTo>
                    <a:pt x="555" y="533"/>
                  </a:lnTo>
                  <a:lnTo>
                    <a:pt x="555" y="533"/>
                  </a:lnTo>
                  <a:lnTo>
                    <a:pt x="553" y="496"/>
                  </a:lnTo>
                  <a:lnTo>
                    <a:pt x="550" y="453"/>
                  </a:lnTo>
                  <a:lnTo>
                    <a:pt x="550" y="453"/>
                  </a:lnTo>
                  <a:lnTo>
                    <a:pt x="548" y="450"/>
                  </a:lnTo>
                  <a:lnTo>
                    <a:pt x="546" y="448"/>
                  </a:lnTo>
                  <a:lnTo>
                    <a:pt x="537" y="439"/>
                  </a:lnTo>
                  <a:lnTo>
                    <a:pt x="534" y="436"/>
                  </a:lnTo>
                  <a:lnTo>
                    <a:pt x="530" y="434"/>
                  </a:lnTo>
                  <a:lnTo>
                    <a:pt x="530" y="430"/>
                  </a:lnTo>
                  <a:lnTo>
                    <a:pt x="532" y="425"/>
                  </a:lnTo>
                  <a:lnTo>
                    <a:pt x="532" y="425"/>
                  </a:lnTo>
                  <a:lnTo>
                    <a:pt x="541" y="421"/>
                  </a:lnTo>
                  <a:lnTo>
                    <a:pt x="553" y="416"/>
                  </a:lnTo>
                  <a:lnTo>
                    <a:pt x="567" y="411"/>
                  </a:lnTo>
                  <a:lnTo>
                    <a:pt x="567" y="411"/>
                  </a:lnTo>
                  <a:lnTo>
                    <a:pt x="569" y="409"/>
                  </a:lnTo>
                  <a:lnTo>
                    <a:pt x="571" y="404"/>
                  </a:lnTo>
                  <a:lnTo>
                    <a:pt x="575" y="402"/>
                  </a:lnTo>
                  <a:lnTo>
                    <a:pt x="575" y="400"/>
                  </a:lnTo>
                  <a:lnTo>
                    <a:pt x="578" y="402"/>
                  </a:lnTo>
                  <a:lnTo>
                    <a:pt x="578" y="402"/>
                  </a:lnTo>
                  <a:lnTo>
                    <a:pt x="583" y="402"/>
                  </a:lnTo>
                  <a:lnTo>
                    <a:pt x="589" y="402"/>
                  </a:lnTo>
                  <a:lnTo>
                    <a:pt x="591" y="402"/>
                  </a:lnTo>
                  <a:lnTo>
                    <a:pt x="592" y="398"/>
                  </a:lnTo>
                  <a:lnTo>
                    <a:pt x="592" y="398"/>
                  </a:lnTo>
                  <a:lnTo>
                    <a:pt x="592" y="393"/>
                  </a:lnTo>
                  <a:lnTo>
                    <a:pt x="591" y="389"/>
                  </a:lnTo>
                  <a:lnTo>
                    <a:pt x="589" y="382"/>
                  </a:lnTo>
                  <a:lnTo>
                    <a:pt x="589" y="382"/>
                  </a:lnTo>
                  <a:lnTo>
                    <a:pt x="591" y="381"/>
                  </a:lnTo>
                  <a:lnTo>
                    <a:pt x="591" y="381"/>
                  </a:lnTo>
                  <a:lnTo>
                    <a:pt x="598" y="373"/>
                  </a:lnTo>
                  <a:lnTo>
                    <a:pt x="601" y="370"/>
                  </a:lnTo>
                  <a:lnTo>
                    <a:pt x="598" y="359"/>
                  </a:lnTo>
                  <a:lnTo>
                    <a:pt x="598" y="359"/>
                  </a:lnTo>
                  <a:lnTo>
                    <a:pt x="617" y="347"/>
                  </a:lnTo>
                  <a:lnTo>
                    <a:pt x="617" y="347"/>
                  </a:lnTo>
                  <a:lnTo>
                    <a:pt x="624" y="338"/>
                  </a:lnTo>
                  <a:lnTo>
                    <a:pt x="631" y="333"/>
                  </a:lnTo>
                  <a:lnTo>
                    <a:pt x="637" y="324"/>
                  </a:lnTo>
                  <a:lnTo>
                    <a:pt x="637" y="324"/>
                  </a:lnTo>
                  <a:lnTo>
                    <a:pt x="631" y="315"/>
                  </a:lnTo>
                  <a:lnTo>
                    <a:pt x="624" y="309"/>
                  </a:lnTo>
                  <a:lnTo>
                    <a:pt x="623" y="302"/>
                  </a:lnTo>
                  <a:lnTo>
                    <a:pt x="623" y="302"/>
                  </a:lnTo>
                  <a:lnTo>
                    <a:pt x="621" y="290"/>
                  </a:lnTo>
                  <a:lnTo>
                    <a:pt x="619" y="281"/>
                  </a:lnTo>
                  <a:lnTo>
                    <a:pt x="617" y="277"/>
                  </a:lnTo>
                  <a:lnTo>
                    <a:pt x="617" y="274"/>
                  </a:lnTo>
                  <a:lnTo>
                    <a:pt x="617" y="274"/>
                  </a:lnTo>
                  <a:lnTo>
                    <a:pt x="614" y="272"/>
                  </a:lnTo>
                  <a:lnTo>
                    <a:pt x="610" y="270"/>
                  </a:lnTo>
                  <a:lnTo>
                    <a:pt x="601" y="267"/>
                  </a:lnTo>
                  <a:lnTo>
                    <a:pt x="599" y="261"/>
                  </a:lnTo>
                  <a:lnTo>
                    <a:pt x="598" y="261"/>
                  </a:lnTo>
                  <a:lnTo>
                    <a:pt x="594" y="258"/>
                  </a:lnTo>
                  <a:lnTo>
                    <a:pt x="594" y="251"/>
                  </a:lnTo>
                  <a:lnTo>
                    <a:pt x="594" y="251"/>
                  </a:lnTo>
                  <a:lnTo>
                    <a:pt x="594" y="245"/>
                  </a:lnTo>
                  <a:lnTo>
                    <a:pt x="592" y="238"/>
                  </a:lnTo>
                  <a:lnTo>
                    <a:pt x="587" y="233"/>
                  </a:lnTo>
                  <a:lnTo>
                    <a:pt x="583" y="229"/>
                  </a:lnTo>
                  <a:lnTo>
                    <a:pt x="582" y="228"/>
                  </a:lnTo>
                  <a:lnTo>
                    <a:pt x="582" y="224"/>
                  </a:lnTo>
                  <a:lnTo>
                    <a:pt x="583" y="219"/>
                  </a:lnTo>
                  <a:lnTo>
                    <a:pt x="583" y="219"/>
                  </a:lnTo>
                  <a:lnTo>
                    <a:pt x="589" y="213"/>
                  </a:lnTo>
                  <a:lnTo>
                    <a:pt x="591" y="206"/>
                  </a:lnTo>
                  <a:lnTo>
                    <a:pt x="594" y="189"/>
                  </a:lnTo>
                  <a:lnTo>
                    <a:pt x="594" y="189"/>
                  </a:lnTo>
                  <a:lnTo>
                    <a:pt x="591" y="185"/>
                  </a:lnTo>
                  <a:lnTo>
                    <a:pt x="582" y="183"/>
                  </a:lnTo>
                  <a:lnTo>
                    <a:pt x="578" y="180"/>
                  </a:lnTo>
                  <a:lnTo>
                    <a:pt x="575" y="183"/>
                  </a:lnTo>
                  <a:lnTo>
                    <a:pt x="573" y="185"/>
                  </a:lnTo>
                  <a:lnTo>
                    <a:pt x="573" y="185"/>
                  </a:lnTo>
                  <a:lnTo>
                    <a:pt x="566" y="194"/>
                  </a:lnTo>
                  <a:lnTo>
                    <a:pt x="562" y="197"/>
                  </a:lnTo>
                  <a:lnTo>
                    <a:pt x="566" y="197"/>
                  </a:lnTo>
                  <a:lnTo>
                    <a:pt x="567" y="197"/>
                  </a:lnTo>
                  <a:lnTo>
                    <a:pt x="567" y="197"/>
                  </a:lnTo>
                  <a:lnTo>
                    <a:pt x="571" y="197"/>
                  </a:lnTo>
                  <a:lnTo>
                    <a:pt x="578" y="194"/>
                  </a:lnTo>
                  <a:lnTo>
                    <a:pt x="587" y="194"/>
                  </a:lnTo>
                  <a:lnTo>
                    <a:pt x="587" y="194"/>
                  </a:lnTo>
                  <a:lnTo>
                    <a:pt x="589" y="194"/>
                  </a:lnTo>
                  <a:lnTo>
                    <a:pt x="589" y="194"/>
                  </a:lnTo>
                  <a:lnTo>
                    <a:pt x="587" y="197"/>
                  </a:lnTo>
                  <a:lnTo>
                    <a:pt x="583" y="197"/>
                  </a:lnTo>
                  <a:lnTo>
                    <a:pt x="578" y="205"/>
                  </a:lnTo>
                  <a:lnTo>
                    <a:pt x="566" y="213"/>
                  </a:lnTo>
                  <a:lnTo>
                    <a:pt x="566" y="213"/>
                  </a:lnTo>
                  <a:lnTo>
                    <a:pt x="550" y="221"/>
                  </a:lnTo>
                  <a:lnTo>
                    <a:pt x="541" y="228"/>
                  </a:lnTo>
                  <a:lnTo>
                    <a:pt x="532" y="231"/>
                  </a:lnTo>
                  <a:lnTo>
                    <a:pt x="532" y="231"/>
                  </a:lnTo>
                  <a:lnTo>
                    <a:pt x="527" y="231"/>
                  </a:lnTo>
                  <a:lnTo>
                    <a:pt x="519" y="235"/>
                  </a:lnTo>
                  <a:lnTo>
                    <a:pt x="516" y="238"/>
                  </a:lnTo>
                  <a:lnTo>
                    <a:pt x="514" y="242"/>
                  </a:lnTo>
                  <a:lnTo>
                    <a:pt x="514" y="242"/>
                  </a:lnTo>
                  <a:lnTo>
                    <a:pt x="514" y="242"/>
                  </a:lnTo>
                  <a:lnTo>
                    <a:pt x="514" y="242"/>
                  </a:lnTo>
                  <a:lnTo>
                    <a:pt x="514" y="242"/>
                  </a:lnTo>
                  <a:lnTo>
                    <a:pt x="514" y="242"/>
                  </a:lnTo>
                  <a:lnTo>
                    <a:pt x="518" y="235"/>
                  </a:lnTo>
                  <a:lnTo>
                    <a:pt x="519" y="229"/>
                  </a:lnTo>
                  <a:lnTo>
                    <a:pt x="525" y="226"/>
                  </a:lnTo>
                  <a:lnTo>
                    <a:pt x="525" y="226"/>
                  </a:lnTo>
                  <a:lnTo>
                    <a:pt x="532" y="215"/>
                  </a:lnTo>
                  <a:lnTo>
                    <a:pt x="541" y="206"/>
                  </a:lnTo>
                  <a:lnTo>
                    <a:pt x="541" y="206"/>
                  </a:lnTo>
                  <a:lnTo>
                    <a:pt x="548" y="199"/>
                  </a:lnTo>
                  <a:lnTo>
                    <a:pt x="551" y="194"/>
                  </a:lnTo>
                  <a:lnTo>
                    <a:pt x="557" y="189"/>
                  </a:lnTo>
                  <a:lnTo>
                    <a:pt x="560" y="183"/>
                  </a:lnTo>
                  <a:lnTo>
                    <a:pt x="560" y="183"/>
                  </a:lnTo>
                  <a:lnTo>
                    <a:pt x="567" y="174"/>
                  </a:lnTo>
                  <a:lnTo>
                    <a:pt x="573" y="164"/>
                  </a:lnTo>
                  <a:lnTo>
                    <a:pt x="580" y="151"/>
                  </a:lnTo>
                  <a:lnTo>
                    <a:pt x="583" y="148"/>
                  </a:lnTo>
                  <a:lnTo>
                    <a:pt x="587" y="146"/>
                  </a:lnTo>
                  <a:lnTo>
                    <a:pt x="587" y="146"/>
                  </a:lnTo>
                  <a:lnTo>
                    <a:pt x="594" y="142"/>
                  </a:lnTo>
                  <a:lnTo>
                    <a:pt x="598" y="137"/>
                  </a:lnTo>
                  <a:lnTo>
                    <a:pt x="601" y="132"/>
                  </a:lnTo>
                  <a:lnTo>
                    <a:pt x="607" y="126"/>
                  </a:lnTo>
                  <a:lnTo>
                    <a:pt x="607" y="126"/>
                  </a:lnTo>
                  <a:lnTo>
                    <a:pt x="612" y="114"/>
                  </a:lnTo>
                  <a:lnTo>
                    <a:pt x="614" y="107"/>
                  </a:lnTo>
                  <a:lnTo>
                    <a:pt x="615" y="103"/>
                  </a:lnTo>
                  <a:lnTo>
                    <a:pt x="614" y="98"/>
                  </a:lnTo>
                  <a:lnTo>
                    <a:pt x="614" y="98"/>
                  </a:lnTo>
                  <a:lnTo>
                    <a:pt x="610" y="78"/>
                  </a:lnTo>
                  <a:lnTo>
                    <a:pt x="601" y="62"/>
                  </a:lnTo>
                  <a:lnTo>
                    <a:pt x="601" y="62"/>
                  </a:lnTo>
                  <a:lnTo>
                    <a:pt x="596" y="52"/>
                  </a:lnTo>
                  <a:lnTo>
                    <a:pt x="592" y="46"/>
                  </a:lnTo>
                  <a:lnTo>
                    <a:pt x="583" y="43"/>
                  </a:lnTo>
                  <a:lnTo>
                    <a:pt x="578" y="37"/>
                  </a:lnTo>
                  <a:lnTo>
                    <a:pt x="578" y="37"/>
                  </a:lnTo>
                  <a:lnTo>
                    <a:pt x="571" y="37"/>
                  </a:lnTo>
                  <a:lnTo>
                    <a:pt x="557" y="43"/>
                  </a:lnTo>
                  <a:lnTo>
                    <a:pt x="543" y="43"/>
                  </a:lnTo>
                  <a:lnTo>
                    <a:pt x="534" y="45"/>
                  </a:lnTo>
                  <a:lnTo>
                    <a:pt x="534" y="45"/>
                  </a:lnTo>
                  <a:lnTo>
                    <a:pt x="530" y="46"/>
                  </a:lnTo>
                  <a:lnTo>
                    <a:pt x="527" y="46"/>
                  </a:lnTo>
                  <a:lnTo>
                    <a:pt x="521" y="52"/>
                  </a:lnTo>
                  <a:lnTo>
                    <a:pt x="516" y="55"/>
                  </a:lnTo>
                  <a:lnTo>
                    <a:pt x="514" y="57"/>
                  </a:lnTo>
                  <a:lnTo>
                    <a:pt x="511" y="57"/>
                  </a:lnTo>
                  <a:lnTo>
                    <a:pt x="511" y="57"/>
                  </a:lnTo>
                  <a:lnTo>
                    <a:pt x="509" y="57"/>
                  </a:lnTo>
                  <a:lnTo>
                    <a:pt x="509" y="53"/>
                  </a:lnTo>
                  <a:lnTo>
                    <a:pt x="511" y="48"/>
                  </a:lnTo>
                  <a:lnTo>
                    <a:pt x="514" y="43"/>
                  </a:lnTo>
                  <a:lnTo>
                    <a:pt x="514" y="36"/>
                  </a:lnTo>
                  <a:lnTo>
                    <a:pt x="514" y="36"/>
                  </a:lnTo>
                  <a:lnTo>
                    <a:pt x="514" y="32"/>
                  </a:lnTo>
                  <a:lnTo>
                    <a:pt x="511" y="30"/>
                  </a:lnTo>
                  <a:lnTo>
                    <a:pt x="507" y="29"/>
                  </a:lnTo>
                  <a:lnTo>
                    <a:pt x="502" y="29"/>
                  </a:lnTo>
                  <a:lnTo>
                    <a:pt x="502" y="29"/>
                  </a:lnTo>
                  <a:lnTo>
                    <a:pt x="500" y="29"/>
                  </a:lnTo>
                  <a:lnTo>
                    <a:pt x="498" y="27"/>
                  </a:lnTo>
                  <a:lnTo>
                    <a:pt x="498" y="23"/>
                  </a:lnTo>
                  <a:lnTo>
                    <a:pt x="498" y="18"/>
                  </a:lnTo>
                  <a:lnTo>
                    <a:pt x="496" y="11"/>
                  </a:lnTo>
                  <a:lnTo>
                    <a:pt x="496" y="11"/>
                  </a:lnTo>
                  <a:lnTo>
                    <a:pt x="495" y="7"/>
                  </a:lnTo>
                  <a:lnTo>
                    <a:pt x="491" y="6"/>
                  </a:lnTo>
                  <a:lnTo>
                    <a:pt x="484" y="2"/>
                  </a:lnTo>
                  <a:lnTo>
                    <a:pt x="475" y="0"/>
                  </a:lnTo>
                  <a:lnTo>
                    <a:pt x="470" y="0"/>
                  </a:lnTo>
                  <a:lnTo>
                    <a:pt x="470" y="0"/>
                  </a:lnTo>
                  <a:lnTo>
                    <a:pt x="464" y="0"/>
                  </a:lnTo>
                  <a:lnTo>
                    <a:pt x="457" y="4"/>
                  </a:lnTo>
                  <a:lnTo>
                    <a:pt x="447" y="18"/>
                  </a:lnTo>
                  <a:lnTo>
                    <a:pt x="447" y="18"/>
                  </a:lnTo>
                  <a:lnTo>
                    <a:pt x="439" y="27"/>
                  </a:lnTo>
                  <a:lnTo>
                    <a:pt x="432" y="30"/>
                  </a:lnTo>
                  <a:lnTo>
                    <a:pt x="431" y="34"/>
                  </a:lnTo>
                  <a:lnTo>
                    <a:pt x="431" y="37"/>
                  </a:lnTo>
                  <a:lnTo>
                    <a:pt x="431" y="43"/>
                  </a:lnTo>
                  <a:lnTo>
                    <a:pt x="432" y="46"/>
                  </a:lnTo>
                  <a:lnTo>
                    <a:pt x="432" y="46"/>
                  </a:lnTo>
                  <a:lnTo>
                    <a:pt x="436" y="52"/>
                  </a:lnTo>
                  <a:lnTo>
                    <a:pt x="436" y="53"/>
                  </a:lnTo>
                  <a:lnTo>
                    <a:pt x="436" y="57"/>
                  </a:lnTo>
                  <a:lnTo>
                    <a:pt x="434" y="57"/>
                  </a:lnTo>
                  <a:lnTo>
                    <a:pt x="431" y="62"/>
                  </a:lnTo>
                  <a:lnTo>
                    <a:pt x="425" y="62"/>
                  </a:lnTo>
                  <a:lnTo>
                    <a:pt x="425" y="62"/>
                  </a:lnTo>
                  <a:lnTo>
                    <a:pt x="413" y="62"/>
                  </a:lnTo>
                  <a:lnTo>
                    <a:pt x="409" y="62"/>
                  </a:lnTo>
                  <a:lnTo>
                    <a:pt x="406" y="62"/>
                  </a:lnTo>
                  <a:lnTo>
                    <a:pt x="406" y="62"/>
                  </a:lnTo>
                  <a:lnTo>
                    <a:pt x="407" y="66"/>
                  </a:lnTo>
                  <a:lnTo>
                    <a:pt x="409" y="69"/>
                  </a:lnTo>
                  <a:lnTo>
                    <a:pt x="409" y="71"/>
                  </a:lnTo>
                  <a:lnTo>
                    <a:pt x="409" y="73"/>
                  </a:lnTo>
                  <a:lnTo>
                    <a:pt x="407" y="75"/>
                  </a:lnTo>
                  <a:lnTo>
                    <a:pt x="404" y="75"/>
                  </a:lnTo>
                  <a:lnTo>
                    <a:pt x="404" y="75"/>
                  </a:lnTo>
                  <a:lnTo>
                    <a:pt x="399" y="77"/>
                  </a:lnTo>
                  <a:lnTo>
                    <a:pt x="393" y="77"/>
                  </a:lnTo>
                  <a:lnTo>
                    <a:pt x="386" y="75"/>
                  </a:lnTo>
                  <a:lnTo>
                    <a:pt x="377" y="71"/>
                  </a:lnTo>
                  <a:lnTo>
                    <a:pt x="374" y="71"/>
                  </a:lnTo>
                  <a:lnTo>
                    <a:pt x="370" y="71"/>
                  </a:lnTo>
                  <a:lnTo>
                    <a:pt x="370" y="71"/>
                  </a:lnTo>
                  <a:lnTo>
                    <a:pt x="342" y="78"/>
                  </a:lnTo>
                  <a:lnTo>
                    <a:pt x="327" y="84"/>
                  </a:lnTo>
                  <a:lnTo>
                    <a:pt x="317" y="87"/>
                  </a:lnTo>
                  <a:lnTo>
                    <a:pt x="317" y="87"/>
                  </a:lnTo>
                  <a:lnTo>
                    <a:pt x="313" y="94"/>
                  </a:lnTo>
                  <a:lnTo>
                    <a:pt x="310" y="96"/>
                  </a:lnTo>
                  <a:lnTo>
                    <a:pt x="304" y="98"/>
                  </a:lnTo>
                  <a:lnTo>
                    <a:pt x="304" y="98"/>
                  </a:lnTo>
                  <a:lnTo>
                    <a:pt x="295" y="98"/>
                  </a:lnTo>
                  <a:lnTo>
                    <a:pt x="288" y="98"/>
                  </a:lnTo>
                  <a:lnTo>
                    <a:pt x="278" y="98"/>
                  </a:lnTo>
                  <a:lnTo>
                    <a:pt x="272" y="98"/>
                  </a:lnTo>
                  <a:lnTo>
                    <a:pt x="265" y="101"/>
                  </a:lnTo>
                  <a:lnTo>
                    <a:pt x="265" y="101"/>
                  </a:lnTo>
                  <a:lnTo>
                    <a:pt x="249" y="107"/>
                  </a:lnTo>
                  <a:lnTo>
                    <a:pt x="237" y="114"/>
                  </a:lnTo>
                  <a:lnTo>
                    <a:pt x="224" y="123"/>
                  </a:lnTo>
                  <a:lnTo>
                    <a:pt x="214" y="130"/>
                  </a:lnTo>
                  <a:lnTo>
                    <a:pt x="214" y="130"/>
                  </a:lnTo>
                  <a:lnTo>
                    <a:pt x="205" y="137"/>
                  </a:lnTo>
                  <a:lnTo>
                    <a:pt x="203" y="142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8" y="158"/>
                  </a:lnTo>
                  <a:lnTo>
                    <a:pt x="210" y="171"/>
                  </a:lnTo>
                  <a:lnTo>
                    <a:pt x="210" y="171"/>
                  </a:lnTo>
                  <a:lnTo>
                    <a:pt x="210" y="173"/>
                  </a:lnTo>
                  <a:lnTo>
                    <a:pt x="210" y="174"/>
                  </a:lnTo>
                  <a:lnTo>
                    <a:pt x="205" y="178"/>
                  </a:lnTo>
                  <a:lnTo>
                    <a:pt x="196" y="183"/>
                  </a:lnTo>
                  <a:lnTo>
                    <a:pt x="192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60" y="176"/>
                  </a:lnTo>
                  <a:lnTo>
                    <a:pt x="141" y="174"/>
                  </a:lnTo>
                  <a:lnTo>
                    <a:pt x="128" y="173"/>
                  </a:lnTo>
                  <a:lnTo>
                    <a:pt x="128" y="173"/>
                  </a:lnTo>
                  <a:lnTo>
                    <a:pt x="123" y="173"/>
                  </a:lnTo>
                  <a:lnTo>
                    <a:pt x="119" y="171"/>
                  </a:lnTo>
                  <a:lnTo>
                    <a:pt x="118" y="173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09" y="180"/>
                  </a:lnTo>
                  <a:lnTo>
                    <a:pt x="107" y="187"/>
                  </a:lnTo>
                  <a:lnTo>
                    <a:pt x="105" y="201"/>
                  </a:lnTo>
                  <a:lnTo>
                    <a:pt x="105" y="201"/>
                  </a:lnTo>
                  <a:lnTo>
                    <a:pt x="102" y="212"/>
                  </a:lnTo>
                  <a:lnTo>
                    <a:pt x="100" y="217"/>
                  </a:lnTo>
                  <a:lnTo>
                    <a:pt x="98" y="226"/>
                  </a:lnTo>
                  <a:lnTo>
                    <a:pt x="98" y="228"/>
                  </a:lnTo>
                  <a:lnTo>
                    <a:pt x="102" y="229"/>
                  </a:lnTo>
                  <a:lnTo>
                    <a:pt x="102" y="229"/>
                  </a:lnTo>
                  <a:lnTo>
                    <a:pt x="109" y="242"/>
                  </a:lnTo>
                  <a:lnTo>
                    <a:pt x="112" y="251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8" y="258"/>
                  </a:lnTo>
                  <a:lnTo>
                    <a:pt x="121" y="261"/>
                  </a:lnTo>
                  <a:lnTo>
                    <a:pt x="123" y="267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1" y="272"/>
                  </a:lnTo>
                  <a:lnTo>
                    <a:pt x="114" y="274"/>
                  </a:lnTo>
                  <a:lnTo>
                    <a:pt x="112" y="276"/>
                  </a:lnTo>
                  <a:lnTo>
                    <a:pt x="109" y="276"/>
                  </a:lnTo>
                  <a:lnTo>
                    <a:pt x="107" y="274"/>
                  </a:lnTo>
                  <a:lnTo>
                    <a:pt x="105" y="272"/>
                  </a:lnTo>
                  <a:lnTo>
                    <a:pt x="105" y="272"/>
                  </a:lnTo>
                  <a:lnTo>
                    <a:pt x="102" y="267"/>
                  </a:lnTo>
                  <a:lnTo>
                    <a:pt x="95" y="258"/>
                  </a:lnTo>
                  <a:lnTo>
                    <a:pt x="89" y="242"/>
                  </a:lnTo>
                  <a:lnTo>
                    <a:pt x="89" y="242"/>
                  </a:lnTo>
                  <a:lnTo>
                    <a:pt x="86" y="238"/>
                  </a:lnTo>
                  <a:lnTo>
                    <a:pt x="80" y="231"/>
                  </a:lnTo>
                  <a:lnTo>
                    <a:pt x="71" y="226"/>
                  </a:lnTo>
                  <a:lnTo>
                    <a:pt x="68" y="221"/>
                  </a:lnTo>
                  <a:lnTo>
                    <a:pt x="63" y="219"/>
                  </a:lnTo>
                  <a:lnTo>
                    <a:pt x="63" y="219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31"/>
                  </a:lnTo>
                  <a:lnTo>
                    <a:pt x="61" y="235"/>
                  </a:lnTo>
                  <a:lnTo>
                    <a:pt x="63" y="238"/>
                  </a:lnTo>
                  <a:lnTo>
                    <a:pt x="63" y="238"/>
                  </a:lnTo>
                  <a:lnTo>
                    <a:pt x="63" y="238"/>
                  </a:lnTo>
                  <a:lnTo>
                    <a:pt x="63" y="238"/>
                  </a:lnTo>
                  <a:lnTo>
                    <a:pt x="63" y="23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78"/>
            <p:cNvSpPr>
              <a:spLocks/>
            </p:cNvSpPr>
            <p:nvPr/>
          </p:nvSpPr>
          <p:spPr bwMode="auto">
            <a:xfrm>
              <a:off x="1867819" y="2051267"/>
              <a:ext cx="582444" cy="618383"/>
            </a:xfrm>
            <a:custGeom>
              <a:avLst/>
              <a:gdLst>
                <a:gd name="T0" fmla="*/ 101 w 1021"/>
                <a:gd name="T1" fmla="*/ 384 h 1084"/>
                <a:gd name="T2" fmla="*/ 62 w 1021"/>
                <a:gd name="T3" fmla="*/ 467 h 1084"/>
                <a:gd name="T4" fmla="*/ 0 w 1021"/>
                <a:gd name="T5" fmla="*/ 499 h 1084"/>
                <a:gd name="T6" fmla="*/ 18 w 1021"/>
                <a:gd name="T7" fmla="*/ 661 h 1084"/>
                <a:gd name="T8" fmla="*/ 32 w 1021"/>
                <a:gd name="T9" fmla="*/ 711 h 1084"/>
                <a:gd name="T10" fmla="*/ 48 w 1021"/>
                <a:gd name="T11" fmla="*/ 762 h 1084"/>
                <a:gd name="T12" fmla="*/ 77 w 1021"/>
                <a:gd name="T13" fmla="*/ 798 h 1084"/>
                <a:gd name="T14" fmla="*/ 112 w 1021"/>
                <a:gd name="T15" fmla="*/ 850 h 1084"/>
                <a:gd name="T16" fmla="*/ 125 w 1021"/>
                <a:gd name="T17" fmla="*/ 882 h 1084"/>
                <a:gd name="T18" fmla="*/ 142 w 1021"/>
                <a:gd name="T19" fmla="*/ 967 h 1084"/>
                <a:gd name="T20" fmla="*/ 171 w 1021"/>
                <a:gd name="T21" fmla="*/ 1022 h 1084"/>
                <a:gd name="T22" fmla="*/ 231 w 1021"/>
                <a:gd name="T23" fmla="*/ 1018 h 1084"/>
                <a:gd name="T24" fmla="*/ 269 w 1021"/>
                <a:gd name="T25" fmla="*/ 962 h 1084"/>
                <a:gd name="T26" fmla="*/ 341 w 1021"/>
                <a:gd name="T27" fmla="*/ 954 h 1084"/>
                <a:gd name="T28" fmla="*/ 389 w 1021"/>
                <a:gd name="T29" fmla="*/ 970 h 1084"/>
                <a:gd name="T30" fmla="*/ 425 w 1021"/>
                <a:gd name="T31" fmla="*/ 1049 h 1084"/>
                <a:gd name="T32" fmla="*/ 471 w 1021"/>
                <a:gd name="T33" fmla="*/ 1068 h 1084"/>
                <a:gd name="T34" fmla="*/ 526 w 1021"/>
                <a:gd name="T35" fmla="*/ 1070 h 1084"/>
                <a:gd name="T36" fmla="*/ 583 w 1021"/>
                <a:gd name="T37" fmla="*/ 1070 h 1084"/>
                <a:gd name="T38" fmla="*/ 635 w 1021"/>
                <a:gd name="T39" fmla="*/ 1079 h 1084"/>
                <a:gd name="T40" fmla="*/ 665 w 1021"/>
                <a:gd name="T41" fmla="*/ 1079 h 1084"/>
                <a:gd name="T42" fmla="*/ 697 w 1021"/>
                <a:gd name="T43" fmla="*/ 1070 h 1084"/>
                <a:gd name="T44" fmla="*/ 738 w 1021"/>
                <a:gd name="T45" fmla="*/ 1043 h 1084"/>
                <a:gd name="T46" fmla="*/ 779 w 1021"/>
                <a:gd name="T47" fmla="*/ 979 h 1084"/>
                <a:gd name="T48" fmla="*/ 763 w 1021"/>
                <a:gd name="T49" fmla="*/ 938 h 1084"/>
                <a:gd name="T50" fmla="*/ 761 w 1021"/>
                <a:gd name="T51" fmla="*/ 894 h 1084"/>
                <a:gd name="T52" fmla="*/ 766 w 1021"/>
                <a:gd name="T53" fmla="*/ 819 h 1084"/>
                <a:gd name="T54" fmla="*/ 818 w 1021"/>
                <a:gd name="T55" fmla="*/ 780 h 1084"/>
                <a:gd name="T56" fmla="*/ 853 w 1021"/>
                <a:gd name="T57" fmla="*/ 752 h 1084"/>
                <a:gd name="T58" fmla="*/ 862 w 1021"/>
                <a:gd name="T59" fmla="*/ 732 h 1084"/>
                <a:gd name="T60" fmla="*/ 829 w 1021"/>
                <a:gd name="T61" fmla="*/ 674 h 1084"/>
                <a:gd name="T62" fmla="*/ 843 w 1021"/>
                <a:gd name="T63" fmla="*/ 647 h 1084"/>
                <a:gd name="T64" fmla="*/ 837 w 1021"/>
                <a:gd name="T65" fmla="*/ 590 h 1084"/>
                <a:gd name="T66" fmla="*/ 882 w 1021"/>
                <a:gd name="T67" fmla="*/ 583 h 1084"/>
                <a:gd name="T68" fmla="*/ 909 w 1021"/>
                <a:gd name="T69" fmla="*/ 563 h 1084"/>
                <a:gd name="T70" fmla="*/ 933 w 1021"/>
                <a:gd name="T71" fmla="*/ 567 h 1084"/>
                <a:gd name="T72" fmla="*/ 905 w 1021"/>
                <a:gd name="T73" fmla="*/ 489 h 1084"/>
                <a:gd name="T74" fmla="*/ 901 w 1021"/>
                <a:gd name="T75" fmla="*/ 426 h 1084"/>
                <a:gd name="T76" fmla="*/ 926 w 1021"/>
                <a:gd name="T77" fmla="*/ 403 h 1084"/>
                <a:gd name="T78" fmla="*/ 942 w 1021"/>
                <a:gd name="T79" fmla="*/ 380 h 1084"/>
                <a:gd name="T80" fmla="*/ 965 w 1021"/>
                <a:gd name="T81" fmla="*/ 371 h 1084"/>
                <a:gd name="T82" fmla="*/ 989 w 1021"/>
                <a:gd name="T83" fmla="*/ 336 h 1084"/>
                <a:gd name="T84" fmla="*/ 969 w 1021"/>
                <a:gd name="T85" fmla="*/ 304 h 1084"/>
                <a:gd name="T86" fmla="*/ 958 w 1021"/>
                <a:gd name="T87" fmla="*/ 263 h 1084"/>
                <a:gd name="T88" fmla="*/ 960 w 1021"/>
                <a:gd name="T89" fmla="*/ 233 h 1084"/>
                <a:gd name="T90" fmla="*/ 1006 w 1021"/>
                <a:gd name="T91" fmla="*/ 165 h 1084"/>
                <a:gd name="T92" fmla="*/ 957 w 1021"/>
                <a:gd name="T93" fmla="*/ 76 h 1084"/>
                <a:gd name="T94" fmla="*/ 930 w 1021"/>
                <a:gd name="T95" fmla="*/ 5 h 1084"/>
                <a:gd name="T96" fmla="*/ 866 w 1021"/>
                <a:gd name="T97" fmla="*/ 11 h 1084"/>
                <a:gd name="T98" fmla="*/ 756 w 1021"/>
                <a:gd name="T99" fmla="*/ 87 h 1084"/>
                <a:gd name="T100" fmla="*/ 681 w 1021"/>
                <a:gd name="T101" fmla="*/ 83 h 1084"/>
                <a:gd name="T102" fmla="*/ 589 w 1021"/>
                <a:gd name="T103" fmla="*/ 106 h 1084"/>
                <a:gd name="T104" fmla="*/ 535 w 1021"/>
                <a:gd name="T105" fmla="*/ 147 h 1084"/>
                <a:gd name="T106" fmla="*/ 535 w 1021"/>
                <a:gd name="T107" fmla="*/ 170 h 1084"/>
                <a:gd name="T108" fmla="*/ 519 w 1021"/>
                <a:gd name="T109" fmla="*/ 220 h 1084"/>
                <a:gd name="T110" fmla="*/ 457 w 1021"/>
                <a:gd name="T111" fmla="*/ 259 h 1084"/>
                <a:gd name="T112" fmla="*/ 420 w 1021"/>
                <a:gd name="T113" fmla="*/ 309 h 1084"/>
                <a:gd name="T114" fmla="*/ 329 w 1021"/>
                <a:gd name="T115" fmla="*/ 204 h 1084"/>
                <a:gd name="T116" fmla="*/ 253 w 1021"/>
                <a:gd name="T117" fmla="*/ 224 h 1084"/>
                <a:gd name="T118" fmla="*/ 192 w 1021"/>
                <a:gd name="T119" fmla="*/ 266 h 1084"/>
                <a:gd name="T120" fmla="*/ 144 w 1021"/>
                <a:gd name="T121" fmla="*/ 252 h 1084"/>
                <a:gd name="T122" fmla="*/ 71 w 1021"/>
                <a:gd name="T123" fmla="*/ 261 h 1084"/>
                <a:gd name="T124" fmla="*/ 64 w 1021"/>
                <a:gd name="T125" fmla="*/ 32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1" h="1084">
                  <a:moveTo>
                    <a:pt x="64" y="320"/>
                  </a:moveTo>
                  <a:lnTo>
                    <a:pt x="64" y="320"/>
                  </a:lnTo>
                  <a:lnTo>
                    <a:pt x="64" y="327"/>
                  </a:lnTo>
                  <a:lnTo>
                    <a:pt x="68" y="330"/>
                  </a:lnTo>
                  <a:lnTo>
                    <a:pt x="69" y="330"/>
                  </a:lnTo>
                  <a:lnTo>
                    <a:pt x="71" y="336"/>
                  </a:lnTo>
                  <a:lnTo>
                    <a:pt x="80" y="339"/>
                  </a:lnTo>
                  <a:lnTo>
                    <a:pt x="84" y="341"/>
                  </a:lnTo>
                  <a:lnTo>
                    <a:pt x="87" y="343"/>
                  </a:lnTo>
                  <a:lnTo>
                    <a:pt x="87" y="343"/>
                  </a:lnTo>
                  <a:lnTo>
                    <a:pt x="87" y="346"/>
                  </a:lnTo>
                  <a:lnTo>
                    <a:pt x="89" y="350"/>
                  </a:lnTo>
                  <a:lnTo>
                    <a:pt x="91" y="359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4" y="378"/>
                  </a:lnTo>
                  <a:lnTo>
                    <a:pt x="101" y="384"/>
                  </a:lnTo>
                  <a:lnTo>
                    <a:pt x="107" y="393"/>
                  </a:lnTo>
                  <a:lnTo>
                    <a:pt x="107" y="393"/>
                  </a:lnTo>
                  <a:lnTo>
                    <a:pt x="101" y="402"/>
                  </a:lnTo>
                  <a:lnTo>
                    <a:pt x="94" y="407"/>
                  </a:lnTo>
                  <a:lnTo>
                    <a:pt x="87" y="416"/>
                  </a:lnTo>
                  <a:lnTo>
                    <a:pt x="87" y="416"/>
                  </a:lnTo>
                  <a:lnTo>
                    <a:pt x="68" y="428"/>
                  </a:lnTo>
                  <a:lnTo>
                    <a:pt x="71" y="439"/>
                  </a:lnTo>
                  <a:lnTo>
                    <a:pt x="71" y="439"/>
                  </a:lnTo>
                  <a:lnTo>
                    <a:pt x="68" y="442"/>
                  </a:lnTo>
                  <a:lnTo>
                    <a:pt x="61" y="450"/>
                  </a:lnTo>
                  <a:lnTo>
                    <a:pt x="61" y="450"/>
                  </a:lnTo>
                  <a:lnTo>
                    <a:pt x="59" y="451"/>
                  </a:lnTo>
                  <a:lnTo>
                    <a:pt x="59" y="451"/>
                  </a:lnTo>
                  <a:lnTo>
                    <a:pt x="61" y="458"/>
                  </a:lnTo>
                  <a:lnTo>
                    <a:pt x="62" y="462"/>
                  </a:lnTo>
                  <a:lnTo>
                    <a:pt x="62" y="467"/>
                  </a:lnTo>
                  <a:lnTo>
                    <a:pt x="62" y="467"/>
                  </a:lnTo>
                  <a:lnTo>
                    <a:pt x="61" y="471"/>
                  </a:lnTo>
                  <a:lnTo>
                    <a:pt x="59" y="471"/>
                  </a:lnTo>
                  <a:lnTo>
                    <a:pt x="53" y="471"/>
                  </a:lnTo>
                  <a:lnTo>
                    <a:pt x="48" y="471"/>
                  </a:lnTo>
                  <a:lnTo>
                    <a:pt x="48" y="471"/>
                  </a:lnTo>
                  <a:lnTo>
                    <a:pt x="45" y="469"/>
                  </a:lnTo>
                  <a:lnTo>
                    <a:pt x="45" y="471"/>
                  </a:lnTo>
                  <a:lnTo>
                    <a:pt x="41" y="473"/>
                  </a:lnTo>
                  <a:lnTo>
                    <a:pt x="39" y="478"/>
                  </a:lnTo>
                  <a:lnTo>
                    <a:pt x="37" y="480"/>
                  </a:lnTo>
                  <a:lnTo>
                    <a:pt x="37" y="480"/>
                  </a:lnTo>
                  <a:lnTo>
                    <a:pt x="23" y="485"/>
                  </a:lnTo>
                  <a:lnTo>
                    <a:pt x="11" y="490"/>
                  </a:lnTo>
                  <a:lnTo>
                    <a:pt x="2" y="494"/>
                  </a:lnTo>
                  <a:lnTo>
                    <a:pt x="2" y="494"/>
                  </a:lnTo>
                  <a:lnTo>
                    <a:pt x="0" y="499"/>
                  </a:lnTo>
                  <a:lnTo>
                    <a:pt x="0" y="503"/>
                  </a:lnTo>
                  <a:lnTo>
                    <a:pt x="4" y="505"/>
                  </a:lnTo>
                  <a:lnTo>
                    <a:pt x="7" y="508"/>
                  </a:lnTo>
                  <a:lnTo>
                    <a:pt x="16" y="517"/>
                  </a:lnTo>
                  <a:lnTo>
                    <a:pt x="18" y="519"/>
                  </a:lnTo>
                  <a:lnTo>
                    <a:pt x="20" y="522"/>
                  </a:lnTo>
                  <a:lnTo>
                    <a:pt x="20" y="522"/>
                  </a:lnTo>
                  <a:lnTo>
                    <a:pt x="23" y="565"/>
                  </a:lnTo>
                  <a:lnTo>
                    <a:pt x="25" y="602"/>
                  </a:lnTo>
                  <a:lnTo>
                    <a:pt x="25" y="602"/>
                  </a:lnTo>
                  <a:lnTo>
                    <a:pt x="5" y="626"/>
                  </a:lnTo>
                  <a:lnTo>
                    <a:pt x="5" y="626"/>
                  </a:lnTo>
                  <a:lnTo>
                    <a:pt x="4" y="627"/>
                  </a:lnTo>
                  <a:lnTo>
                    <a:pt x="5" y="631"/>
                  </a:lnTo>
                  <a:lnTo>
                    <a:pt x="11" y="634"/>
                  </a:lnTo>
                  <a:lnTo>
                    <a:pt x="18" y="643"/>
                  </a:lnTo>
                  <a:lnTo>
                    <a:pt x="18" y="661"/>
                  </a:lnTo>
                  <a:lnTo>
                    <a:pt x="18" y="661"/>
                  </a:lnTo>
                  <a:lnTo>
                    <a:pt x="20" y="666"/>
                  </a:lnTo>
                  <a:lnTo>
                    <a:pt x="21" y="668"/>
                  </a:lnTo>
                  <a:lnTo>
                    <a:pt x="23" y="670"/>
                  </a:lnTo>
                  <a:lnTo>
                    <a:pt x="23" y="670"/>
                  </a:lnTo>
                  <a:lnTo>
                    <a:pt x="25" y="672"/>
                  </a:lnTo>
                  <a:lnTo>
                    <a:pt x="25" y="675"/>
                  </a:lnTo>
                  <a:lnTo>
                    <a:pt x="27" y="686"/>
                  </a:lnTo>
                  <a:lnTo>
                    <a:pt x="27" y="686"/>
                  </a:lnTo>
                  <a:lnTo>
                    <a:pt x="27" y="691"/>
                  </a:lnTo>
                  <a:lnTo>
                    <a:pt x="30" y="695"/>
                  </a:lnTo>
                  <a:lnTo>
                    <a:pt x="32" y="698"/>
                  </a:lnTo>
                  <a:lnTo>
                    <a:pt x="37" y="704"/>
                  </a:lnTo>
                  <a:lnTo>
                    <a:pt x="37" y="704"/>
                  </a:lnTo>
                  <a:lnTo>
                    <a:pt x="37" y="704"/>
                  </a:lnTo>
                  <a:lnTo>
                    <a:pt x="37" y="706"/>
                  </a:lnTo>
                  <a:lnTo>
                    <a:pt x="32" y="711"/>
                  </a:lnTo>
                  <a:lnTo>
                    <a:pt x="27" y="714"/>
                  </a:lnTo>
                  <a:lnTo>
                    <a:pt x="23" y="723"/>
                  </a:lnTo>
                  <a:lnTo>
                    <a:pt x="23" y="723"/>
                  </a:lnTo>
                  <a:lnTo>
                    <a:pt x="20" y="729"/>
                  </a:lnTo>
                  <a:lnTo>
                    <a:pt x="20" y="734"/>
                  </a:lnTo>
                  <a:lnTo>
                    <a:pt x="18" y="748"/>
                  </a:lnTo>
                  <a:lnTo>
                    <a:pt x="18" y="748"/>
                  </a:lnTo>
                  <a:lnTo>
                    <a:pt x="18" y="752"/>
                  </a:lnTo>
                  <a:lnTo>
                    <a:pt x="18" y="754"/>
                  </a:lnTo>
                  <a:lnTo>
                    <a:pt x="21" y="757"/>
                  </a:lnTo>
                  <a:lnTo>
                    <a:pt x="27" y="757"/>
                  </a:lnTo>
                  <a:lnTo>
                    <a:pt x="27" y="757"/>
                  </a:lnTo>
                  <a:lnTo>
                    <a:pt x="30" y="759"/>
                  </a:lnTo>
                  <a:lnTo>
                    <a:pt x="37" y="759"/>
                  </a:lnTo>
                  <a:lnTo>
                    <a:pt x="43" y="759"/>
                  </a:lnTo>
                  <a:lnTo>
                    <a:pt x="48" y="762"/>
                  </a:lnTo>
                  <a:lnTo>
                    <a:pt x="48" y="762"/>
                  </a:lnTo>
                  <a:lnTo>
                    <a:pt x="59" y="762"/>
                  </a:lnTo>
                  <a:lnTo>
                    <a:pt x="68" y="762"/>
                  </a:lnTo>
                  <a:lnTo>
                    <a:pt x="80" y="762"/>
                  </a:lnTo>
                  <a:lnTo>
                    <a:pt x="80" y="762"/>
                  </a:lnTo>
                  <a:lnTo>
                    <a:pt x="80" y="764"/>
                  </a:lnTo>
                  <a:lnTo>
                    <a:pt x="89" y="784"/>
                  </a:lnTo>
                  <a:lnTo>
                    <a:pt x="89" y="784"/>
                  </a:lnTo>
                  <a:lnTo>
                    <a:pt x="91" y="787"/>
                  </a:lnTo>
                  <a:lnTo>
                    <a:pt x="91" y="789"/>
                  </a:lnTo>
                  <a:lnTo>
                    <a:pt x="89" y="791"/>
                  </a:lnTo>
                  <a:lnTo>
                    <a:pt x="87" y="791"/>
                  </a:lnTo>
                  <a:lnTo>
                    <a:pt x="82" y="793"/>
                  </a:lnTo>
                  <a:lnTo>
                    <a:pt x="80" y="794"/>
                  </a:lnTo>
                  <a:lnTo>
                    <a:pt x="77" y="794"/>
                  </a:lnTo>
                  <a:lnTo>
                    <a:pt x="77" y="794"/>
                  </a:lnTo>
                  <a:lnTo>
                    <a:pt x="77" y="798"/>
                  </a:lnTo>
                  <a:lnTo>
                    <a:pt x="77" y="798"/>
                  </a:lnTo>
                  <a:lnTo>
                    <a:pt x="82" y="798"/>
                  </a:lnTo>
                  <a:lnTo>
                    <a:pt x="89" y="798"/>
                  </a:lnTo>
                  <a:lnTo>
                    <a:pt x="100" y="803"/>
                  </a:lnTo>
                  <a:lnTo>
                    <a:pt x="100" y="803"/>
                  </a:lnTo>
                  <a:lnTo>
                    <a:pt x="103" y="805"/>
                  </a:lnTo>
                  <a:lnTo>
                    <a:pt x="107" y="807"/>
                  </a:lnTo>
                  <a:lnTo>
                    <a:pt x="109" y="812"/>
                  </a:lnTo>
                  <a:lnTo>
                    <a:pt x="110" y="816"/>
                  </a:lnTo>
                  <a:lnTo>
                    <a:pt x="112" y="826"/>
                  </a:lnTo>
                  <a:lnTo>
                    <a:pt x="114" y="828"/>
                  </a:lnTo>
                  <a:lnTo>
                    <a:pt x="117" y="832"/>
                  </a:lnTo>
                  <a:lnTo>
                    <a:pt x="117" y="832"/>
                  </a:lnTo>
                  <a:lnTo>
                    <a:pt x="119" y="834"/>
                  </a:lnTo>
                  <a:lnTo>
                    <a:pt x="119" y="834"/>
                  </a:lnTo>
                  <a:lnTo>
                    <a:pt x="119" y="837"/>
                  </a:lnTo>
                  <a:lnTo>
                    <a:pt x="117" y="841"/>
                  </a:lnTo>
                  <a:lnTo>
                    <a:pt x="112" y="850"/>
                  </a:lnTo>
                  <a:lnTo>
                    <a:pt x="112" y="850"/>
                  </a:lnTo>
                  <a:lnTo>
                    <a:pt x="112" y="853"/>
                  </a:lnTo>
                  <a:lnTo>
                    <a:pt x="112" y="855"/>
                  </a:lnTo>
                  <a:lnTo>
                    <a:pt x="114" y="857"/>
                  </a:lnTo>
                  <a:lnTo>
                    <a:pt x="117" y="857"/>
                  </a:lnTo>
                  <a:lnTo>
                    <a:pt x="123" y="857"/>
                  </a:lnTo>
                  <a:lnTo>
                    <a:pt x="126" y="857"/>
                  </a:lnTo>
                  <a:lnTo>
                    <a:pt x="128" y="858"/>
                  </a:lnTo>
                  <a:lnTo>
                    <a:pt x="128" y="858"/>
                  </a:lnTo>
                  <a:lnTo>
                    <a:pt x="132" y="858"/>
                  </a:lnTo>
                  <a:lnTo>
                    <a:pt x="132" y="864"/>
                  </a:lnTo>
                  <a:lnTo>
                    <a:pt x="132" y="866"/>
                  </a:lnTo>
                  <a:lnTo>
                    <a:pt x="132" y="869"/>
                  </a:lnTo>
                  <a:lnTo>
                    <a:pt x="130" y="876"/>
                  </a:lnTo>
                  <a:lnTo>
                    <a:pt x="126" y="882"/>
                  </a:lnTo>
                  <a:lnTo>
                    <a:pt x="126" y="882"/>
                  </a:lnTo>
                  <a:lnTo>
                    <a:pt x="125" y="882"/>
                  </a:lnTo>
                  <a:lnTo>
                    <a:pt x="125" y="887"/>
                  </a:lnTo>
                  <a:lnTo>
                    <a:pt x="126" y="890"/>
                  </a:lnTo>
                  <a:lnTo>
                    <a:pt x="128" y="898"/>
                  </a:lnTo>
                  <a:lnTo>
                    <a:pt x="130" y="901"/>
                  </a:lnTo>
                  <a:lnTo>
                    <a:pt x="130" y="901"/>
                  </a:lnTo>
                  <a:lnTo>
                    <a:pt x="132" y="905"/>
                  </a:lnTo>
                  <a:lnTo>
                    <a:pt x="133" y="908"/>
                  </a:lnTo>
                  <a:lnTo>
                    <a:pt x="141" y="912"/>
                  </a:lnTo>
                  <a:lnTo>
                    <a:pt x="153" y="919"/>
                  </a:lnTo>
                  <a:lnTo>
                    <a:pt x="153" y="919"/>
                  </a:lnTo>
                  <a:lnTo>
                    <a:pt x="155" y="919"/>
                  </a:lnTo>
                  <a:lnTo>
                    <a:pt x="155" y="922"/>
                  </a:lnTo>
                  <a:lnTo>
                    <a:pt x="155" y="930"/>
                  </a:lnTo>
                  <a:lnTo>
                    <a:pt x="151" y="942"/>
                  </a:lnTo>
                  <a:lnTo>
                    <a:pt x="151" y="942"/>
                  </a:lnTo>
                  <a:lnTo>
                    <a:pt x="144" y="958"/>
                  </a:lnTo>
                  <a:lnTo>
                    <a:pt x="142" y="967"/>
                  </a:lnTo>
                  <a:lnTo>
                    <a:pt x="142" y="978"/>
                  </a:lnTo>
                  <a:lnTo>
                    <a:pt x="142" y="978"/>
                  </a:lnTo>
                  <a:lnTo>
                    <a:pt x="141" y="990"/>
                  </a:lnTo>
                  <a:lnTo>
                    <a:pt x="139" y="999"/>
                  </a:lnTo>
                  <a:lnTo>
                    <a:pt x="135" y="1010"/>
                  </a:lnTo>
                  <a:lnTo>
                    <a:pt x="135" y="1015"/>
                  </a:lnTo>
                  <a:lnTo>
                    <a:pt x="135" y="1017"/>
                  </a:lnTo>
                  <a:lnTo>
                    <a:pt x="135" y="1017"/>
                  </a:lnTo>
                  <a:lnTo>
                    <a:pt x="141" y="1022"/>
                  </a:lnTo>
                  <a:lnTo>
                    <a:pt x="148" y="1027"/>
                  </a:lnTo>
                  <a:lnTo>
                    <a:pt x="155" y="1029"/>
                  </a:lnTo>
                  <a:lnTo>
                    <a:pt x="164" y="1031"/>
                  </a:lnTo>
                  <a:lnTo>
                    <a:pt x="164" y="1031"/>
                  </a:lnTo>
                  <a:lnTo>
                    <a:pt x="167" y="1029"/>
                  </a:lnTo>
                  <a:lnTo>
                    <a:pt x="169" y="1029"/>
                  </a:lnTo>
                  <a:lnTo>
                    <a:pt x="171" y="1027"/>
                  </a:lnTo>
                  <a:lnTo>
                    <a:pt x="171" y="1022"/>
                  </a:lnTo>
                  <a:lnTo>
                    <a:pt x="171" y="1020"/>
                  </a:lnTo>
                  <a:lnTo>
                    <a:pt x="173" y="1018"/>
                  </a:lnTo>
                  <a:lnTo>
                    <a:pt x="174" y="1017"/>
                  </a:lnTo>
                  <a:lnTo>
                    <a:pt x="180" y="1017"/>
                  </a:lnTo>
                  <a:lnTo>
                    <a:pt x="180" y="1017"/>
                  </a:lnTo>
                  <a:lnTo>
                    <a:pt x="181" y="1017"/>
                  </a:lnTo>
                  <a:lnTo>
                    <a:pt x="189" y="1015"/>
                  </a:lnTo>
                  <a:lnTo>
                    <a:pt x="201" y="1011"/>
                  </a:lnTo>
                  <a:lnTo>
                    <a:pt x="212" y="1004"/>
                  </a:lnTo>
                  <a:lnTo>
                    <a:pt x="215" y="1002"/>
                  </a:lnTo>
                  <a:lnTo>
                    <a:pt x="221" y="1001"/>
                  </a:lnTo>
                  <a:lnTo>
                    <a:pt x="221" y="1001"/>
                  </a:lnTo>
                  <a:lnTo>
                    <a:pt x="224" y="1002"/>
                  </a:lnTo>
                  <a:lnTo>
                    <a:pt x="226" y="1002"/>
                  </a:lnTo>
                  <a:lnTo>
                    <a:pt x="228" y="1010"/>
                  </a:lnTo>
                  <a:lnTo>
                    <a:pt x="231" y="1018"/>
                  </a:lnTo>
                  <a:lnTo>
                    <a:pt x="231" y="1018"/>
                  </a:lnTo>
                  <a:lnTo>
                    <a:pt x="235" y="1015"/>
                  </a:lnTo>
                  <a:lnTo>
                    <a:pt x="240" y="1011"/>
                  </a:lnTo>
                  <a:lnTo>
                    <a:pt x="245" y="1011"/>
                  </a:lnTo>
                  <a:lnTo>
                    <a:pt x="245" y="1011"/>
                  </a:lnTo>
                  <a:lnTo>
                    <a:pt x="247" y="1010"/>
                  </a:lnTo>
                  <a:lnTo>
                    <a:pt x="249" y="1008"/>
                  </a:lnTo>
                  <a:lnTo>
                    <a:pt x="249" y="1002"/>
                  </a:lnTo>
                  <a:lnTo>
                    <a:pt x="249" y="999"/>
                  </a:lnTo>
                  <a:lnTo>
                    <a:pt x="249" y="995"/>
                  </a:lnTo>
                  <a:lnTo>
                    <a:pt x="249" y="995"/>
                  </a:lnTo>
                  <a:lnTo>
                    <a:pt x="249" y="994"/>
                  </a:lnTo>
                  <a:lnTo>
                    <a:pt x="249" y="990"/>
                  </a:lnTo>
                  <a:lnTo>
                    <a:pt x="253" y="981"/>
                  </a:lnTo>
                  <a:lnTo>
                    <a:pt x="260" y="974"/>
                  </a:lnTo>
                  <a:lnTo>
                    <a:pt x="265" y="967"/>
                  </a:lnTo>
                  <a:lnTo>
                    <a:pt x="265" y="967"/>
                  </a:lnTo>
                  <a:lnTo>
                    <a:pt x="269" y="962"/>
                  </a:lnTo>
                  <a:lnTo>
                    <a:pt x="272" y="958"/>
                  </a:lnTo>
                  <a:lnTo>
                    <a:pt x="276" y="947"/>
                  </a:lnTo>
                  <a:lnTo>
                    <a:pt x="281" y="937"/>
                  </a:lnTo>
                  <a:lnTo>
                    <a:pt x="283" y="933"/>
                  </a:lnTo>
                  <a:lnTo>
                    <a:pt x="285" y="931"/>
                  </a:lnTo>
                  <a:lnTo>
                    <a:pt x="285" y="931"/>
                  </a:lnTo>
                  <a:lnTo>
                    <a:pt x="288" y="930"/>
                  </a:lnTo>
                  <a:lnTo>
                    <a:pt x="290" y="928"/>
                  </a:lnTo>
                  <a:lnTo>
                    <a:pt x="297" y="928"/>
                  </a:lnTo>
                  <a:lnTo>
                    <a:pt x="313" y="930"/>
                  </a:lnTo>
                  <a:lnTo>
                    <a:pt x="313" y="930"/>
                  </a:lnTo>
                  <a:lnTo>
                    <a:pt x="318" y="931"/>
                  </a:lnTo>
                  <a:lnTo>
                    <a:pt x="329" y="935"/>
                  </a:lnTo>
                  <a:lnTo>
                    <a:pt x="341" y="940"/>
                  </a:lnTo>
                  <a:lnTo>
                    <a:pt x="336" y="951"/>
                  </a:lnTo>
                  <a:lnTo>
                    <a:pt x="336" y="951"/>
                  </a:lnTo>
                  <a:lnTo>
                    <a:pt x="341" y="954"/>
                  </a:lnTo>
                  <a:lnTo>
                    <a:pt x="343" y="958"/>
                  </a:lnTo>
                  <a:lnTo>
                    <a:pt x="345" y="967"/>
                  </a:lnTo>
                  <a:lnTo>
                    <a:pt x="345" y="967"/>
                  </a:lnTo>
                  <a:lnTo>
                    <a:pt x="347" y="967"/>
                  </a:lnTo>
                  <a:lnTo>
                    <a:pt x="349" y="969"/>
                  </a:lnTo>
                  <a:lnTo>
                    <a:pt x="354" y="967"/>
                  </a:lnTo>
                  <a:lnTo>
                    <a:pt x="359" y="963"/>
                  </a:lnTo>
                  <a:lnTo>
                    <a:pt x="366" y="962"/>
                  </a:lnTo>
                  <a:lnTo>
                    <a:pt x="366" y="962"/>
                  </a:lnTo>
                  <a:lnTo>
                    <a:pt x="370" y="962"/>
                  </a:lnTo>
                  <a:lnTo>
                    <a:pt x="373" y="960"/>
                  </a:lnTo>
                  <a:lnTo>
                    <a:pt x="375" y="958"/>
                  </a:lnTo>
                  <a:lnTo>
                    <a:pt x="382" y="960"/>
                  </a:lnTo>
                  <a:lnTo>
                    <a:pt x="382" y="960"/>
                  </a:lnTo>
                  <a:lnTo>
                    <a:pt x="384" y="962"/>
                  </a:lnTo>
                  <a:lnTo>
                    <a:pt x="386" y="963"/>
                  </a:lnTo>
                  <a:lnTo>
                    <a:pt x="389" y="970"/>
                  </a:lnTo>
                  <a:lnTo>
                    <a:pt x="389" y="978"/>
                  </a:lnTo>
                  <a:lnTo>
                    <a:pt x="398" y="1002"/>
                  </a:lnTo>
                  <a:lnTo>
                    <a:pt x="409" y="1004"/>
                  </a:lnTo>
                  <a:lnTo>
                    <a:pt x="413" y="1018"/>
                  </a:lnTo>
                  <a:lnTo>
                    <a:pt x="413" y="1020"/>
                  </a:lnTo>
                  <a:lnTo>
                    <a:pt x="413" y="1020"/>
                  </a:lnTo>
                  <a:lnTo>
                    <a:pt x="413" y="1020"/>
                  </a:lnTo>
                  <a:lnTo>
                    <a:pt x="414" y="1020"/>
                  </a:lnTo>
                  <a:lnTo>
                    <a:pt x="414" y="1020"/>
                  </a:lnTo>
                  <a:lnTo>
                    <a:pt x="416" y="1031"/>
                  </a:lnTo>
                  <a:lnTo>
                    <a:pt x="418" y="1040"/>
                  </a:lnTo>
                  <a:lnTo>
                    <a:pt x="418" y="1040"/>
                  </a:lnTo>
                  <a:lnTo>
                    <a:pt x="420" y="1042"/>
                  </a:lnTo>
                  <a:lnTo>
                    <a:pt x="423" y="1043"/>
                  </a:lnTo>
                  <a:lnTo>
                    <a:pt x="425" y="1045"/>
                  </a:lnTo>
                  <a:lnTo>
                    <a:pt x="425" y="1049"/>
                  </a:lnTo>
                  <a:lnTo>
                    <a:pt x="425" y="1049"/>
                  </a:lnTo>
                  <a:lnTo>
                    <a:pt x="427" y="1049"/>
                  </a:lnTo>
                  <a:lnTo>
                    <a:pt x="429" y="1050"/>
                  </a:lnTo>
                  <a:lnTo>
                    <a:pt x="429" y="1052"/>
                  </a:lnTo>
                  <a:lnTo>
                    <a:pt x="430" y="1050"/>
                  </a:lnTo>
                  <a:lnTo>
                    <a:pt x="430" y="1050"/>
                  </a:lnTo>
                  <a:lnTo>
                    <a:pt x="430" y="1049"/>
                  </a:lnTo>
                  <a:lnTo>
                    <a:pt x="430" y="1050"/>
                  </a:lnTo>
                  <a:lnTo>
                    <a:pt x="434" y="1054"/>
                  </a:lnTo>
                  <a:lnTo>
                    <a:pt x="434" y="1054"/>
                  </a:lnTo>
                  <a:lnTo>
                    <a:pt x="436" y="1058"/>
                  </a:lnTo>
                  <a:lnTo>
                    <a:pt x="446" y="1059"/>
                  </a:lnTo>
                  <a:lnTo>
                    <a:pt x="453" y="1079"/>
                  </a:lnTo>
                  <a:lnTo>
                    <a:pt x="453" y="1079"/>
                  </a:lnTo>
                  <a:lnTo>
                    <a:pt x="459" y="1075"/>
                  </a:lnTo>
                  <a:lnTo>
                    <a:pt x="468" y="1072"/>
                  </a:lnTo>
                  <a:lnTo>
                    <a:pt x="468" y="1072"/>
                  </a:lnTo>
                  <a:lnTo>
                    <a:pt x="471" y="1068"/>
                  </a:lnTo>
                  <a:lnTo>
                    <a:pt x="477" y="1065"/>
                  </a:lnTo>
                  <a:lnTo>
                    <a:pt x="482" y="1063"/>
                  </a:lnTo>
                  <a:lnTo>
                    <a:pt x="485" y="1061"/>
                  </a:lnTo>
                  <a:lnTo>
                    <a:pt x="485" y="1061"/>
                  </a:lnTo>
                  <a:lnTo>
                    <a:pt x="493" y="1061"/>
                  </a:lnTo>
                  <a:lnTo>
                    <a:pt x="496" y="1061"/>
                  </a:lnTo>
                  <a:lnTo>
                    <a:pt x="498" y="1063"/>
                  </a:lnTo>
                  <a:lnTo>
                    <a:pt x="498" y="1063"/>
                  </a:lnTo>
                  <a:lnTo>
                    <a:pt x="501" y="1065"/>
                  </a:lnTo>
                  <a:lnTo>
                    <a:pt x="507" y="1070"/>
                  </a:lnTo>
                  <a:lnTo>
                    <a:pt x="509" y="1072"/>
                  </a:lnTo>
                  <a:lnTo>
                    <a:pt x="510" y="1072"/>
                  </a:lnTo>
                  <a:lnTo>
                    <a:pt x="512" y="1072"/>
                  </a:lnTo>
                  <a:lnTo>
                    <a:pt x="512" y="1072"/>
                  </a:lnTo>
                  <a:lnTo>
                    <a:pt x="517" y="1070"/>
                  </a:lnTo>
                  <a:lnTo>
                    <a:pt x="521" y="1068"/>
                  </a:lnTo>
                  <a:lnTo>
                    <a:pt x="526" y="1070"/>
                  </a:lnTo>
                  <a:lnTo>
                    <a:pt x="526" y="1070"/>
                  </a:lnTo>
                  <a:lnTo>
                    <a:pt x="533" y="1074"/>
                  </a:lnTo>
                  <a:lnTo>
                    <a:pt x="539" y="1075"/>
                  </a:lnTo>
                  <a:lnTo>
                    <a:pt x="541" y="1074"/>
                  </a:lnTo>
                  <a:lnTo>
                    <a:pt x="541" y="1074"/>
                  </a:lnTo>
                  <a:lnTo>
                    <a:pt x="546" y="1070"/>
                  </a:lnTo>
                  <a:lnTo>
                    <a:pt x="546" y="1068"/>
                  </a:lnTo>
                  <a:lnTo>
                    <a:pt x="549" y="1070"/>
                  </a:lnTo>
                  <a:lnTo>
                    <a:pt x="549" y="1070"/>
                  </a:lnTo>
                  <a:lnTo>
                    <a:pt x="553" y="1072"/>
                  </a:lnTo>
                  <a:lnTo>
                    <a:pt x="557" y="1072"/>
                  </a:lnTo>
                  <a:lnTo>
                    <a:pt x="562" y="1072"/>
                  </a:lnTo>
                  <a:lnTo>
                    <a:pt x="567" y="1070"/>
                  </a:lnTo>
                  <a:lnTo>
                    <a:pt x="567" y="1070"/>
                  </a:lnTo>
                  <a:lnTo>
                    <a:pt x="574" y="1068"/>
                  </a:lnTo>
                  <a:lnTo>
                    <a:pt x="580" y="1068"/>
                  </a:lnTo>
                  <a:lnTo>
                    <a:pt x="583" y="1070"/>
                  </a:lnTo>
                  <a:lnTo>
                    <a:pt x="583" y="1070"/>
                  </a:lnTo>
                  <a:lnTo>
                    <a:pt x="594" y="1075"/>
                  </a:lnTo>
                  <a:lnTo>
                    <a:pt x="597" y="1079"/>
                  </a:lnTo>
                  <a:lnTo>
                    <a:pt x="601" y="1081"/>
                  </a:lnTo>
                  <a:lnTo>
                    <a:pt x="601" y="1081"/>
                  </a:lnTo>
                  <a:lnTo>
                    <a:pt x="606" y="1084"/>
                  </a:lnTo>
                  <a:lnTo>
                    <a:pt x="606" y="1084"/>
                  </a:lnTo>
                  <a:lnTo>
                    <a:pt x="608" y="1082"/>
                  </a:lnTo>
                  <a:lnTo>
                    <a:pt x="608" y="1082"/>
                  </a:lnTo>
                  <a:lnTo>
                    <a:pt x="612" y="1082"/>
                  </a:lnTo>
                  <a:lnTo>
                    <a:pt x="617" y="1082"/>
                  </a:lnTo>
                  <a:lnTo>
                    <a:pt x="617" y="1082"/>
                  </a:lnTo>
                  <a:lnTo>
                    <a:pt x="624" y="1079"/>
                  </a:lnTo>
                  <a:lnTo>
                    <a:pt x="631" y="1079"/>
                  </a:lnTo>
                  <a:lnTo>
                    <a:pt x="631" y="1079"/>
                  </a:lnTo>
                  <a:lnTo>
                    <a:pt x="633" y="1079"/>
                  </a:lnTo>
                  <a:lnTo>
                    <a:pt x="635" y="1079"/>
                  </a:lnTo>
                  <a:lnTo>
                    <a:pt x="637" y="1079"/>
                  </a:lnTo>
                  <a:lnTo>
                    <a:pt x="640" y="1079"/>
                  </a:lnTo>
                  <a:lnTo>
                    <a:pt x="640" y="1079"/>
                  </a:lnTo>
                  <a:lnTo>
                    <a:pt x="642" y="1079"/>
                  </a:lnTo>
                  <a:lnTo>
                    <a:pt x="644" y="1077"/>
                  </a:lnTo>
                  <a:lnTo>
                    <a:pt x="647" y="1075"/>
                  </a:lnTo>
                  <a:lnTo>
                    <a:pt x="649" y="1075"/>
                  </a:lnTo>
                  <a:lnTo>
                    <a:pt x="649" y="1075"/>
                  </a:lnTo>
                  <a:lnTo>
                    <a:pt x="651" y="1075"/>
                  </a:lnTo>
                  <a:lnTo>
                    <a:pt x="654" y="1077"/>
                  </a:lnTo>
                  <a:lnTo>
                    <a:pt x="656" y="1079"/>
                  </a:lnTo>
                  <a:lnTo>
                    <a:pt x="658" y="1081"/>
                  </a:lnTo>
                  <a:lnTo>
                    <a:pt x="658" y="1081"/>
                  </a:lnTo>
                  <a:lnTo>
                    <a:pt x="660" y="1082"/>
                  </a:lnTo>
                  <a:lnTo>
                    <a:pt x="661" y="1081"/>
                  </a:lnTo>
                  <a:lnTo>
                    <a:pt x="665" y="1079"/>
                  </a:lnTo>
                  <a:lnTo>
                    <a:pt x="665" y="1079"/>
                  </a:lnTo>
                  <a:lnTo>
                    <a:pt x="669" y="1077"/>
                  </a:lnTo>
                  <a:lnTo>
                    <a:pt x="672" y="1075"/>
                  </a:lnTo>
                  <a:lnTo>
                    <a:pt x="672" y="1075"/>
                  </a:lnTo>
                  <a:lnTo>
                    <a:pt x="674" y="1075"/>
                  </a:lnTo>
                  <a:lnTo>
                    <a:pt x="677" y="1075"/>
                  </a:lnTo>
                  <a:lnTo>
                    <a:pt x="679" y="1075"/>
                  </a:lnTo>
                  <a:lnTo>
                    <a:pt x="681" y="1074"/>
                  </a:lnTo>
                  <a:lnTo>
                    <a:pt x="681" y="1074"/>
                  </a:lnTo>
                  <a:lnTo>
                    <a:pt x="681" y="1072"/>
                  </a:lnTo>
                  <a:lnTo>
                    <a:pt x="683" y="1068"/>
                  </a:lnTo>
                  <a:lnTo>
                    <a:pt x="685" y="1068"/>
                  </a:lnTo>
                  <a:lnTo>
                    <a:pt x="685" y="1068"/>
                  </a:lnTo>
                  <a:lnTo>
                    <a:pt x="690" y="1068"/>
                  </a:lnTo>
                  <a:lnTo>
                    <a:pt x="692" y="1068"/>
                  </a:lnTo>
                  <a:lnTo>
                    <a:pt x="695" y="1070"/>
                  </a:lnTo>
                  <a:lnTo>
                    <a:pt x="697" y="1070"/>
                  </a:lnTo>
                  <a:lnTo>
                    <a:pt x="697" y="1070"/>
                  </a:lnTo>
                  <a:lnTo>
                    <a:pt x="699" y="1068"/>
                  </a:lnTo>
                  <a:lnTo>
                    <a:pt x="699" y="1065"/>
                  </a:lnTo>
                  <a:lnTo>
                    <a:pt x="699" y="1061"/>
                  </a:lnTo>
                  <a:lnTo>
                    <a:pt x="701" y="1059"/>
                  </a:lnTo>
                  <a:lnTo>
                    <a:pt x="701" y="1059"/>
                  </a:lnTo>
                  <a:lnTo>
                    <a:pt x="706" y="1058"/>
                  </a:lnTo>
                  <a:lnTo>
                    <a:pt x="715" y="1054"/>
                  </a:lnTo>
                  <a:lnTo>
                    <a:pt x="715" y="1054"/>
                  </a:lnTo>
                  <a:lnTo>
                    <a:pt x="725" y="1056"/>
                  </a:lnTo>
                  <a:lnTo>
                    <a:pt x="734" y="1056"/>
                  </a:lnTo>
                  <a:lnTo>
                    <a:pt x="734" y="1054"/>
                  </a:lnTo>
                  <a:lnTo>
                    <a:pt x="738" y="1054"/>
                  </a:lnTo>
                  <a:lnTo>
                    <a:pt x="738" y="1054"/>
                  </a:lnTo>
                  <a:lnTo>
                    <a:pt x="738" y="1052"/>
                  </a:lnTo>
                  <a:lnTo>
                    <a:pt x="738" y="1049"/>
                  </a:lnTo>
                  <a:lnTo>
                    <a:pt x="738" y="1045"/>
                  </a:lnTo>
                  <a:lnTo>
                    <a:pt x="738" y="1043"/>
                  </a:lnTo>
                  <a:lnTo>
                    <a:pt x="738" y="1042"/>
                  </a:lnTo>
                  <a:lnTo>
                    <a:pt x="738" y="1042"/>
                  </a:lnTo>
                  <a:lnTo>
                    <a:pt x="775" y="1024"/>
                  </a:lnTo>
                  <a:lnTo>
                    <a:pt x="775" y="1024"/>
                  </a:lnTo>
                  <a:lnTo>
                    <a:pt x="781" y="1022"/>
                  </a:lnTo>
                  <a:lnTo>
                    <a:pt x="788" y="1020"/>
                  </a:lnTo>
                  <a:lnTo>
                    <a:pt x="784" y="1015"/>
                  </a:lnTo>
                  <a:lnTo>
                    <a:pt x="781" y="1010"/>
                  </a:lnTo>
                  <a:lnTo>
                    <a:pt x="781" y="1010"/>
                  </a:lnTo>
                  <a:lnTo>
                    <a:pt x="779" y="1002"/>
                  </a:lnTo>
                  <a:lnTo>
                    <a:pt x="779" y="999"/>
                  </a:lnTo>
                  <a:lnTo>
                    <a:pt x="779" y="995"/>
                  </a:lnTo>
                  <a:lnTo>
                    <a:pt x="779" y="995"/>
                  </a:lnTo>
                  <a:lnTo>
                    <a:pt x="781" y="994"/>
                  </a:lnTo>
                  <a:lnTo>
                    <a:pt x="779" y="988"/>
                  </a:lnTo>
                  <a:lnTo>
                    <a:pt x="779" y="983"/>
                  </a:lnTo>
                  <a:lnTo>
                    <a:pt x="779" y="979"/>
                  </a:lnTo>
                  <a:lnTo>
                    <a:pt x="779" y="979"/>
                  </a:lnTo>
                  <a:lnTo>
                    <a:pt x="779" y="979"/>
                  </a:lnTo>
                  <a:lnTo>
                    <a:pt x="782" y="976"/>
                  </a:lnTo>
                  <a:lnTo>
                    <a:pt x="784" y="976"/>
                  </a:lnTo>
                  <a:lnTo>
                    <a:pt x="791" y="974"/>
                  </a:lnTo>
                  <a:lnTo>
                    <a:pt x="791" y="974"/>
                  </a:lnTo>
                  <a:lnTo>
                    <a:pt x="788" y="967"/>
                  </a:lnTo>
                  <a:lnTo>
                    <a:pt x="786" y="962"/>
                  </a:lnTo>
                  <a:lnTo>
                    <a:pt x="784" y="958"/>
                  </a:lnTo>
                  <a:lnTo>
                    <a:pt x="784" y="958"/>
                  </a:lnTo>
                  <a:lnTo>
                    <a:pt x="777" y="954"/>
                  </a:lnTo>
                  <a:lnTo>
                    <a:pt x="770" y="949"/>
                  </a:lnTo>
                  <a:lnTo>
                    <a:pt x="770" y="949"/>
                  </a:lnTo>
                  <a:lnTo>
                    <a:pt x="759" y="942"/>
                  </a:lnTo>
                  <a:lnTo>
                    <a:pt x="759" y="938"/>
                  </a:lnTo>
                  <a:lnTo>
                    <a:pt x="759" y="938"/>
                  </a:lnTo>
                  <a:lnTo>
                    <a:pt x="763" y="938"/>
                  </a:lnTo>
                  <a:lnTo>
                    <a:pt x="766" y="938"/>
                  </a:lnTo>
                  <a:lnTo>
                    <a:pt x="770" y="938"/>
                  </a:lnTo>
                  <a:lnTo>
                    <a:pt x="770" y="937"/>
                  </a:lnTo>
                  <a:lnTo>
                    <a:pt x="770" y="937"/>
                  </a:lnTo>
                  <a:lnTo>
                    <a:pt x="766" y="931"/>
                  </a:lnTo>
                  <a:lnTo>
                    <a:pt x="765" y="922"/>
                  </a:lnTo>
                  <a:lnTo>
                    <a:pt x="765" y="922"/>
                  </a:lnTo>
                  <a:lnTo>
                    <a:pt x="765" y="921"/>
                  </a:lnTo>
                  <a:lnTo>
                    <a:pt x="770" y="917"/>
                  </a:lnTo>
                  <a:lnTo>
                    <a:pt x="772" y="914"/>
                  </a:lnTo>
                  <a:lnTo>
                    <a:pt x="761" y="906"/>
                  </a:lnTo>
                  <a:lnTo>
                    <a:pt x="745" y="896"/>
                  </a:lnTo>
                  <a:lnTo>
                    <a:pt x="745" y="896"/>
                  </a:lnTo>
                  <a:lnTo>
                    <a:pt x="747" y="894"/>
                  </a:lnTo>
                  <a:lnTo>
                    <a:pt x="750" y="894"/>
                  </a:lnTo>
                  <a:lnTo>
                    <a:pt x="750" y="894"/>
                  </a:lnTo>
                  <a:lnTo>
                    <a:pt x="761" y="894"/>
                  </a:lnTo>
                  <a:lnTo>
                    <a:pt x="759" y="889"/>
                  </a:lnTo>
                  <a:lnTo>
                    <a:pt x="759" y="882"/>
                  </a:lnTo>
                  <a:lnTo>
                    <a:pt x="756" y="874"/>
                  </a:lnTo>
                  <a:lnTo>
                    <a:pt x="759" y="869"/>
                  </a:lnTo>
                  <a:lnTo>
                    <a:pt x="759" y="864"/>
                  </a:lnTo>
                  <a:lnTo>
                    <a:pt x="757" y="853"/>
                  </a:lnTo>
                  <a:lnTo>
                    <a:pt x="759" y="851"/>
                  </a:lnTo>
                  <a:lnTo>
                    <a:pt x="759" y="844"/>
                  </a:lnTo>
                  <a:lnTo>
                    <a:pt x="757" y="839"/>
                  </a:lnTo>
                  <a:lnTo>
                    <a:pt x="757" y="839"/>
                  </a:lnTo>
                  <a:lnTo>
                    <a:pt x="757" y="834"/>
                  </a:lnTo>
                  <a:lnTo>
                    <a:pt x="759" y="830"/>
                  </a:lnTo>
                  <a:lnTo>
                    <a:pt x="761" y="830"/>
                  </a:lnTo>
                  <a:lnTo>
                    <a:pt x="761" y="830"/>
                  </a:lnTo>
                  <a:lnTo>
                    <a:pt x="765" y="826"/>
                  </a:lnTo>
                  <a:lnTo>
                    <a:pt x="766" y="819"/>
                  </a:lnTo>
                  <a:lnTo>
                    <a:pt x="766" y="819"/>
                  </a:lnTo>
                  <a:lnTo>
                    <a:pt x="775" y="819"/>
                  </a:lnTo>
                  <a:lnTo>
                    <a:pt x="775" y="819"/>
                  </a:lnTo>
                  <a:lnTo>
                    <a:pt x="782" y="816"/>
                  </a:lnTo>
                  <a:lnTo>
                    <a:pt x="795" y="814"/>
                  </a:lnTo>
                  <a:lnTo>
                    <a:pt x="798" y="810"/>
                  </a:lnTo>
                  <a:lnTo>
                    <a:pt x="802" y="810"/>
                  </a:lnTo>
                  <a:lnTo>
                    <a:pt x="814" y="809"/>
                  </a:lnTo>
                  <a:lnTo>
                    <a:pt x="811" y="798"/>
                  </a:lnTo>
                  <a:lnTo>
                    <a:pt x="811" y="798"/>
                  </a:lnTo>
                  <a:lnTo>
                    <a:pt x="811" y="794"/>
                  </a:lnTo>
                  <a:lnTo>
                    <a:pt x="811" y="794"/>
                  </a:lnTo>
                  <a:lnTo>
                    <a:pt x="811" y="791"/>
                  </a:lnTo>
                  <a:lnTo>
                    <a:pt x="811" y="791"/>
                  </a:lnTo>
                  <a:lnTo>
                    <a:pt x="814" y="784"/>
                  </a:lnTo>
                  <a:lnTo>
                    <a:pt x="814" y="780"/>
                  </a:lnTo>
                  <a:lnTo>
                    <a:pt x="818" y="780"/>
                  </a:lnTo>
                  <a:lnTo>
                    <a:pt x="818" y="780"/>
                  </a:lnTo>
                  <a:lnTo>
                    <a:pt x="825" y="778"/>
                  </a:lnTo>
                  <a:lnTo>
                    <a:pt x="832" y="778"/>
                  </a:lnTo>
                  <a:lnTo>
                    <a:pt x="832" y="778"/>
                  </a:lnTo>
                  <a:lnTo>
                    <a:pt x="834" y="777"/>
                  </a:lnTo>
                  <a:lnTo>
                    <a:pt x="837" y="777"/>
                  </a:lnTo>
                  <a:lnTo>
                    <a:pt x="841" y="777"/>
                  </a:lnTo>
                  <a:lnTo>
                    <a:pt x="841" y="775"/>
                  </a:lnTo>
                  <a:lnTo>
                    <a:pt x="841" y="775"/>
                  </a:lnTo>
                  <a:lnTo>
                    <a:pt x="846" y="771"/>
                  </a:lnTo>
                  <a:lnTo>
                    <a:pt x="848" y="768"/>
                  </a:lnTo>
                  <a:lnTo>
                    <a:pt x="852" y="764"/>
                  </a:lnTo>
                  <a:lnTo>
                    <a:pt x="852" y="764"/>
                  </a:lnTo>
                  <a:lnTo>
                    <a:pt x="855" y="757"/>
                  </a:lnTo>
                  <a:lnTo>
                    <a:pt x="855" y="755"/>
                  </a:lnTo>
                  <a:lnTo>
                    <a:pt x="855" y="754"/>
                  </a:lnTo>
                  <a:lnTo>
                    <a:pt x="855" y="754"/>
                  </a:lnTo>
                  <a:lnTo>
                    <a:pt x="853" y="752"/>
                  </a:lnTo>
                  <a:lnTo>
                    <a:pt x="853" y="750"/>
                  </a:lnTo>
                  <a:lnTo>
                    <a:pt x="853" y="748"/>
                  </a:lnTo>
                  <a:lnTo>
                    <a:pt x="855" y="746"/>
                  </a:lnTo>
                  <a:lnTo>
                    <a:pt x="855" y="746"/>
                  </a:lnTo>
                  <a:lnTo>
                    <a:pt x="859" y="743"/>
                  </a:lnTo>
                  <a:lnTo>
                    <a:pt x="861" y="738"/>
                  </a:lnTo>
                  <a:lnTo>
                    <a:pt x="862" y="738"/>
                  </a:lnTo>
                  <a:lnTo>
                    <a:pt x="862" y="739"/>
                  </a:lnTo>
                  <a:lnTo>
                    <a:pt x="862" y="739"/>
                  </a:lnTo>
                  <a:lnTo>
                    <a:pt x="864" y="743"/>
                  </a:lnTo>
                  <a:lnTo>
                    <a:pt x="866" y="743"/>
                  </a:lnTo>
                  <a:lnTo>
                    <a:pt x="866" y="743"/>
                  </a:lnTo>
                  <a:lnTo>
                    <a:pt x="866" y="743"/>
                  </a:lnTo>
                  <a:lnTo>
                    <a:pt x="866" y="739"/>
                  </a:lnTo>
                  <a:lnTo>
                    <a:pt x="866" y="738"/>
                  </a:lnTo>
                  <a:lnTo>
                    <a:pt x="862" y="732"/>
                  </a:lnTo>
                  <a:lnTo>
                    <a:pt x="862" y="732"/>
                  </a:lnTo>
                  <a:lnTo>
                    <a:pt x="857" y="723"/>
                  </a:lnTo>
                  <a:lnTo>
                    <a:pt x="855" y="716"/>
                  </a:lnTo>
                  <a:lnTo>
                    <a:pt x="853" y="711"/>
                  </a:lnTo>
                  <a:lnTo>
                    <a:pt x="853" y="711"/>
                  </a:lnTo>
                  <a:lnTo>
                    <a:pt x="853" y="709"/>
                  </a:lnTo>
                  <a:lnTo>
                    <a:pt x="852" y="707"/>
                  </a:lnTo>
                  <a:lnTo>
                    <a:pt x="848" y="704"/>
                  </a:lnTo>
                  <a:lnTo>
                    <a:pt x="848" y="704"/>
                  </a:lnTo>
                  <a:lnTo>
                    <a:pt x="845" y="695"/>
                  </a:lnTo>
                  <a:lnTo>
                    <a:pt x="845" y="693"/>
                  </a:lnTo>
                  <a:lnTo>
                    <a:pt x="841" y="691"/>
                  </a:lnTo>
                  <a:lnTo>
                    <a:pt x="841" y="691"/>
                  </a:lnTo>
                  <a:lnTo>
                    <a:pt x="836" y="690"/>
                  </a:lnTo>
                  <a:lnTo>
                    <a:pt x="832" y="684"/>
                  </a:lnTo>
                  <a:lnTo>
                    <a:pt x="832" y="684"/>
                  </a:lnTo>
                  <a:lnTo>
                    <a:pt x="829" y="675"/>
                  </a:lnTo>
                  <a:lnTo>
                    <a:pt x="829" y="674"/>
                  </a:lnTo>
                  <a:lnTo>
                    <a:pt x="832" y="672"/>
                  </a:lnTo>
                  <a:lnTo>
                    <a:pt x="832" y="672"/>
                  </a:lnTo>
                  <a:lnTo>
                    <a:pt x="832" y="668"/>
                  </a:lnTo>
                  <a:lnTo>
                    <a:pt x="834" y="666"/>
                  </a:lnTo>
                  <a:lnTo>
                    <a:pt x="834" y="666"/>
                  </a:lnTo>
                  <a:lnTo>
                    <a:pt x="832" y="663"/>
                  </a:lnTo>
                  <a:lnTo>
                    <a:pt x="832" y="663"/>
                  </a:lnTo>
                  <a:lnTo>
                    <a:pt x="832" y="661"/>
                  </a:lnTo>
                  <a:lnTo>
                    <a:pt x="832" y="661"/>
                  </a:lnTo>
                  <a:lnTo>
                    <a:pt x="836" y="656"/>
                  </a:lnTo>
                  <a:lnTo>
                    <a:pt x="837" y="656"/>
                  </a:lnTo>
                  <a:lnTo>
                    <a:pt x="837" y="654"/>
                  </a:lnTo>
                  <a:lnTo>
                    <a:pt x="837" y="654"/>
                  </a:lnTo>
                  <a:lnTo>
                    <a:pt x="837" y="652"/>
                  </a:lnTo>
                  <a:lnTo>
                    <a:pt x="837" y="650"/>
                  </a:lnTo>
                  <a:lnTo>
                    <a:pt x="841" y="649"/>
                  </a:lnTo>
                  <a:lnTo>
                    <a:pt x="843" y="647"/>
                  </a:lnTo>
                  <a:lnTo>
                    <a:pt x="843" y="647"/>
                  </a:lnTo>
                  <a:lnTo>
                    <a:pt x="845" y="643"/>
                  </a:lnTo>
                  <a:lnTo>
                    <a:pt x="846" y="640"/>
                  </a:lnTo>
                  <a:lnTo>
                    <a:pt x="846" y="634"/>
                  </a:lnTo>
                  <a:lnTo>
                    <a:pt x="846" y="633"/>
                  </a:lnTo>
                  <a:lnTo>
                    <a:pt x="846" y="633"/>
                  </a:lnTo>
                  <a:lnTo>
                    <a:pt x="839" y="613"/>
                  </a:lnTo>
                  <a:lnTo>
                    <a:pt x="839" y="613"/>
                  </a:lnTo>
                  <a:lnTo>
                    <a:pt x="841" y="610"/>
                  </a:lnTo>
                  <a:lnTo>
                    <a:pt x="843" y="610"/>
                  </a:lnTo>
                  <a:lnTo>
                    <a:pt x="843" y="608"/>
                  </a:lnTo>
                  <a:lnTo>
                    <a:pt x="843" y="608"/>
                  </a:lnTo>
                  <a:lnTo>
                    <a:pt x="837" y="601"/>
                  </a:lnTo>
                  <a:lnTo>
                    <a:pt x="837" y="594"/>
                  </a:lnTo>
                  <a:lnTo>
                    <a:pt x="837" y="592"/>
                  </a:lnTo>
                  <a:lnTo>
                    <a:pt x="837" y="590"/>
                  </a:lnTo>
                  <a:lnTo>
                    <a:pt x="837" y="590"/>
                  </a:lnTo>
                  <a:lnTo>
                    <a:pt x="841" y="586"/>
                  </a:lnTo>
                  <a:lnTo>
                    <a:pt x="841" y="586"/>
                  </a:lnTo>
                  <a:lnTo>
                    <a:pt x="841" y="583"/>
                  </a:lnTo>
                  <a:lnTo>
                    <a:pt x="841" y="581"/>
                  </a:lnTo>
                  <a:lnTo>
                    <a:pt x="841" y="579"/>
                  </a:lnTo>
                  <a:lnTo>
                    <a:pt x="841" y="579"/>
                  </a:lnTo>
                  <a:lnTo>
                    <a:pt x="848" y="581"/>
                  </a:lnTo>
                  <a:lnTo>
                    <a:pt x="848" y="581"/>
                  </a:lnTo>
                  <a:lnTo>
                    <a:pt x="855" y="581"/>
                  </a:lnTo>
                  <a:lnTo>
                    <a:pt x="859" y="583"/>
                  </a:lnTo>
                  <a:lnTo>
                    <a:pt x="859" y="583"/>
                  </a:lnTo>
                  <a:lnTo>
                    <a:pt x="871" y="586"/>
                  </a:lnTo>
                  <a:lnTo>
                    <a:pt x="877" y="586"/>
                  </a:lnTo>
                  <a:lnTo>
                    <a:pt x="878" y="586"/>
                  </a:lnTo>
                  <a:lnTo>
                    <a:pt x="878" y="586"/>
                  </a:lnTo>
                  <a:lnTo>
                    <a:pt x="878" y="586"/>
                  </a:lnTo>
                  <a:lnTo>
                    <a:pt x="882" y="583"/>
                  </a:lnTo>
                  <a:lnTo>
                    <a:pt x="882" y="583"/>
                  </a:lnTo>
                  <a:lnTo>
                    <a:pt x="885" y="583"/>
                  </a:lnTo>
                  <a:lnTo>
                    <a:pt x="885" y="583"/>
                  </a:lnTo>
                  <a:lnTo>
                    <a:pt x="889" y="585"/>
                  </a:lnTo>
                  <a:lnTo>
                    <a:pt x="893" y="586"/>
                  </a:lnTo>
                  <a:lnTo>
                    <a:pt x="894" y="585"/>
                  </a:lnTo>
                  <a:lnTo>
                    <a:pt x="894" y="585"/>
                  </a:lnTo>
                  <a:lnTo>
                    <a:pt x="898" y="583"/>
                  </a:lnTo>
                  <a:lnTo>
                    <a:pt x="898" y="579"/>
                  </a:lnTo>
                  <a:lnTo>
                    <a:pt x="898" y="579"/>
                  </a:lnTo>
                  <a:lnTo>
                    <a:pt x="900" y="576"/>
                  </a:lnTo>
                  <a:lnTo>
                    <a:pt x="900" y="576"/>
                  </a:lnTo>
                  <a:lnTo>
                    <a:pt x="903" y="574"/>
                  </a:lnTo>
                  <a:lnTo>
                    <a:pt x="905" y="574"/>
                  </a:lnTo>
                  <a:lnTo>
                    <a:pt x="905" y="563"/>
                  </a:lnTo>
                  <a:lnTo>
                    <a:pt x="905" y="563"/>
                  </a:lnTo>
                  <a:lnTo>
                    <a:pt x="909" y="563"/>
                  </a:lnTo>
                  <a:lnTo>
                    <a:pt x="916" y="563"/>
                  </a:lnTo>
                  <a:lnTo>
                    <a:pt x="917" y="565"/>
                  </a:lnTo>
                  <a:lnTo>
                    <a:pt x="917" y="565"/>
                  </a:lnTo>
                  <a:lnTo>
                    <a:pt x="919" y="567"/>
                  </a:lnTo>
                  <a:lnTo>
                    <a:pt x="919" y="567"/>
                  </a:lnTo>
                  <a:lnTo>
                    <a:pt x="923" y="567"/>
                  </a:lnTo>
                  <a:lnTo>
                    <a:pt x="923" y="567"/>
                  </a:lnTo>
                  <a:lnTo>
                    <a:pt x="923" y="563"/>
                  </a:lnTo>
                  <a:lnTo>
                    <a:pt x="923" y="562"/>
                  </a:lnTo>
                  <a:lnTo>
                    <a:pt x="923" y="560"/>
                  </a:lnTo>
                  <a:lnTo>
                    <a:pt x="925" y="560"/>
                  </a:lnTo>
                  <a:lnTo>
                    <a:pt x="925" y="560"/>
                  </a:lnTo>
                  <a:lnTo>
                    <a:pt x="926" y="563"/>
                  </a:lnTo>
                  <a:lnTo>
                    <a:pt x="926" y="565"/>
                  </a:lnTo>
                  <a:lnTo>
                    <a:pt x="930" y="567"/>
                  </a:lnTo>
                  <a:lnTo>
                    <a:pt x="930" y="567"/>
                  </a:lnTo>
                  <a:lnTo>
                    <a:pt x="933" y="567"/>
                  </a:lnTo>
                  <a:lnTo>
                    <a:pt x="933" y="567"/>
                  </a:lnTo>
                  <a:lnTo>
                    <a:pt x="937" y="563"/>
                  </a:lnTo>
                  <a:lnTo>
                    <a:pt x="939" y="560"/>
                  </a:lnTo>
                  <a:lnTo>
                    <a:pt x="939" y="553"/>
                  </a:lnTo>
                  <a:lnTo>
                    <a:pt x="939" y="549"/>
                  </a:lnTo>
                  <a:lnTo>
                    <a:pt x="939" y="549"/>
                  </a:lnTo>
                  <a:lnTo>
                    <a:pt x="937" y="540"/>
                  </a:lnTo>
                  <a:lnTo>
                    <a:pt x="937" y="540"/>
                  </a:lnTo>
                  <a:lnTo>
                    <a:pt x="933" y="522"/>
                  </a:lnTo>
                  <a:lnTo>
                    <a:pt x="933" y="522"/>
                  </a:lnTo>
                  <a:lnTo>
                    <a:pt x="930" y="514"/>
                  </a:lnTo>
                  <a:lnTo>
                    <a:pt x="928" y="510"/>
                  </a:lnTo>
                  <a:lnTo>
                    <a:pt x="926" y="505"/>
                  </a:lnTo>
                  <a:lnTo>
                    <a:pt x="926" y="505"/>
                  </a:lnTo>
                  <a:lnTo>
                    <a:pt x="917" y="494"/>
                  </a:lnTo>
                  <a:lnTo>
                    <a:pt x="905" y="489"/>
                  </a:lnTo>
                  <a:lnTo>
                    <a:pt x="905" y="489"/>
                  </a:lnTo>
                  <a:lnTo>
                    <a:pt x="905" y="482"/>
                  </a:lnTo>
                  <a:lnTo>
                    <a:pt x="905" y="476"/>
                  </a:lnTo>
                  <a:lnTo>
                    <a:pt x="901" y="469"/>
                  </a:lnTo>
                  <a:lnTo>
                    <a:pt x="901" y="469"/>
                  </a:lnTo>
                  <a:lnTo>
                    <a:pt x="900" y="467"/>
                  </a:lnTo>
                  <a:lnTo>
                    <a:pt x="898" y="462"/>
                  </a:lnTo>
                  <a:lnTo>
                    <a:pt x="896" y="458"/>
                  </a:lnTo>
                  <a:lnTo>
                    <a:pt x="896" y="458"/>
                  </a:lnTo>
                  <a:lnTo>
                    <a:pt x="898" y="451"/>
                  </a:lnTo>
                  <a:lnTo>
                    <a:pt x="900" y="448"/>
                  </a:lnTo>
                  <a:lnTo>
                    <a:pt x="900" y="444"/>
                  </a:lnTo>
                  <a:lnTo>
                    <a:pt x="900" y="444"/>
                  </a:lnTo>
                  <a:lnTo>
                    <a:pt x="898" y="437"/>
                  </a:lnTo>
                  <a:lnTo>
                    <a:pt x="896" y="432"/>
                  </a:lnTo>
                  <a:lnTo>
                    <a:pt x="896" y="432"/>
                  </a:lnTo>
                  <a:lnTo>
                    <a:pt x="900" y="430"/>
                  </a:lnTo>
                  <a:lnTo>
                    <a:pt x="901" y="426"/>
                  </a:lnTo>
                  <a:lnTo>
                    <a:pt x="905" y="426"/>
                  </a:lnTo>
                  <a:lnTo>
                    <a:pt x="905" y="426"/>
                  </a:lnTo>
                  <a:lnTo>
                    <a:pt x="914" y="425"/>
                  </a:lnTo>
                  <a:lnTo>
                    <a:pt x="917" y="425"/>
                  </a:lnTo>
                  <a:lnTo>
                    <a:pt x="917" y="419"/>
                  </a:lnTo>
                  <a:lnTo>
                    <a:pt x="921" y="416"/>
                  </a:lnTo>
                  <a:lnTo>
                    <a:pt x="921" y="416"/>
                  </a:lnTo>
                  <a:lnTo>
                    <a:pt x="926" y="419"/>
                  </a:lnTo>
                  <a:lnTo>
                    <a:pt x="930" y="421"/>
                  </a:lnTo>
                  <a:lnTo>
                    <a:pt x="933" y="423"/>
                  </a:lnTo>
                  <a:lnTo>
                    <a:pt x="935" y="421"/>
                  </a:lnTo>
                  <a:lnTo>
                    <a:pt x="935" y="421"/>
                  </a:lnTo>
                  <a:lnTo>
                    <a:pt x="933" y="410"/>
                  </a:lnTo>
                  <a:lnTo>
                    <a:pt x="930" y="405"/>
                  </a:lnTo>
                  <a:lnTo>
                    <a:pt x="928" y="403"/>
                  </a:lnTo>
                  <a:lnTo>
                    <a:pt x="926" y="403"/>
                  </a:lnTo>
                  <a:lnTo>
                    <a:pt x="926" y="403"/>
                  </a:lnTo>
                  <a:lnTo>
                    <a:pt x="925" y="403"/>
                  </a:lnTo>
                  <a:lnTo>
                    <a:pt x="923" y="402"/>
                  </a:lnTo>
                  <a:lnTo>
                    <a:pt x="919" y="400"/>
                  </a:lnTo>
                  <a:lnTo>
                    <a:pt x="919" y="400"/>
                  </a:lnTo>
                  <a:lnTo>
                    <a:pt x="919" y="393"/>
                  </a:lnTo>
                  <a:lnTo>
                    <a:pt x="919" y="389"/>
                  </a:lnTo>
                  <a:lnTo>
                    <a:pt x="919" y="387"/>
                  </a:lnTo>
                  <a:lnTo>
                    <a:pt x="919" y="387"/>
                  </a:lnTo>
                  <a:lnTo>
                    <a:pt x="923" y="387"/>
                  </a:lnTo>
                  <a:lnTo>
                    <a:pt x="925" y="387"/>
                  </a:lnTo>
                  <a:lnTo>
                    <a:pt x="928" y="387"/>
                  </a:lnTo>
                  <a:lnTo>
                    <a:pt x="930" y="387"/>
                  </a:lnTo>
                  <a:lnTo>
                    <a:pt x="930" y="387"/>
                  </a:lnTo>
                  <a:lnTo>
                    <a:pt x="935" y="384"/>
                  </a:lnTo>
                  <a:lnTo>
                    <a:pt x="939" y="384"/>
                  </a:lnTo>
                  <a:lnTo>
                    <a:pt x="942" y="380"/>
                  </a:lnTo>
                  <a:lnTo>
                    <a:pt x="942" y="380"/>
                  </a:lnTo>
                  <a:lnTo>
                    <a:pt x="944" y="378"/>
                  </a:lnTo>
                  <a:lnTo>
                    <a:pt x="944" y="378"/>
                  </a:lnTo>
                  <a:lnTo>
                    <a:pt x="942" y="371"/>
                  </a:lnTo>
                  <a:lnTo>
                    <a:pt x="944" y="368"/>
                  </a:lnTo>
                  <a:lnTo>
                    <a:pt x="946" y="366"/>
                  </a:lnTo>
                  <a:lnTo>
                    <a:pt x="946" y="366"/>
                  </a:lnTo>
                  <a:lnTo>
                    <a:pt x="946" y="366"/>
                  </a:lnTo>
                  <a:lnTo>
                    <a:pt x="953" y="366"/>
                  </a:lnTo>
                  <a:lnTo>
                    <a:pt x="955" y="368"/>
                  </a:lnTo>
                  <a:lnTo>
                    <a:pt x="957" y="368"/>
                  </a:lnTo>
                  <a:lnTo>
                    <a:pt x="958" y="371"/>
                  </a:lnTo>
                  <a:lnTo>
                    <a:pt x="958" y="371"/>
                  </a:lnTo>
                  <a:lnTo>
                    <a:pt x="958" y="371"/>
                  </a:lnTo>
                  <a:lnTo>
                    <a:pt x="960" y="371"/>
                  </a:lnTo>
                  <a:lnTo>
                    <a:pt x="964" y="371"/>
                  </a:lnTo>
                  <a:lnTo>
                    <a:pt x="965" y="371"/>
                  </a:lnTo>
                  <a:lnTo>
                    <a:pt x="965" y="371"/>
                  </a:lnTo>
                  <a:lnTo>
                    <a:pt x="969" y="368"/>
                  </a:lnTo>
                  <a:lnTo>
                    <a:pt x="974" y="366"/>
                  </a:lnTo>
                  <a:lnTo>
                    <a:pt x="974" y="366"/>
                  </a:lnTo>
                  <a:lnTo>
                    <a:pt x="969" y="366"/>
                  </a:lnTo>
                  <a:lnTo>
                    <a:pt x="967" y="362"/>
                  </a:lnTo>
                  <a:lnTo>
                    <a:pt x="969" y="362"/>
                  </a:lnTo>
                  <a:lnTo>
                    <a:pt x="969" y="362"/>
                  </a:lnTo>
                  <a:lnTo>
                    <a:pt x="974" y="359"/>
                  </a:lnTo>
                  <a:lnTo>
                    <a:pt x="974" y="357"/>
                  </a:lnTo>
                  <a:lnTo>
                    <a:pt x="976" y="355"/>
                  </a:lnTo>
                  <a:lnTo>
                    <a:pt x="976" y="355"/>
                  </a:lnTo>
                  <a:lnTo>
                    <a:pt x="978" y="350"/>
                  </a:lnTo>
                  <a:lnTo>
                    <a:pt x="978" y="348"/>
                  </a:lnTo>
                  <a:lnTo>
                    <a:pt x="978" y="348"/>
                  </a:lnTo>
                  <a:lnTo>
                    <a:pt x="983" y="341"/>
                  </a:lnTo>
                  <a:lnTo>
                    <a:pt x="989" y="336"/>
                  </a:lnTo>
                  <a:lnTo>
                    <a:pt x="989" y="336"/>
                  </a:lnTo>
                  <a:lnTo>
                    <a:pt x="990" y="334"/>
                  </a:lnTo>
                  <a:lnTo>
                    <a:pt x="994" y="330"/>
                  </a:lnTo>
                  <a:lnTo>
                    <a:pt x="994" y="330"/>
                  </a:lnTo>
                  <a:lnTo>
                    <a:pt x="994" y="330"/>
                  </a:lnTo>
                  <a:lnTo>
                    <a:pt x="990" y="329"/>
                  </a:lnTo>
                  <a:lnTo>
                    <a:pt x="990" y="327"/>
                  </a:lnTo>
                  <a:lnTo>
                    <a:pt x="990" y="320"/>
                  </a:lnTo>
                  <a:lnTo>
                    <a:pt x="990" y="320"/>
                  </a:lnTo>
                  <a:lnTo>
                    <a:pt x="989" y="311"/>
                  </a:lnTo>
                  <a:lnTo>
                    <a:pt x="987" y="309"/>
                  </a:lnTo>
                  <a:lnTo>
                    <a:pt x="985" y="309"/>
                  </a:lnTo>
                  <a:lnTo>
                    <a:pt x="985" y="309"/>
                  </a:lnTo>
                  <a:lnTo>
                    <a:pt x="981" y="307"/>
                  </a:lnTo>
                  <a:lnTo>
                    <a:pt x="978" y="307"/>
                  </a:lnTo>
                  <a:lnTo>
                    <a:pt x="974" y="306"/>
                  </a:lnTo>
                  <a:lnTo>
                    <a:pt x="969" y="304"/>
                  </a:lnTo>
                  <a:lnTo>
                    <a:pt x="969" y="304"/>
                  </a:lnTo>
                  <a:lnTo>
                    <a:pt x="967" y="300"/>
                  </a:lnTo>
                  <a:lnTo>
                    <a:pt x="967" y="297"/>
                  </a:lnTo>
                  <a:lnTo>
                    <a:pt x="969" y="295"/>
                  </a:lnTo>
                  <a:lnTo>
                    <a:pt x="969" y="295"/>
                  </a:lnTo>
                  <a:lnTo>
                    <a:pt x="971" y="293"/>
                  </a:lnTo>
                  <a:lnTo>
                    <a:pt x="974" y="290"/>
                  </a:lnTo>
                  <a:lnTo>
                    <a:pt x="974" y="286"/>
                  </a:lnTo>
                  <a:lnTo>
                    <a:pt x="974" y="284"/>
                  </a:lnTo>
                  <a:lnTo>
                    <a:pt x="974" y="284"/>
                  </a:lnTo>
                  <a:lnTo>
                    <a:pt x="974" y="277"/>
                  </a:lnTo>
                  <a:lnTo>
                    <a:pt x="967" y="275"/>
                  </a:lnTo>
                  <a:lnTo>
                    <a:pt x="967" y="275"/>
                  </a:lnTo>
                  <a:lnTo>
                    <a:pt x="967" y="270"/>
                  </a:lnTo>
                  <a:lnTo>
                    <a:pt x="965" y="266"/>
                  </a:lnTo>
                  <a:lnTo>
                    <a:pt x="965" y="265"/>
                  </a:lnTo>
                  <a:lnTo>
                    <a:pt x="965" y="265"/>
                  </a:lnTo>
                  <a:lnTo>
                    <a:pt x="958" y="263"/>
                  </a:lnTo>
                  <a:lnTo>
                    <a:pt x="958" y="263"/>
                  </a:lnTo>
                  <a:lnTo>
                    <a:pt x="958" y="263"/>
                  </a:lnTo>
                  <a:lnTo>
                    <a:pt x="958" y="261"/>
                  </a:lnTo>
                  <a:lnTo>
                    <a:pt x="958" y="261"/>
                  </a:lnTo>
                  <a:lnTo>
                    <a:pt x="967" y="256"/>
                  </a:lnTo>
                  <a:lnTo>
                    <a:pt x="969" y="254"/>
                  </a:lnTo>
                  <a:lnTo>
                    <a:pt x="969" y="254"/>
                  </a:lnTo>
                  <a:lnTo>
                    <a:pt x="969" y="247"/>
                  </a:lnTo>
                  <a:lnTo>
                    <a:pt x="967" y="243"/>
                  </a:lnTo>
                  <a:lnTo>
                    <a:pt x="965" y="240"/>
                  </a:lnTo>
                  <a:lnTo>
                    <a:pt x="965" y="240"/>
                  </a:lnTo>
                  <a:lnTo>
                    <a:pt x="962" y="242"/>
                  </a:lnTo>
                  <a:lnTo>
                    <a:pt x="962" y="242"/>
                  </a:lnTo>
                  <a:lnTo>
                    <a:pt x="958" y="238"/>
                  </a:lnTo>
                  <a:lnTo>
                    <a:pt x="958" y="234"/>
                  </a:lnTo>
                  <a:lnTo>
                    <a:pt x="958" y="233"/>
                  </a:lnTo>
                  <a:lnTo>
                    <a:pt x="960" y="233"/>
                  </a:lnTo>
                  <a:lnTo>
                    <a:pt x="960" y="233"/>
                  </a:lnTo>
                  <a:lnTo>
                    <a:pt x="967" y="227"/>
                  </a:lnTo>
                  <a:lnTo>
                    <a:pt x="969" y="227"/>
                  </a:lnTo>
                  <a:lnTo>
                    <a:pt x="971" y="222"/>
                  </a:lnTo>
                  <a:lnTo>
                    <a:pt x="994" y="211"/>
                  </a:lnTo>
                  <a:lnTo>
                    <a:pt x="990" y="202"/>
                  </a:lnTo>
                  <a:lnTo>
                    <a:pt x="1001" y="201"/>
                  </a:lnTo>
                  <a:lnTo>
                    <a:pt x="1015" y="199"/>
                  </a:lnTo>
                  <a:lnTo>
                    <a:pt x="1012" y="186"/>
                  </a:lnTo>
                  <a:lnTo>
                    <a:pt x="1017" y="178"/>
                  </a:lnTo>
                  <a:lnTo>
                    <a:pt x="1021" y="176"/>
                  </a:lnTo>
                  <a:lnTo>
                    <a:pt x="1021" y="176"/>
                  </a:lnTo>
                  <a:lnTo>
                    <a:pt x="1017" y="170"/>
                  </a:lnTo>
                  <a:lnTo>
                    <a:pt x="1010" y="167"/>
                  </a:lnTo>
                  <a:lnTo>
                    <a:pt x="1010" y="167"/>
                  </a:lnTo>
                  <a:lnTo>
                    <a:pt x="1006" y="165"/>
                  </a:lnTo>
                  <a:lnTo>
                    <a:pt x="1006" y="165"/>
                  </a:lnTo>
                  <a:lnTo>
                    <a:pt x="1005" y="163"/>
                  </a:lnTo>
                  <a:lnTo>
                    <a:pt x="997" y="144"/>
                  </a:lnTo>
                  <a:lnTo>
                    <a:pt x="989" y="138"/>
                  </a:lnTo>
                  <a:lnTo>
                    <a:pt x="976" y="140"/>
                  </a:lnTo>
                  <a:lnTo>
                    <a:pt x="965" y="144"/>
                  </a:lnTo>
                  <a:lnTo>
                    <a:pt x="958" y="140"/>
                  </a:lnTo>
                  <a:lnTo>
                    <a:pt x="949" y="138"/>
                  </a:lnTo>
                  <a:lnTo>
                    <a:pt x="946" y="128"/>
                  </a:lnTo>
                  <a:lnTo>
                    <a:pt x="955" y="121"/>
                  </a:lnTo>
                  <a:lnTo>
                    <a:pt x="949" y="121"/>
                  </a:lnTo>
                  <a:lnTo>
                    <a:pt x="946" y="122"/>
                  </a:lnTo>
                  <a:lnTo>
                    <a:pt x="944" y="119"/>
                  </a:lnTo>
                  <a:lnTo>
                    <a:pt x="939" y="105"/>
                  </a:lnTo>
                  <a:lnTo>
                    <a:pt x="944" y="99"/>
                  </a:lnTo>
                  <a:lnTo>
                    <a:pt x="946" y="91"/>
                  </a:lnTo>
                  <a:lnTo>
                    <a:pt x="957" y="76"/>
                  </a:lnTo>
                  <a:lnTo>
                    <a:pt x="957" y="76"/>
                  </a:lnTo>
                  <a:lnTo>
                    <a:pt x="962" y="73"/>
                  </a:lnTo>
                  <a:lnTo>
                    <a:pt x="964" y="66"/>
                  </a:lnTo>
                  <a:lnTo>
                    <a:pt x="965" y="64"/>
                  </a:lnTo>
                  <a:lnTo>
                    <a:pt x="965" y="64"/>
                  </a:lnTo>
                  <a:lnTo>
                    <a:pt x="965" y="53"/>
                  </a:lnTo>
                  <a:lnTo>
                    <a:pt x="981" y="39"/>
                  </a:lnTo>
                  <a:lnTo>
                    <a:pt x="967" y="28"/>
                  </a:lnTo>
                  <a:lnTo>
                    <a:pt x="962" y="23"/>
                  </a:lnTo>
                  <a:lnTo>
                    <a:pt x="962" y="18"/>
                  </a:lnTo>
                  <a:lnTo>
                    <a:pt x="955" y="18"/>
                  </a:lnTo>
                  <a:lnTo>
                    <a:pt x="948" y="16"/>
                  </a:lnTo>
                  <a:lnTo>
                    <a:pt x="948" y="16"/>
                  </a:lnTo>
                  <a:lnTo>
                    <a:pt x="948" y="12"/>
                  </a:lnTo>
                  <a:lnTo>
                    <a:pt x="948" y="9"/>
                  </a:lnTo>
                  <a:lnTo>
                    <a:pt x="948" y="9"/>
                  </a:lnTo>
                  <a:lnTo>
                    <a:pt x="939" y="5"/>
                  </a:lnTo>
                  <a:lnTo>
                    <a:pt x="930" y="5"/>
                  </a:lnTo>
                  <a:lnTo>
                    <a:pt x="923" y="0"/>
                  </a:lnTo>
                  <a:lnTo>
                    <a:pt x="923" y="0"/>
                  </a:lnTo>
                  <a:lnTo>
                    <a:pt x="919" y="5"/>
                  </a:lnTo>
                  <a:lnTo>
                    <a:pt x="919" y="5"/>
                  </a:lnTo>
                  <a:lnTo>
                    <a:pt x="914" y="14"/>
                  </a:lnTo>
                  <a:lnTo>
                    <a:pt x="901" y="21"/>
                  </a:lnTo>
                  <a:lnTo>
                    <a:pt x="894" y="30"/>
                  </a:lnTo>
                  <a:lnTo>
                    <a:pt x="889" y="32"/>
                  </a:lnTo>
                  <a:lnTo>
                    <a:pt x="885" y="32"/>
                  </a:lnTo>
                  <a:lnTo>
                    <a:pt x="885" y="32"/>
                  </a:lnTo>
                  <a:lnTo>
                    <a:pt x="882" y="32"/>
                  </a:lnTo>
                  <a:lnTo>
                    <a:pt x="880" y="30"/>
                  </a:lnTo>
                  <a:lnTo>
                    <a:pt x="878" y="23"/>
                  </a:lnTo>
                  <a:lnTo>
                    <a:pt x="873" y="16"/>
                  </a:lnTo>
                  <a:lnTo>
                    <a:pt x="871" y="12"/>
                  </a:lnTo>
                  <a:lnTo>
                    <a:pt x="866" y="11"/>
                  </a:lnTo>
                  <a:lnTo>
                    <a:pt x="866" y="11"/>
                  </a:lnTo>
                  <a:lnTo>
                    <a:pt x="859" y="5"/>
                  </a:lnTo>
                  <a:lnTo>
                    <a:pt x="852" y="5"/>
                  </a:lnTo>
                  <a:lnTo>
                    <a:pt x="845" y="5"/>
                  </a:lnTo>
                  <a:lnTo>
                    <a:pt x="839" y="5"/>
                  </a:lnTo>
                  <a:lnTo>
                    <a:pt x="834" y="9"/>
                  </a:lnTo>
                  <a:lnTo>
                    <a:pt x="825" y="11"/>
                  </a:lnTo>
                  <a:lnTo>
                    <a:pt x="825" y="11"/>
                  </a:lnTo>
                  <a:lnTo>
                    <a:pt x="818" y="14"/>
                  </a:lnTo>
                  <a:lnTo>
                    <a:pt x="811" y="19"/>
                  </a:lnTo>
                  <a:lnTo>
                    <a:pt x="795" y="32"/>
                  </a:lnTo>
                  <a:lnTo>
                    <a:pt x="788" y="39"/>
                  </a:lnTo>
                  <a:lnTo>
                    <a:pt x="782" y="44"/>
                  </a:lnTo>
                  <a:lnTo>
                    <a:pt x="777" y="53"/>
                  </a:lnTo>
                  <a:lnTo>
                    <a:pt x="773" y="62"/>
                  </a:lnTo>
                  <a:lnTo>
                    <a:pt x="773" y="62"/>
                  </a:lnTo>
                  <a:lnTo>
                    <a:pt x="763" y="76"/>
                  </a:lnTo>
                  <a:lnTo>
                    <a:pt x="756" y="87"/>
                  </a:lnTo>
                  <a:lnTo>
                    <a:pt x="750" y="92"/>
                  </a:lnTo>
                  <a:lnTo>
                    <a:pt x="745" y="94"/>
                  </a:lnTo>
                  <a:lnTo>
                    <a:pt x="741" y="96"/>
                  </a:lnTo>
                  <a:lnTo>
                    <a:pt x="738" y="94"/>
                  </a:lnTo>
                  <a:lnTo>
                    <a:pt x="738" y="94"/>
                  </a:lnTo>
                  <a:lnTo>
                    <a:pt x="724" y="91"/>
                  </a:lnTo>
                  <a:lnTo>
                    <a:pt x="711" y="87"/>
                  </a:lnTo>
                  <a:lnTo>
                    <a:pt x="711" y="87"/>
                  </a:lnTo>
                  <a:lnTo>
                    <a:pt x="702" y="91"/>
                  </a:lnTo>
                  <a:lnTo>
                    <a:pt x="693" y="92"/>
                  </a:lnTo>
                  <a:lnTo>
                    <a:pt x="688" y="96"/>
                  </a:lnTo>
                  <a:lnTo>
                    <a:pt x="681" y="96"/>
                  </a:lnTo>
                  <a:lnTo>
                    <a:pt x="681" y="96"/>
                  </a:lnTo>
                  <a:lnTo>
                    <a:pt x="679" y="96"/>
                  </a:lnTo>
                  <a:lnTo>
                    <a:pt x="679" y="94"/>
                  </a:lnTo>
                  <a:lnTo>
                    <a:pt x="681" y="91"/>
                  </a:lnTo>
                  <a:lnTo>
                    <a:pt x="681" y="83"/>
                  </a:lnTo>
                  <a:lnTo>
                    <a:pt x="681" y="82"/>
                  </a:lnTo>
                  <a:lnTo>
                    <a:pt x="681" y="80"/>
                  </a:lnTo>
                  <a:lnTo>
                    <a:pt x="681" y="80"/>
                  </a:lnTo>
                  <a:lnTo>
                    <a:pt x="674" y="78"/>
                  </a:lnTo>
                  <a:lnTo>
                    <a:pt x="665" y="76"/>
                  </a:lnTo>
                  <a:lnTo>
                    <a:pt x="658" y="76"/>
                  </a:lnTo>
                  <a:lnTo>
                    <a:pt x="654" y="76"/>
                  </a:lnTo>
                  <a:lnTo>
                    <a:pt x="649" y="80"/>
                  </a:lnTo>
                  <a:lnTo>
                    <a:pt x="642" y="83"/>
                  </a:lnTo>
                  <a:lnTo>
                    <a:pt x="642" y="83"/>
                  </a:lnTo>
                  <a:lnTo>
                    <a:pt x="631" y="92"/>
                  </a:lnTo>
                  <a:lnTo>
                    <a:pt x="619" y="98"/>
                  </a:lnTo>
                  <a:lnTo>
                    <a:pt x="608" y="99"/>
                  </a:lnTo>
                  <a:lnTo>
                    <a:pt x="597" y="103"/>
                  </a:lnTo>
                  <a:lnTo>
                    <a:pt x="597" y="103"/>
                  </a:lnTo>
                  <a:lnTo>
                    <a:pt x="594" y="103"/>
                  </a:lnTo>
                  <a:lnTo>
                    <a:pt x="589" y="106"/>
                  </a:lnTo>
                  <a:lnTo>
                    <a:pt x="576" y="115"/>
                  </a:lnTo>
                  <a:lnTo>
                    <a:pt x="562" y="121"/>
                  </a:lnTo>
                  <a:lnTo>
                    <a:pt x="553" y="126"/>
                  </a:lnTo>
                  <a:lnTo>
                    <a:pt x="553" y="126"/>
                  </a:lnTo>
                  <a:lnTo>
                    <a:pt x="542" y="131"/>
                  </a:lnTo>
                  <a:lnTo>
                    <a:pt x="533" y="131"/>
                  </a:lnTo>
                  <a:lnTo>
                    <a:pt x="530" y="131"/>
                  </a:lnTo>
                  <a:lnTo>
                    <a:pt x="526" y="133"/>
                  </a:lnTo>
                  <a:lnTo>
                    <a:pt x="526" y="133"/>
                  </a:lnTo>
                  <a:lnTo>
                    <a:pt x="526" y="135"/>
                  </a:lnTo>
                  <a:lnTo>
                    <a:pt x="528" y="135"/>
                  </a:lnTo>
                  <a:lnTo>
                    <a:pt x="532" y="138"/>
                  </a:lnTo>
                  <a:lnTo>
                    <a:pt x="533" y="140"/>
                  </a:lnTo>
                  <a:lnTo>
                    <a:pt x="535" y="144"/>
                  </a:lnTo>
                  <a:lnTo>
                    <a:pt x="537" y="146"/>
                  </a:lnTo>
                  <a:lnTo>
                    <a:pt x="535" y="147"/>
                  </a:lnTo>
                  <a:lnTo>
                    <a:pt x="535" y="147"/>
                  </a:lnTo>
                  <a:lnTo>
                    <a:pt x="530" y="153"/>
                  </a:lnTo>
                  <a:lnTo>
                    <a:pt x="523" y="160"/>
                  </a:lnTo>
                  <a:lnTo>
                    <a:pt x="519" y="163"/>
                  </a:lnTo>
                  <a:lnTo>
                    <a:pt x="519" y="167"/>
                  </a:lnTo>
                  <a:lnTo>
                    <a:pt x="519" y="170"/>
                  </a:lnTo>
                  <a:lnTo>
                    <a:pt x="519" y="170"/>
                  </a:lnTo>
                  <a:lnTo>
                    <a:pt x="521" y="176"/>
                  </a:lnTo>
                  <a:lnTo>
                    <a:pt x="523" y="178"/>
                  </a:lnTo>
                  <a:lnTo>
                    <a:pt x="526" y="179"/>
                  </a:lnTo>
                  <a:lnTo>
                    <a:pt x="528" y="176"/>
                  </a:lnTo>
                  <a:lnTo>
                    <a:pt x="528" y="176"/>
                  </a:lnTo>
                  <a:lnTo>
                    <a:pt x="530" y="172"/>
                  </a:lnTo>
                  <a:lnTo>
                    <a:pt x="532" y="170"/>
                  </a:lnTo>
                  <a:lnTo>
                    <a:pt x="533" y="167"/>
                  </a:lnTo>
                  <a:lnTo>
                    <a:pt x="535" y="167"/>
                  </a:lnTo>
                  <a:lnTo>
                    <a:pt x="535" y="170"/>
                  </a:lnTo>
                  <a:lnTo>
                    <a:pt x="535" y="170"/>
                  </a:lnTo>
                  <a:lnTo>
                    <a:pt x="537" y="179"/>
                  </a:lnTo>
                  <a:lnTo>
                    <a:pt x="537" y="186"/>
                  </a:lnTo>
                  <a:lnTo>
                    <a:pt x="541" y="188"/>
                  </a:lnTo>
                  <a:lnTo>
                    <a:pt x="541" y="188"/>
                  </a:lnTo>
                  <a:lnTo>
                    <a:pt x="546" y="192"/>
                  </a:lnTo>
                  <a:lnTo>
                    <a:pt x="551" y="197"/>
                  </a:lnTo>
                  <a:lnTo>
                    <a:pt x="553" y="202"/>
                  </a:lnTo>
                  <a:lnTo>
                    <a:pt x="553" y="202"/>
                  </a:lnTo>
                  <a:lnTo>
                    <a:pt x="553" y="206"/>
                  </a:lnTo>
                  <a:lnTo>
                    <a:pt x="553" y="206"/>
                  </a:lnTo>
                  <a:lnTo>
                    <a:pt x="551" y="206"/>
                  </a:lnTo>
                  <a:lnTo>
                    <a:pt x="548" y="208"/>
                  </a:lnTo>
                  <a:lnTo>
                    <a:pt x="539" y="206"/>
                  </a:lnTo>
                  <a:lnTo>
                    <a:pt x="539" y="206"/>
                  </a:lnTo>
                  <a:lnTo>
                    <a:pt x="535" y="211"/>
                  </a:lnTo>
                  <a:lnTo>
                    <a:pt x="530" y="213"/>
                  </a:lnTo>
                  <a:lnTo>
                    <a:pt x="519" y="220"/>
                  </a:lnTo>
                  <a:lnTo>
                    <a:pt x="519" y="220"/>
                  </a:lnTo>
                  <a:lnTo>
                    <a:pt x="512" y="226"/>
                  </a:lnTo>
                  <a:lnTo>
                    <a:pt x="509" y="227"/>
                  </a:lnTo>
                  <a:lnTo>
                    <a:pt x="501" y="229"/>
                  </a:lnTo>
                  <a:lnTo>
                    <a:pt x="501" y="229"/>
                  </a:lnTo>
                  <a:lnTo>
                    <a:pt x="496" y="233"/>
                  </a:lnTo>
                  <a:lnTo>
                    <a:pt x="491" y="234"/>
                  </a:lnTo>
                  <a:lnTo>
                    <a:pt x="487" y="238"/>
                  </a:lnTo>
                  <a:lnTo>
                    <a:pt x="482" y="242"/>
                  </a:lnTo>
                  <a:lnTo>
                    <a:pt x="482" y="242"/>
                  </a:lnTo>
                  <a:lnTo>
                    <a:pt x="480" y="247"/>
                  </a:lnTo>
                  <a:lnTo>
                    <a:pt x="473" y="256"/>
                  </a:lnTo>
                  <a:lnTo>
                    <a:pt x="471" y="259"/>
                  </a:lnTo>
                  <a:lnTo>
                    <a:pt x="468" y="259"/>
                  </a:lnTo>
                  <a:lnTo>
                    <a:pt x="461" y="261"/>
                  </a:lnTo>
                  <a:lnTo>
                    <a:pt x="457" y="259"/>
                  </a:lnTo>
                  <a:lnTo>
                    <a:pt x="457" y="259"/>
                  </a:lnTo>
                  <a:lnTo>
                    <a:pt x="448" y="256"/>
                  </a:lnTo>
                  <a:lnTo>
                    <a:pt x="439" y="252"/>
                  </a:lnTo>
                  <a:lnTo>
                    <a:pt x="434" y="245"/>
                  </a:lnTo>
                  <a:lnTo>
                    <a:pt x="434" y="245"/>
                  </a:lnTo>
                  <a:lnTo>
                    <a:pt x="434" y="252"/>
                  </a:lnTo>
                  <a:lnTo>
                    <a:pt x="434" y="258"/>
                  </a:lnTo>
                  <a:lnTo>
                    <a:pt x="434" y="263"/>
                  </a:lnTo>
                  <a:lnTo>
                    <a:pt x="434" y="263"/>
                  </a:lnTo>
                  <a:lnTo>
                    <a:pt x="439" y="286"/>
                  </a:lnTo>
                  <a:lnTo>
                    <a:pt x="441" y="300"/>
                  </a:lnTo>
                  <a:lnTo>
                    <a:pt x="441" y="306"/>
                  </a:lnTo>
                  <a:lnTo>
                    <a:pt x="439" y="307"/>
                  </a:lnTo>
                  <a:lnTo>
                    <a:pt x="439" y="307"/>
                  </a:lnTo>
                  <a:lnTo>
                    <a:pt x="439" y="309"/>
                  </a:lnTo>
                  <a:lnTo>
                    <a:pt x="436" y="311"/>
                  </a:lnTo>
                  <a:lnTo>
                    <a:pt x="430" y="311"/>
                  </a:lnTo>
                  <a:lnTo>
                    <a:pt x="420" y="309"/>
                  </a:lnTo>
                  <a:lnTo>
                    <a:pt x="413" y="307"/>
                  </a:lnTo>
                  <a:lnTo>
                    <a:pt x="413" y="307"/>
                  </a:lnTo>
                  <a:lnTo>
                    <a:pt x="400" y="298"/>
                  </a:lnTo>
                  <a:lnTo>
                    <a:pt x="391" y="288"/>
                  </a:lnTo>
                  <a:lnTo>
                    <a:pt x="384" y="277"/>
                  </a:lnTo>
                  <a:lnTo>
                    <a:pt x="382" y="270"/>
                  </a:lnTo>
                  <a:lnTo>
                    <a:pt x="379" y="266"/>
                  </a:lnTo>
                  <a:lnTo>
                    <a:pt x="379" y="266"/>
                  </a:lnTo>
                  <a:lnTo>
                    <a:pt x="375" y="256"/>
                  </a:lnTo>
                  <a:lnTo>
                    <a:pt x="372" y="243"/>
                  </a:lnTo>
                  <a:lnTo>
                    <a:pt x="366" y="233"/>
                  </a:lnTo>
                  <a:lnTo>
                    <a:pt x="357" y="220"/>
                  </a:lnTo>
                  <a:lnTo>
                    <a:pt x="357" y="220"/>
                  </a:lnTo>
                  <a:lnTo>
                    <a:pt x="352" y="215"/>
                  </a:lnTo>
                  <a:lnTo>
                    <a:pt x="341" y="208"/>
                  </a:lnTo>
                  <a:lnTo>
                    <a:pt x="334" y="206"/>
                  </a:lnTo>
                  <a:lnTo>
                    <a:pt x="329" y="204"/>
                  </a:lnTo>
                  <a:lnTo>
                    <a:pt x="324" y="204"/>
                  </a:lnTo>
                  <a:lnTo>
                    <a:pt x="318" y="206"/>
                  </a:lnTo>
                  <a:lnTo>
                    <a:pt x="318" y="206"/>
                  </a:lnTo>
                  <a:lnTo>
                    <a:pt x="304" y="215"/>
                  </a:lnTo>
                  <a:lnTo>
                    <a:pt x="297" y="217"/>
                  </a:lnTo>
                  <a:lnTo>
                    <a:pt x="293" y="217"/>
                  </a:lnTo>
                  <a:lnTo>
                    <a:pt x="292" y="217"/>
                  </a:lnTo>
                  <a:lnTo>
                    <a:pt x="292" y="217"/>
                  </a:lnTo>
                  <a:lnTo>
                    <a:pt x="285" y="215"/>
                  </a:lnTo>
                  <a:lnTo>
                    <a:pt x="276" y="213"/>
                  </a:lnTo>
                  <a:lnTo>
                    <a:pt x="269" y="213"/>
                  </a:lnTo>
                  <a:lnTo>
                    <a:pt x="265" y="213"/>
                  </a:lnTo>
                  <a:lnTo>
                    <a:pt x="261" y="215"/>
                  </a:lnTo>
                  <a:lnTo>
                    <a:pt x="261" y="215"/>
                  </a:lnTo>
                  <a:lnTo>
                    <a:pt x="256" y="218"/>
                  </a:lnTo>
                  <a:lnTo>
                    <a:pt x="253" y="222"/>
                  </a:lnTo>
                  <a:lnTo>
                    <a:pt x="253" y="224"/>
                  </a:lnTo>
                  <a:lnTo>
                    <a:pt x="253" y="227"/>
                  </a:lnTo>
                  <a:lnTo>
                    <a:pt x="254" y="233"/>
                  </a:lnTo>
                  <a:lnTo>
                    <a:pt x="256" y="236"/>
                  </a:lnTo>
                  <a:lnTo>
                    <a:pt x="256" y="236"/>
                  </a:lnTo>
                  <a:lnTo>
                    <a:pt x="263" y="243"/>
                  </a:lnTo>
                  <a:lnTo>
                    <a:pt x="265" y="247"/>
                  </a:lnTo>
                  <a:lnTo>
                    <a:pt x="263" y="252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51" y="259"/>
                  </a:lnTo>
                  <a:lnTo>
                    <a:pt x="242" y="263"/>
                  </a:lnTo>
                  <a:lnTo>
                    <a:pt x="229" y="266"/>
                  </a:lnTo>
                  <a:lnTo>
                    <a:pt x="224" y="266"/>
                  </a:lnTo>
                  <a:lnTo>
                    <a:pt x="224" y="266"/>
                  </a:lnTo>
                  <a:lnTo>
                    <a:pt x="213" y="266"/>
                  </a:lnTo>
                  <a:lnTo>
                    <a:pt x="201" y="266"/>
                  </a:lnTo>
                  <a:lnTo>
                    <a:pt x="192" y="266"/>
                  </a:lnTo>
                  <a:lnTo>
                    <a:pt x="189" y="266"/>
                  </a:lnTo>
                  <a:lnTo>
                    <a:pt x="183" y="265"/>
                  </a:lnTo>
                  <a:lnTo>
                    <a:pt x="181" y="263"/>
                  </a:lnTo>
                  <a:lnTo>
                    <a:pt x="181" y="263"/>
                  </a:lnTo>
                  <a:lnTo>
                    <a:pt x="181" y="263"/>
                  </a:lnTo>
                  <a:lnTo>
                    <a:pt x="181" y="261"/>
                  </a:lnTo>
                  <a:lnTo>
                    <a:pt x="183" y="259"/>
                  </a:lnTo>
                  <a:lnTo>
                    <a:pt x="185" y="256"/>
                  </a:lnTo>
                  <a:lnTo>
                    <a:pt x="189" y="256"/>
                  </a:lnTo>
                  <a:lnTo>
                    <a:pt x="189" y="254"/>
                  </a:lnTo>
                  <a:lnTo>
                    <a:pt x="189" y="252"/>
                  </a:lnTo>
                  <a:lnTo>
                    <a:pt x="189" y="252"/>
                  </a:lnTo>
                  <a:lnTo>
                    <a:pt x="185" y="249"/>
                  </a:lnTo>
                  <a:lnTo>
                    <a:pt x="183" y="249"/>
                  </a:lnTo>
                  <a:lnTo>
                    <a:pt x="173" y="247"/>
                  </a:lnTo>
                  <a:lnTo>
                    <a:pt x="160" y="249"/>
                  </a:lnTo>
                  <a:lnTo>
                    <a:pt x="144" y="252"/>
                  </a:lnTo>
                  <a:lnTo>
                    <a:pt x="144" y="252"/>
                  </a:lnTo>
                  <a:lnTo>
                    <a:pt x="132" y="256"/>
                  </a:lnTo>
                  <a:lnTo>
                    <a:pt x="119" y="259"/>
                  </a:lnTo>
                  <a:lnTo>
                    <a:pt x="110" y="263"/>
                  </a:lnTo>
                  <a:lnTo>
                    <a:pt x="105" y="265"/>
                  </a:lnTo>
                  <a:lnTo>
                    <a:pt x="105" y="265"/>
                  </a:lnTo>
                  <a:lnTo>
                    <a:pt x="105" y="266"/>
                  </a:lnTo>
                  <a:lnTo>
                    <a:pt x="103" y="266"/>
                  </a:lnTo>
                  <a:lnTo>
                    <a:pt x="100" y="263"/>
                  </a:lnTo>
                  <a:lnTo>
                    <a:pt x="94" y="261"/>
                  </a:lnTo>
                  <a:lnTo>
                    <a:pt x="93" y="256"/>
                  </a:lnTo>
                  <a:lnTo>
                    <a:pt x="93" y="256"/>
                  </a:lnTo>
                  <a:lnTo>
                    <a:pt x="91" y="254"/>
                  </a:lnTo>
                  <a:lnTo>
                    <a:pt x="89" y="254"/>
                  </a:lnTo>
                  <a:lnTo>
                    <a:pt x="84" y="258"/>
                  </a:lnTo>
                  <a:lnTo>
                    <a:pt x="77" y="261"/>
                  </a:lnTo>
                  <a:lnTo>
                    <a:pt x="71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4" y="258"/>
                  </a:lnTo>
                  <a:lnTo>
                    <a:pt x="64" y="258"/>
                  </a:lnTo>
                  <a:lnTo>
                    <a:pt x="61" y="275"/>
                  </a:lnTo>
                  <a:lnTo>
                    <a:pt x="59" y="282"/>
                  </a:lnTo>
                  <a:lnTo>
                    <a:pt x="53" y="288"/>
                  </a:lnTo>
                  <a:lnTo>
                    <a:pt x="53" y="288"/>
                  </a:lnTo>
                  <a:lnTo>
                    <a:pt x="52" y="293"/>
                  </a:lnTo>
                  <a:lnTo>
                    <a:pt x="52" y="297"/>
                  </a:lnTo>
                  <a:lnTo>
                    <a:pt x="53" y="298"/>
                  </a:lnTo>
                  <a:lnTo>
                    <a:pt x="57" y="302"/>
                  </a:lnTo>
                  <a:lnTo>
                    <a:pt x="62" y="307"/>
                  </a:lnTo>
                  <a:lnTo>
                    <a:pt x="64" y="314"/>
                  </a:lnTo>
                  <a:lnTo>
                    <a:pt x="64" y="320"/>
                  </a:lnTo>
                  <a:lnTo>
                    <a:pt x="64" y="320"/>
                  </a:lnTo>
                  <a:lnTo>
                    <a:pt x="64" y="320"/>
                  </a:lnTo>
                  <a:lnTo>
                    <a:pt x="64" y="320"/>
                  </a:lnTo>
                  <a:lnTo>
                    <a:pt x="64" y="32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79"/>
            <p:cNvSpPr>
              <a:spLocks/>
            </p:cNvSpPr>
            <p:nvPr/>
          </p:nvSpPr>
          <p:spPr bwMode="auto">
            <a:xfrm>
              <a:off x="2394358" y="1808820"/>
              <a:ext cx="292078" cy="340567"/>
            </a:xfrm>
            <a:custGeom>
              <a:avLst/>
              <a:gdLst>
                <a:gd name="T0" fmla="*/ 39 w 512"/>
                <a:gd name="T1" fmla="*/ 448 h 597"/>
                <a:gd name="T2" fmla="*/ 41 w 512"/>
                <a:gd name="T3" fmla="*/ 491 h 597"/>
                <a:gd name="T4" fmla="*/ 23 w 512"/>
                <a:gd name="T5" fmla="*/ 547 h 597"/>
                <a:gd name="T6" fmla="*/ 53 w 512"/>
                <a:gd name="T7" fmla="*/ 565 h 597"/>
                <a:gd name="T8" fmla="*/ 101 w 512"/>
                <a:gd name="T9" fmla="*/ 583 h 597"/>
                <a:gd name="T10" fmla="*/ 130 w 512"/>
                <a:gd name="T11" fmla="*/ 592 h 597"/>
                <a:gd name="T12" fmla="*/ 167 w 512"/>
                <a:gd name="T13" fmla="*/ 590 h 597"/>
                <a:gd name="T14" fmla="*/ 188 w 512"/>
                <a:gd name="T15" fmla="*/ 581 h 597"/>
                <a:gd name="T16" fmla="*/ 215 w 512"/>
                <a:gd name="T17" fmla="*/ 563 h 597"/>
                <a:gd name="T18" fmla="*/ 263 w 512"/>
                <a:gd name="T19" fmla="*/ 517 h 597"/>
                <a:gd name="T20" fmla="*/ 350 w 512"/>
                <a:gd name="T21" fmla="*/ 469 h 597"/>
                <a:gd name="T22" fmla="*/ 410 w 512"/>
                <a:gd name="T23" fmla="*/ 494 h 597"/>
                <a:gd name="T24" fmla="*/ 428 w 512"/>
                <a:gd name="T25" fmla="*/ 453 h 597"/>
                <a:gd name="T26" fmla="*/ 444 w 512"/>
                <a:gd name="T27" fmla="*/ 423 h 597"/>
                <a:gd name="T28" fmla="*/ 464 w 512"/>
                <a:gd name="T29" fmla="*/ 407 h 597"/>
                <a:gd name="T30" fmla="*/ 482 w 512"/>
                <a:gd name="T31" fmla="*/ 343 h 597"/>
                <a:gd name="T32" fmla="*/ 494 w 512"/>
                <a:gd name="T33" fmla="*/ 318 h 597"/>
                <a:gd name="T34" fmla="*/ 505 w 512"/>
                <a:gd name="T35" fmla="*/ 284 h 597"/>
                <a:gd name="T36" fmla="*/ 441 w 512"/>
                <a:gd name="T37" fmla="*/ 281 h 597"/>
                <a:gd name="T38" fmla="*/ 400 w 512"/>
                <a:gd name="T39" fmla="*/ 292 h 597"/>
                <a:gd name="T40" fmla="*/ 389 w 512"/>
                <a:gd name="T41" fmla="*/ 276 h 597"/>
                <a:gd name="T42" fmla="*/ 389 w 512"/>
                <a:gd name="T43" fmla="*/ 233 h 597"/>
                <a:gd name="T44" fmla="*/ 371 w 512"/>
                <a:gd name="T45" fmla="*/ 206 h 597"/>
                <a:gd name="T46" fmla="*/ 339 w 512"/>
                <a:gd name="T47" fmla="*/ 210 h 597"/>
                <a:gd name="T48" fmla="*/ 345 w 512"/>
                <a:gd name="T49" fmla="*/ 188 h 597"/>
                <a:gd name="T50" fmla="*/ 371 w 512"/>
                <a:gd name="T51" fmla="*/ 192 h 597"/>
                <a:gd name="T52" fmla="*/ 389 w 512"/>
                <a:gd name="T53" fmla="*/ 172 h 597"/>
                <a:gd name="T54" fmla="*/ 386 w 512"/>
                <a:gd name="T55" fmla="*/ 155 h 597"/>
                <a:gd name="T56" fmla="*/ 419 w 512"/>
                <a:gd name="T57" fmla="*/ 142 h 597"/>
                <a:gd name="T58" fmla="*/ 435 w 512"/>
                <a:gd name="T59" fmla="*/ 128 h 597"/>
                <a:gd name="T60" fmla="*/ 467 w 512"/>
                <a:gd name="T61" fmla="*/ 110 h 597"/>
                <a:gd name="T62" fmla="*/ 474 w 512"/>
                <a:gd name="T63" fmla="*/ 84 h 597"/>
                <a:gd name="T64" fmla="*/ 460 w 512"/>
                <a:gd name="T65" fmla="*/ 71 h 597"/>
                <a:gd name="T66" fmla="*/ 425 w 512"/>
                <a:gd name="T67" fmla="*/ 62 h 597"/>
                <a:gd name="T68" fmla="*/ 425 w 512"/>
                <a:gd name="T69" fmla="*/ 41 h 597"/>
                <a:gd name="T70" fmla="*/ 419 w 512"/>
                <a:gd name="T71" fmla="*/ 20 h 597"/>
                <a:gd name="T72" fmla="*/ 407 w 512"/>
                <a:gd name="T73" fmla="*/ 2 h 597"/>
                <a:gd name="T74" fmla="*/ 391 w 512"/>
                <a:gd name="T75" fmla="*/ 12 h 597"/>
                <a:gd name="T76" fmla="*/ 350 w 512"/>
                <a:gd name="T77" fmla="*/ 30 h 597"/>
                <a:gd name="T78" fmla="*/ 343 w 512"/>
                <a:gd name="T79" fmla="*/ 50 h 597"/>
                <a:gd name="T80" fmla="*/ 329 w 512"/>
                <a:gd name="T81" fmla="*/ 80 h 597"/>
                <a:gd name="T82" fmla="*/ 350 w 512"/>
                <a:gd name="T83" fmla="*/ 82 h 597"/>
                <a:gd name="T84" fmla="*/ 336 w 512"/>
                <a:gd name="T85" fmla="*/ 94 h 597"/>
                <a:gd name="T86" fmla="*/ 304 w 512"/>
                <a:gd name="T87" fmla="*/ 92 h 597"/>
                <a:gd name="T88" fmla="*/ 229 w 512"/>
                <a:gd name="T89" fmla="*/ 133 h 597"/>
                <a:gd name="T90" fmla="*/ 194 w 512"/>
                <a:gd name="T91" fmla="*/ 158 h 597"/>
                <a:gd name="T92" fmla="*/ 147 w 512"/>
                <a:gd name="T93" fmla="*/ 185 h 597"/>
                <a:gd name="T94" fmla="*/ 87 w 512"/>
                <a:gd name="T95" fmla="*/ 260 h 597"/>
                <a:gd name="T96" fmla="*/ 66 w 512"/>
                <a:gd name="T97" fmla="*/ 290 h 597"/>
                <a:gd name="T98" fmla="*/ 106 w 512"/>
                <a:gd name="T99" fmla="*/ 302 h 597"/>
                <a:gd name="T100" fmla="*/ 119 w 512"/>
                <a:gd name="T101" fmla="*/ 331 h 597"/>
                <a:gd name="T102" fmla="*/ 99 w 512"/>
                <a:gd name="T103" fmla="*/ 336 h 597"/>
                <a:gd name="T104" fmla="*/ 67 w 512"/>
                <a:gd name="T105" fmla="*/ 340 h 597"/>
                <a:gd name="T106" fmla="*/ 51 w 512"/>
                <a:gd name="T107" fmla="*/ 340 h 597"/>
                <a:gd name="T108" fmla="*/ 35 w 512"/>
                <a:gd name="T109" fmla="*/ 386 h 597"/>
                <a:gd name="T110" fmla="*/ 10 w 512"/>
                <a:gd name="T111" fmla="*/ 407 h 597"/>
                <a:gd name="T112" fmla="*/ 25 w 512"/>
                <a:gd name="T113" fmla="*/ 434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2" h="597">
                  <a:moveTo>
                    <a:pt x="25" y="434"/>
                  </a:moveTo>
                  <a:lnTo>
                    <a:pt x="25" y="434"/>
                  </a:lnTo>
                  <a:lnTo>
                    <a:pt x="25" y="437"/>
                  </a:lnTo>
                  <a:lnTo>
                    <a:pt x="25" y="441"/>
                  </a:lnTo>
                  <a:lnTo>
                    <a:pt x="32" y="443"/>
                  </a:lnTo>
                  <a:lnTo>
                    <a:pt x="39" y="443"/>
                  </a:lnTo>
                  <a:lnTo>
                    <a:pt x="39" y="448"/>
                  </a:lnTo>
                  <a:lnTo>
                    <a:pt x="44" y="453"/>
                  </a:lnTo>
                  <a:lnTo>
                    <a:pt x="58" y="464"/>
                  </a:lnTo>
                  <a:lnTo>
                    <a:pt x="42" y="478"/>
                  </a:lnTo>
                  <a:lnTo>
                    <a:pt x="42" y="478"/>
                  </a:lnTo>
                  <a:lnTo>
                    <a:pt x="42" y="489"/>
                  </a:lnTo>
                  <a:lnTo>
                    <a:pt x="42" y="489"/>
                  </a:lnTo>
                  <a:lnTo>
                    <a:pt x="41" y="491"/>
                  </a:lnTo>
                  <a:lnTo>
                    <a:pt x="39" y="498"/>
                  </a:lnTo>
                  <a:lnTo>
                    <a:pt x="34" y="501"/>
                  </a:lnTo>
                  <a:lnTo>
                    <a:pt x="23" y="516"/>
                  </a:lnTo>
                  <a:lnTo>
                    <a:pt x="21" y="524"/>
                  </a:lnTo>
                  <a:lnTo>
                    <a:pt x="16" y="530"/>
                  </a:lnTo>
                  <a:lnTo>
                    <a:pt x="21" y="544"/>
                  </a:lnTo>
                  <a:lnTo>
                    <a:pt x="23" y="547"/>
                  </a:lnTo>
                  <a:lnTo>
                    <a:pt x="26" y="546"/>
                  </a:lnTo>
                  <a:lnTo>
                    <a:pt x="32" y="546"/>
                  </a:lnTo>
                  <a:lnTo>
                    <a:pt x="23" y="553"/>
                  </a:lnTo>
                  <a:lnTo>
                    <a:pt x="26" y="563"/>
                  </a:lnTo>
                  <a:lnTo>
                    <a:pt x="35" y="565"/>
                  </a:lnTo>
                  <a:lnTo>
                    <a:pt x="42" y="569"/>
                  </a:lnTo>
                  <a:lnTo>
                    <a:pt x="53" y="565"/>
                  </a:lnTo>
                  <a:lnTo>
                    <a:pt x="66" y="563"/>
                  </a:lnTo>
                  <a:lnTo>
                    <a:pt x="74" y="569"/>
                  </a:lnTo>
                  <a:lnTo>
                    <a:pt x="82" y="588"/>
                  </a:lnTo>
                  <a:lnTo>
                    <a:pt x="82" y="588"/>
                  </a:lnTo>
                  <a:lnTo>
                    <a:pt x="83" y="590"/>
                  </a:lnTo>
                  <a:lnTo>
                    <a:pt x="101" y="583"/>
                  </a:lnTo>
                  <a:lnTo>
                    <a:pt x="101" y="583"/>
                  </a:lnTo>
                  <a:lnTo>
                    <a:pt x="106" y="590"/>
                  </a:lnTo>
                  <a:lnTo>
                    <a:pt x="114" y="595"/>
                  </a:lnTo>
                  <a:lnTo>
                    <a:pt x="115" y="597"/>
                  </a:lnTo>
                  <a:lnTo>
                    <a:pt x="117" y="597"/>
                  </a:lnTo>
                  <a:lnTo>
                    <a:pt x="117" y="597"/>
                  </a:lnTo>
                  <a:lnTo>
                    <a:pt x="122" y="597"/>
                  </a:lnTo>
                  <a:lnTo>
                    <a:pt x="130" y="592"/>
                  </a:lnTo>
                  <a:lnTo>
                    <a:pt x="140" y="592"/>
                  </a:lnTo>
                  <a:lnTo>
                    <a:pt x="146" y="590"/>
                  </a:lnTo>
                  <a:lnTo>
                    <a:pt x="146" y="590"/>
                  </a:lnTo>
                  <a:lnTo>
                    <a:pt x="154" y="592"/>
                  </a:lnTo>
                  <a:lnTo>
                    <a:pt x="160" y="592"/>
                  </a:lnTo>
                  <a:lnTo>
                    <a:pt x="163" y="592"/>
                  </a:lnTo>
                  <a:lnTo>
                    <a:pt x="167" y="590"/>
                  </a:lnTo>
                  <a:lnTo>
                    <a:pt x="167" y="588"/>
                  </a:lnTo>
                  <a:lnTo>
                    <a:pt x="167" y="588"/>
                  </a:lnTo>
                  <a:lnTo>
                    <a:pt x="174" y="585"/>
                  </a:lnTo>
                  <a:lnTo>
                    <a:pt x="179" y="581"/>
                  </a:lnTo>
                  <a:lnTo>
                    <a:pt x="183" y="581"/>
                  </a:lnTo>
                  <a:lnTo>
                    <a:pt x="188" y="581"/>
                  </a:lnTo>
                  <a:lnTo>
                    <a:pt x="188" y="581"/>
                  </a:lnTo>
                  <a:lnTo>
                    <a:pt x="197" y="581"/>
                  </a:lnTo>
                  <a:lnTo>
                    <a:pt x="202" y="578"/>
                  </a:lnTo>
                  <a:lnTo>
                    <a:pt x="206" y="576"/>
                  </a:lnTo>
                  <a:lnTo>
                    <a:pt x="210" y="571"/>
                  </a:lnTo>
                  <a:lnTo>
                    <a:pt x="210" y="571"/>
                  </a:lnTo>
                  <a:lnTo>
                    <a:pt x="211" y="569"/>
                  </a:lnTo>
                  <a:lnTo>
                    <a:pt x="215" y="563"/>
                  </a:lnTo>
                  <a:lnTo>
                    <a:pt x="211" y="560"/>
                  </a:lnTo>
                  <a:lnTo>
                    <a:pt x="215" y="558"/>
                  </a:lnTo>
                  <a:lnTo>
                    <a:pt x="220" y="547"/>
                  </a:lnTo>
                  <a:lnTo>
                    <a:pt x="229" y="535"/>
                  </a:lnTo>
                  <a:lnTo>
                    <a:pt x="242" y="528"/>
                  </a:lnTo>
                  <a:lnTo>
                    <a:pt x="240" y="524"/>
                  </a:lnTo>
                  <a:lnTo>
                    <a:pt x="263" y="517"/>
                  </a:lnTo>
                  <a:lnTo>
                    <a:pt x="277" y="501"/>
                  </a:lnTo>
                  <a:lnTo>
                    <a:pt x="275" y="491"/>
                  </a:lnTo>
                  <a:lnTo>
                    <a:pt x="291" y="489"/>
                  </a:lnTo>
                  <a:lnTo>
                    <a:pt x="306" y="478"/>
                  </a:lnTo>
                  <a:lnTo>
                    <a:pt x="325" y="475"/>
                  </a:lnTo>
                  <a:lnTo>
                    <a:pt x="336" y="469"/>
                  </a:lnTo>
                  <a:lnTo>
                    <a:pt x="350" y="469"/>
                  </a:lnTo>
                  <a:lnTo>
                    <a:pt x="354" y="489"/>
                  </a:lnTo>
                  <a:lnTo>
                    <a:pt x="361" y="503"/>
                  </a:lnTo>
                  <a:lnTo>
                    <a:pt x="377" y="498"/>
                  </a:lnTo>
                  <a:lnTo>
                    <a:pt x="377" y="498"/>
                  </a:lnTo>
                  <a:lnTo>
                    <a:pt x="405" y="496"/>
                  </a:lnTo>
                  <a:lnTo>
                    <a:pt x="405" y="496"/>
                  </a:lnTo>
                  <a:lnTo>
                    <a:pt x="410" y="494"/>
                  </a:lnTo>
                  <a:lnTo>
                    <a:pt x="414" y="494"/>
                  </a:lnTo>
                  <a:lnTo>
                    <a:pt x="419" y="489"/>
                  </a:lnTo>
                  <a:lnTo>
                    <a:pt x="428" y="469"/>
                  </a:lnTo>
                  <a:lnTo>
                    <a:pt x="428" y="469"/>
                  </a:lnTo>
                  <a:lnTo>
                    <a:pt x="428" y="462"/>
                  </a:lnTo>
                  <a:lnTo>
                    <a:pt x="428" y="457"/>
                  </a:lnTo>
                  <a:lnTo>
                    <a:pt x="428" y="453"/>
                  </a:lnTo>
                  <a:lnTo>
                    <a:pt x="432" y="450"/>
                  </a:lnTo>
                  <a:lnTo>
                    <a:pt x="432" y="450"/>
                  </a:lnTo>
                  <a:lnTo>
                    <a:pt x="441" y="439"/>
                  </a:lnTo>
                  <a:lnTo>
                    <a:pt x="442" y="434"/>
                  </a:lnTo>
                  <a:lnTo>
                    <a:pt x="444" y="428"/>
                  </a:lnTo>
                  <a:lnTo>
                    <a:pt x="444" y="428"/>
                  </a:lnTo>
                  <a:lnTo>
                    <a:pt x="444" y="423"/>
                  </a:lnTo>
                  <a:lnTo>
                    <a:pt x="446" y="416"/>
                  </a:lnTo>
                  <a:lnTo>
                    <a:pt x="448" y="409"/>
                  </a:lnTo>
                  <a:lnTo>
                    <a:pt x="450" y="407"/>
                  </a:lnTo>
                  <a:lnTo>
                    <a:pt x="451" y="405"/>
                  </a:lnTo>
                  <a:lnTo>
                    <a:pt x="451" y="405"/>
                  </a:lnTo>
                  <a:lnTo>
                    <a:pt x="458" y="405"/>
                  </a:lnTo>
                  <a:lnTo>
                    <a:pt x="464" y="407"/>
                  </a:lnTo>
                  <a:lnTo>
                    <a:pt x="467" y="407"/>
                  </a:lnTo>
                  <a:lnTo>
                    <a:pt x="485" y="407"/>
                  </a:lnTo>
                  <a:lnTo>
                    <a:pt x="485" y="407"/>
                  </a:lnTo>
                  <a:lnTo>
                    <a:pt x="485" y="368"/>
                  </a:lnTo>
                  <a:lnTo>
                    <a:pt x="485" y="368"/>
                  </a:lnTo>
                  <a:lnTo>
                    <a:pt x="483" y="357"/>
                  </a:lnTo>
                  <a:lnTo>
                    <a:pt x="482" y="343"/>
                  </a:lnTo>
                  <a:lnTo>
                    <a:pt x="482" y="338"/>
                  </a:lnTo>
                  <a:lnTo>
                    <a:pt x="482" y="334"/>
                  </a:lnTo>
                  <a:lnTo>
                    <a:pt x="483" y="331"/>
                  </a:lnTo>
                  <a:lnTo>
                    <a:pt x="485" y="324"/>
                  </a:lnTo>
                  <a:lnTo>
                    <a:pt x="485" y="324"/>
                  </a:lnTo>
                  <a:lnTo>
                    <a:pt x="490" y="320"/>
                  </a:lnTo>
                  <a:lnTo>
                    <a:pt x="494" y="318"/>
                  </a:lnTo>
                  <a:lnTo>
                    <a:pt x="505" y="313"/>
                  </a:lnTo>
                  <a:lnTo>
                    <a:pt x="512" y="308"/>
                  </a:lnTo>
                  <a:lnTo>
                    <a:pt x="512" y="304"/>
                  </a:lnTo>
                  <a:lnTo>
                    <a:pt x="512" y="300"/>
                  </a:lnTo>
                  <a:lnTo>
                    <a:pt x="512" y="300"/>
                  </a:lnTo>
                  <a:lnTo>
                    <a:pt x="508" y="292"/>
                  </a:lnTo>
                  <a:lnTo>
                    <a:pt x="505" y="284"/>
                  </a:lnTo>
                  <a:lnTo>
                    <a:pt x="496" y="283"/>
                  </a:lnTo>
                  <a:lnTo>
                    <a:pt x="496" y="283"/>
                  </a:lnTo>
                  <a:lnTo>
                    <a:pt x="490" y="281"/>
                  </a:lnTo>
                  <a:lnTo>
                    <a:pt x="482" y="281"/>
                  </a:lnTo>
                  <a:lnTo>
                    <a:pt x="464" y="283"/>
                  </a:lnTo>
                  <a:lnTo>
                    <a:pt x="464" y="283"/>
                  </a:lnTo>
                  <a:lnTo>
                    <a:pt x="441" y="281"/>
                  </a:lnTo>
                  <a:lnTo>
                    <a:pt x="418" y="277"/>
                  </a:lnTo>
                  <a:lnTo>
                    <a:pt x="418" y="277"/>
                  </a:lnTo>
                  <a:lnTo>
                    <a:pt x="412" y="277"/>
                  </a:lnTo>
                  <a:lnTo>
                    <a:pt x="412" y="281"/>
                  </a:lnTo>
                  <a:lnTo>
                    <a:pt x="407" y="284"/>
                  </a:lnTo>
                  <a:lnTo>
                    <a:pt x="403" y="290"/>
                  </a:lnTo>
                  <a:lnTo>
                    <a:pt x="400" y="292"/>
                  </a:lnTo>
                  <a:lnTo>
                    <a:pt x="394" y="292"/>
                  </a:lnTo>
                  <a:lnTo>
                    <a:pt x="394" y="292"/>
                  </a:lnTo>
                  <a:lnTo>
                    <a:pt x="391" y="290"/>
                  </a:lnTo>
                  <a:lnTo>
                    <a:pt x="387" y="290"/>
                  </a:lnTo>
                  <a:lnTo>
                    <a:pt x="384" y="284"/>
                  </a:lnTo>
                  <a:lnTo>
                    <a:pt x="384" y="284"/>
                  </a:lnTo>
                  <a:lnTo>
                    <a:pt x="389" y="276"/>
                  </a:lnTo>
                  <a:lnTo>
                    <a:pt x="393" y="267"/>
                  </a:lnTo>
                  <a:lnTo>
                    <a:pt x="394" y="260"/>
                  </a:lnTo>
                  <a:lnTo>
                    <a:pt x="394" y="260"/>
                  </a:lnTo>
                  <a:lnTo>
                    <a:pt x="394" y="254"/>
                  </a:lnTo>
                  <a:lnTo>
                    <a:pt x="393" y="249"/>
                  </a:lnTo>
                  <a:lnTo>
                    <a:pt x="389" y="233"/>
                  </a:lnTo>
                  <a:lnTo>
                    <a:pt x="389" y="233"/>
                  </a:lnTo>
                  <a:lnTo>
                    <a:pt x="386" y="224"/>
                  </a:lnTo>
                  <a:lnTo>
                    <a:pt x="380" y="220"/>
                  </a:lnTo>
                  <a:lnTo>
                    <a:pt x="377" y="217"/>
                  </a:lnTo>
                  <a:lnTo>
                    <a:pt x="371" y="212"/>
                  </a:lnTo>
                  <a:lnTo>
                    <a:pt x="371" y="212"/>
                  </a:lnTo>
                  <a:lnTo>
                    <a:pt x="371" y="210"/>
                  </a:lnTo>
                  <a:lnTo>
                    <a:pt x="371" y="206"/>
                  </a:lnTo>
                  <a:lnTo>
                    <a:pt x="364" y="206"/>
                  </a:lnTo>
                  <a:lnTo>
                    <a:pt x="364" y="206"/>
                  </a:lnTo>
                  <a:lnTo>
                    <a:pt x="354" y="210"/>
                  </a:lnTo>
                  <a:lnTo>
                    <a:pt x="348" y="212"/>
                  </a:lnTo>
                  <a:lnTo>
                    <a:pt x="345" y="212"/>
                  </a:lnTo>
                  <a:lnTo>
                    <a:pt x="341" y="210"/>
                  </a:lnTo>
                  <a:lnTo>
                    <a:pt x="339" y="210"/>
                  </a:lnTo>
                  <a:lnTo>
                    <a:pt x="339" y="204"/>
                  </a:lnTo>
                  <a:lnTo>
                    <a:pt x="339" y="204"/>
                  </a:lnTo>
                  <a:lnTo>
                    <a:pt x="339" y="194"/>
                  </a:lnTo>
                  <a:lnTo>
                    <a:pt x="341" y="190"/>
                  </a:lnTo>
                  <a:lnTo>
                    <a:pt x="341" y="188"/>
                  </a:lnTo>
                  <a:lnTo>
                    <a:pt x="341" y="188"/>
                  </a:lnTo>
                  <a:lnTo>
                    <a:pt x="345" y="188"/>
                  </a:lnTo>
                  <a:lnTo>
                    <a:pt x="345" y="188"/>
                  </a:lnTo>
                  <a:lnTo>
                    <a:pt x="350" y="190"/>
                  </a:lnTo>
                  <a:lnTo>
                    <a:pt x="354" y="190"/>
                  </a:lnTo>
                  <a:lnTo>
                    <a:pt x="361" y="190"/>
                  </a:lnTo>
                  <a:lnTo>
                    <a:pt x="361" y="190"/>
                  </a:lnTo>
                  <a:lnTo>
                    <a:pt x="366" y="192"/>
                  </a:lnTo>
                  <a:lnTo>
                    <a:pt x="371" y="192"/>
                  </a:lnTo>
                  <a:lnTo>
                    <a:pt x="373" y="194"/>
                  </a:lnTo>
                  <a:lnTo>
                    <a:pt x="377" y="192"/>
                  </a:lnTo>
                  <a:lnTo>
                    <a:pt x="377" y="190"/>
                  </a:lnTo>
                  <a:lnTo>
                    <a:pt x="377" y="190"/>
                  </a:lnTo>
                  <a:lnTo>
                    <a:pt x="386" y="180"/>
                  </a:lnTo>
                  <a:lnTo>
                    <a:pt x="387" y="174"/>
                  </a:lnTo>
                  <a:lnTo>
                    <a:pt x="389" y="172"/>
                  </a:lnTo>
                  <a:lnTo>
                    <a:pt x="387" y="171"/>
                  </a:lnTo>
                  <a:lnTo>
                    <a:pt x="387" y="171"/>
                  </a:lnTo>
                  <a:lnTo>
                    <a:pt x="387" y="165"/>
                  </a:lnTo>
                  <a:lnTo>
                    <a:pt x="384" y="164"/>
                  </a:lnTo>
                  <a:lnTo>
                    <a:pt x="384" y="160"/>
                  </a:lnTo>
                  <a:lnTo>
                    <a:pt x="386" y="155"/>
                  </a:lnTo>
                  <a:lnTo>
                    <a:pt x="386" y="155"/>
                  </a:lnTo>
                  <a:lnTo>
                    <a:pt x="391" y="149"/>
                  </a:lnTo>
                  <a:lnTo>
                    <a:pt x="398" y="142"/>
                  </a:lnTo>
                  <a:lnTo>
                    <a:pt x="405" y="139"/>
                  </a:lnTo>
                  <a:lnTo>
                    <a:pt x="409" y="139"/>
                  </a:lnTo>
                  <a:lnTo>
                    <a:pt x="410" y="139"/>
                  </a:lnTo>
                  <a:lnTo>
                    <a:pt x="410" y="139"/>
                  </a:lnTo>
                  <a:lnTo>
                    <a:pt x="419" y="142"/>
                  </a:lnTo>
                  <a:lnTo>
                    <a:pt x="423" y="142"/>
                  </a:lnTo>
                  <a:lnTo>
                    <a:pt x="426" y="140"/>
                  </a:lnTo>
                  <a:lnTo>
                    <a:pt x="426" y="140"/>
                  </a:lnTo>
                  <a:lnTo>
                    <a:pt x="428" y="139"/>
                  </a:lnTo>
                  <a:lnTo>
                    <a:pt x="432" y="137"/>
                  </a:lnTo>
                  <a:lnTo>
                    <a:pt x="432" y="132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39" y="124"/>
                  </a:lnTo>
                  <a:lnTo>
                    <a:pt x="450" y="119"/>
                  </a:lnTo>
                  <a:lnTo>
                    <a:pt x="464" y="114"/>
                  </a:lnTo>
                  <a:lnTo>
                    <a:pt x="464" y="114"/>
                  </a:lnTo>
                  <a:lnTo>
                    <a:pt x="467" y="110"/>
                  </a:lnTo>
                  <a:lnTo>
                    <a:pt x="471" y="107"/>
                  </a:lnTo>
                  <a:lnTo>
                    <a:pt x="476" y="101"/>
                  </a:lnTo>
                  <a:lnTo>
                    <a:pt x="476" y="98"/>
                  </a:lnTo>
                  <a:lnTo>
                    <a:pt x="476" y="94"/>
                  </a:lnTo>
                  <a:lnTo>
                    <a:pt x="476" y="94"/>
                  </a:lnTo>
                  <a:lnTo>
                    <a:pt x="474" y="91"/>
                  </a:lnTo>
                  <a:lnTo>
                    <a:pt x="474" y="84"/>
                  </a:lnTo>
                  <a:lnTo>
                    <a:pt x="473" y="80"/>
                  </a:lnTo>
                  <a:lnTo>
                    <a:pt x="473" y="78"/>
                  </a:lnTo>
                  <a:lnTo>
                    <a:pt x="473" y="78"/>
                  </a:lnTo>
                  <a:lnTo>
                    <a:pt x="473" y="78"/>
                  </a:lnTo>
                  <a:lnTo>
                    <a:pt x="469" y="76"/>
                  </a:lnTo>
                  <a:lnTo>
                    <a:pt x="466" y="76"/>
                  </a:lnTo>
                  <a:lnTo>
                    <a:pt x="460" y="71"/>
                  </a:lnTo>
                  <a:lnTo>
                    <a:pt x="460" y="71"/>
                  </a:lnTo>
                  <a:lnTo>
                    <a:pt x="453" y="69"/>
                  </a:lnTo>
                  <a:lnTo>
                    <a:pt x="448" y="68"/>
                  </a:lnTo>
                  <a:lnTo>
                    <a:pt x="435" y="66"/>
                  </a:lnTo>
                  <a:lnTo>
                    <a:pt x="435" y="66"/>
                  </a:lnTo>
                  <a:lnTo>
                    <a:pt x="432" y="66"/>
                  </a:lnTo>
                  <a:lnTo>
                    <a:pt x="425" y="62"/>
                  </a:lnTo>
                  <a:lnTo>
                    <a:pt x="421" y="60"/>
                  </a:lnTo>
                  <a:lnTo>
                    <a:pt x="419" y="59"/>
                  </a:lnTo>
                  <a:lnTo>
                    <a:pt x="419" y="57"/>
                  </a:lnTo>
                  <a:lnTo>
                    <a:pt x="419" y="57"/>
                  </a:lnTo>
                  <a:lnTo>
                    <a:pt x="421" y="53"/>
                  </a:lnTo>
                  <a:lnTo>
                    <a:pt x="423" y="48"/>
                  </a:lnTo>
                  <a:lnTo>
                    <a:pt x="425" y="41"/>
                  </a:lnTo>
                  <a:lnTo>
                    <a:pt x="426" y="37"/>
                  </a:lnTo>
                  <a:lnTo>
                    <a:pt x="426" y="37"/>
                  </a:lnTo>
                  <a:lnTo>
                    <a:pt x="425" y="28"/>
                  </a:lnTo>
                  <a:lnTo>
                    <a:pt x="425" y="25"/>
                  </a:lnTo>
                  <a:lnTo>
                    <a:pt x="423" y="21"/>
                  </a:lnTo>
                  <a:lnTo>
                    <a:pt x="423" y="21"/>
                  </a:lnTo>
                  <a:lnTo>
                    <a:pt x="419" y="20"/>
                  </a:lnTo>
                  <a:lnTo>
                    <a:pt x="412" y="18"/>
                  </a:lnTo>
                  <a:lnTo>
                    <a:pt x="409" y="16"/>
                  </a:lnTo>
                  <a:lnTo>
                    <a:pt x="409" y="14"/>
                  </a:lnTo>
                  <a:lnTo>
                    <a:pt x="407" y="12"/>
                  </a:lnTo>
                  <a:lnTo>
                    <a:pt x="407" y="12"/>
                  </a:lnTo>
                  <a:lnTo>
                    <a:pt x="409" y="5"/>
                  </a:lnTo>
                  <a:lnTo>
                    <a:pt x="407" y="2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03" y="0"/>
                  </a:lnTo>
                  <a:lnTo>
                    <a:pt x="400" y="2"/>
                  </a:lnTo>
                  <a:lnTo>
                    <a:pt x="394" y="7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78" y="21"/>
                  </a:lnTo>
                  <a:lnTo>
                    <a:pt x="371" y="30"/>
                  </a:lnTo>
                  <a:lnTo>
                    <a:pt x="368" y="30"/>
                  </a:lnTo>
                  <a:lnTo>
                    <a:pt x="364" y="30"/>
                  </a:lnTo>
                  <a:lnTo>
                    <a:pt x="364" y="30"/>
                  </a:lnTo>
                  <a:lnTo>
                    <a:pt x="354" y="30"/>
                  </a:lnTo>
                  <a:lnTo>
                    <a:pt x="350" y="30"/>
                  </a:lnTo>
                  <a:lnTo>
                    <a:pt x="348" y="34"/>
                  </a:lnTo>
                  <a:lnTo>
                    <a:pt x="348" y="34"/>
                  </a:lnTo>
                  <a:lnTo>
                    <a:pt x="346" y="36"/>
                  </a:lnTo>
                  <a:lnTo>
                    <a:pt x="345" y="39"/>
                  </a:lnTo>
                  <a:lnTo>
                    <a:pt x="345" y="43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39" y="53"/>
                  </a:lnTo>
                  <a:lnTo>
                    <a:pt x="336" y="60"/>
                  </a:lnTo>
                  <a:lnTo>
                    <a:pt x="336" y="60"/>
                  </a:lnTo>
                  <a:lnTo>
                    <a:pt x="330" y="73"/>
                  </a:lnTo>
                  <a:lnTo>
                    <a:pt x="329" y="76"/>
                  </a:lnTo>
                  <a:lnTo>
                    <a:pt x="329" y="80"/>
                  </a:lnTo>
                  <a:lnTo>
                    <a:pt x="329" y="80"/>
                  </a:lnTo>
                  <a:lnTo>
                    <a:pt x="330" y="80"/>
                  </a:lnTo>
                  <a:lnTo>
                    <a:pt x="332" y="80"/>
                  </a:lnTo>
                  <a:lnTo>
                    <a:pt x="339" y="80"/>
                  </a:lnTo>
                  <a:lnTo>
                    <a:pt x="346" y="80"/>
                  </a:lnTo>
                  <a:lnTo>
                    <a:pt x="348" y="82"/>
                  </a:lnTo>
                  <a:lnTo>
                    <a:pt x="350" y="82"/>
                  </a:lnTo>
                  <a:lnTo>
                    <a:pt x="350" y="82"/>
                  </a:lnTo>
                  <a:lnTo>
                    <a:pt x="357" y="91"/>
                  </a:lnTo>
                  <a:lnTo>
                    <a:pt x="357" y="92"/>
                  </a:lnTo>
                  <a:lnTo>
                    <a:pt x="357" y="92"/>
                  </a:lnTo>
                  <a:lnTo>
                    <a:pt x="357" y="94"/>
                  </a:lnTo>
                  <a:lnTo>
                    <a:pt x="354" y="94"/>
                  </a:lnTo>
                  <a:lnTo>
                    <a:pt x="354" y="94"/>
                  </a:lnTo>
                  <a:lnTo>
                    <a:pt x="336" y="94"/>
                  </a:lnTo>
                  <a:lnTo>
                    <a:pt x="322" y="92"/>
                  </a:lnTo>
                  <a:lnTo>
                    <a:pt x="322" y="92"/>
                  </a:lnTo>
                  <a:lnTo>
                    <a:pt x="318" y="92"/>
                  </a:lnTo>
                  <a:lnTo>
                    <a:pt x="313" y="91"/>
                  </a:lnTo>
                  <a:lnTo>
                    <a:pt x="309" y="91"/>
                  </a:lnTo>
                  <a:lnTo>
                    <a:pt x="309" y="91"/>
                  </a:lnTo>
                  <a:lnTo>
                    <a:pt x="304" y="92"/>
                  </a:lnTo>
                  <a:lnTo>
                    <a:pt x="300" y="92"/>
                  </a:lnTo>
                  <a:lnTo>
                    <a:pt x="284" y="101"/>
                  </a:lnTo>
                  <a:lnTo>
                    <a:pt x="284" y="101"/>
                  </a:lnTo>
                  <a:lnTo>
                    <a:pt x="258" y="119"/>
                  </a:lnTo>
                  <a:lnTo>
                    <a:pt x="242" y="130"/>
                  </a:lnTo>
                  <a:lnTo>
                    <a:pt x="236" y="132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6" y="135"/>
                  </a:lnTo>
                  <a:lnTo>
                    <a:pt x="220" y="139"/>
                  </a:lnTo>
                  <a:lnTo>
                    <a:pt x="210" y="148"/>
                  </a:lnTo>
                  <a:lnTo>
                    <a:pt x="202" y="153"/>
                  </a:lnTo>
                  <a:lnTo>
                    <a:pt x="199" y="156"/>
                  </a:lnTo>
                  <a:lnTo>
                    <a:pt x="194" y="158"/>
                  </a:lnTo>
                  <a:lnTo>
                    <a:pt x="194" y="158"/>
                  </a:lnTo>
                  <a:lnTo>
                    <a:pt x="185" y="160"/>
                  </a:lnTo>
                  <a:lnTo>
                    <a:pt x="176" y="164"/>
                  </a:lnTo>
                  <a:lnTo>
                    <a:pt x="167" y="171"/>
                  </a:lnTo>
                  <a:lnTo>
                    <a:pt x="160" y="176"/>
                  </a:lnTo>
                  <a:lnTo>
                    <a:pt x="160" y="176"/>
                  </a:lnTo>
                  <a:lnTo>
                    <a:pt x="147" y="185"/>
                  </a:lnTo>
                  <a:lnTo>
                    <a:pt x="137" y="196"/>
                  </a:lnTo>
                  <a:lnTo>
                    <a:pt x="126" y="204"/>
                  </a:lnTo>
                  <a:lnTo>
                    <a:pt x="121" y="210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99" y="244"/>
                  </a:lnTo>
                  <a:lnTo>
                    <a:pt x="87" y="260"/>
                  </a:lnTo>
                  <a:lnTo>
                    <a:pt x="83" y="265"/>
                  </a:lnTo>
                  <a:lnTo>
                    <a:pt x="78" y="272"/>
                  </a:lnTo>
                  <a:lnTo>
                    <a:pt x="78" y="272"/>
                  </a:lnTo>
                  <a:lnTo>
                    <a:pt x="73" y="276"/>
                  </a:lnTo>
                  <a:lnTo>
                    <a:pt x="67" y="281"/>
                  </a:lnTo>
                  <a:lnTo>
                    <a:pt x="66" y="286"/>
                  </a:lnTo>
                  <a:lnTo>
                    <a:pt x="66" y="290"/>
                  </a:lnTo>
                  <a:lnTo>
                    <a:pt x="66" y="290"/>
                  </a:lnTo>
                  <a:lnTo>
                    <a:pt x="71" y="293"/>
                  </a:lnTo>
                  <a:lnTo>
                    <a:pt x="74" y="297"/>
                  </a:lnTo>
                  <a:lnTo>
                    <a:pt x="80" y="300"/>
                  </a:lnTo>
                  <a:lnTo>
                    <a:pt x="80" y="300"/>
                  </a:lnTo>
                  <a:lnTo>
                    <a:pt x="98" y="300"/>
                  </a:lnTo>
                  <a:lnTo>
                    <a:pt x="106" y="302"/>
                  </a:lnTo>
                  <a:lnTo>
                    <a:pt x="112" y="304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7" y="313"/>
                  </a:lnTo>
                  <a:lnTo>
                    <a:pt x="119" y="322"/>
                  </a:lnTo>
                  <a:lnTo>
                    <a:pt x="119" y="325"/>
                  </a:lnTo>
                  <a:lnTo>
                    <a:pt x="119" y="331"/>
                  </a:lnTo>
                  <a:lnTo>
                    <a:pt x="117" y="334"/>
                  </a:lnTo>
                  <a:lnTo>
                    <a:pt x="115" y="336"/>
                  </a:lnTo>
                  <a:lnTo>
                    <a:pt x="115" y="336"/>
                  </a:lnTo>
                  <a:lnTo>
                    <a:pt x="112" y="336"/>
                  </a:lnTo>
                  <a:lnTo>
                    <a:pt x="106" y="336"/>
                  </a:lnTo>
                  <a:lnTo>
                    <a:pt x="103" y="334"/>
                  </a:lnTo>
                  <a:lnTo>
                    <a:pt x="99" y="336"/>
                  </a:lnTo>
                  <a:lnTo>
                    <a:pt x="99" y="336"/>
                  </a:lnTo>
                  <a:lnTo>
                    <a:pt x="83" y="341"/>
                  </a:lnTo>
                  <a:lnTo>
                    <a:pt x="76" y="343"/>
                  </a:lnTo>
                  <a:lnTo>
                    <a:pt x="74" y="343"/>
                  </a:lnTo>
                  <a:lnTo>
                    <a:pt x="71" y="343"/>
                  </a:lnTo>
                  <a:lnTo>
                    <a:pt x="71" y="343"/>
                  </a:lnTo>
                  <a:lnTo>
                    <a:pt x="67" y="340"/>
                  </a:lnTo>
                  <a:lnTo>
                    <a:pt x="62" y="338"/>
                  </a:lnTo>
                  <a:lnTo>
                    <a:pt x="57" y="338"/>
                  </a:lnTo>
                  <a:lnTo>
                    <a:pt x="57" y="338"/>
                  </a:lnTo>
                  <a:lnTo>
                    <a:pt x="55" y="338"/>
                  </a:lnTo>
                  <a:lnTo>
                    <a:pt x="53" y="338"/>
                  </a:lnTo>
                  <a:lnTo>
                    <a:pt x="51" y="340"/>
                  </a:lnTo>
                  <a:lnTo>
                    <a:pt x="51" y="340"/>
                  </a:lnTo>
                  <a:lnTo>
                    <a:pt x="55" y="348"/>
                  </a:lnTo>
                  <a:lnTo>
                    <a:pt x="55" y="357"/>
                  </a:lnTo>
                  <a:lnTo>
                    <a:pt x="51" y="363"/>
                  </a:lnTo>
                  <a:lnTo>
                    <a:pt x="51" y="363"/>
                  </a:lnTo>
                  <a:lnTo>
                    <a:pt x="44" y="375"/>
                  </a:lnTo>
                  <a:lnTo>
                    <a:pt x="35" y="386"/>
                  </a:lnTo>
                  <a:lnTo>
                    <a:pt x="35" y="386"/>
                  </a:lnTo>
                  <a:lnTo>
                    <a:pt x="30" y="393"/>
                  </a:lnTo>
                  <a:lnTo>
                    <a:pt x="25" y="395"/>
                  </a:lnTo>
                  <a:lnTo>
                    <a:pt x="25" y="395"/>
                  </a:lnTo>
                  <a:lnTo>
                    <a:pt x="23" y="396"/>
                  </a:lnTo>
                  <a:lnTo>
                    <a:pt x="19" y="398"/>
                  </a:lnTo>
                  <a:lnTo>
                    <a:pt x="10" y="407"/>
                  </a:lnTo>
                  <a:lnTo>
                    <a:pt x="10" y="407"/>
                  </a:lnTo>
                  <a:lnTo>
                    <a:pt x="7" y="412"/>
                  </a:lnTo>
                  <a:lnTo>
                    <a:pt x="3" y="416"/>
                  </a:lnTo>
                  <a:lnTo>
                    <a:pt x="0" y="425"/>
                  </a:lnTo>
                  <a:lnTo>
                    <a:pt x="7" y="430"/>
                  </a:lnTo>
                  <a:lnTo>
                    <a:pt x="7" y="430"/>
                  </a:lnTo>
                  <a:lnTo>
                    <a:pt x="16" y="430"/>
                  </a:lnTo>
                  <a:lnTo>
                    <a:pt x="25" y="434"/>
                  </a:lnTo>
                  <a:lnTo>
                    <a:pt x="25" y="434"/>
                  </a:lnTo>
                  <a:lnTo>
                    <a:pt x="25" y="434"/>
                  </a:lnTo>
                  <a:lnTo>
                    <a:pt x="25" y="434"/>
                  </a:lnTo>
                  <a:lnTo>
                    <a:pt x="25" y="43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80"/>
            <p:cNvSpPr>
              <a:spLocks/>
            </p:cNvSpPr>
            <p:nvPr/>
          </p:nvSpPr>
          <p:spPr bwMode="auto">
            <a:xfrm>
              <a:off x="1337287" y="2157374"/>
              <a:ext cx="280098" cy="372513"/>
            </a:xfrm>
            <a:custGeom>
              <a:avLst/>
              <a:gdLst>
                <a:gd name="T0" fmla="*/ 164 w 491"/>
                <a:gd name="T1" fmla="*/ 185 h 653"/>
                <a:gd name="T2" fmla="*/ 157 w 491"/>
                <a:gd name="T3" fmla="*/ 205 h 653"/>
                <a:gd name="T4" fmla="*/ 155 w 491"/>
                <a:gd name="T5" fmla="*/ 230 h 653"/>
                <a:gd name="T6" fmla="*/ 116 w 491"/>
                <a:gd name="T7" fmla="*/ 264 h 653"/>
                <a:gd name="T8" fmla="*/ 41 w 491"/>
                <a:gd name="T9" fmla="*/ 285 h 653"/>
                <a:gd name="T10" fmla="*/ 22 w 491"/>
                <a:gd name="T11" fmla="*/ 304 h 653"/>
                <a:gd name="T12" fmla="*/ 13 w 491"/>
                <a:gd name="T13" fmla="*/ 361 h 653"/>
                <a:gd name="T14" fmla="*/ 82 w 491"/>
                <a:gd name="T15" fmla="*/ 390 h 653"/>
                <a:gd name="T16" fmla="*/ 139 w 491"/>
                <a:gd name="T17" fmla="*/ 429 h 653"/>
                <a:gd name="T18" fmla="*/ 166 w 491"/>
                <a:gd name="T19" fmla="*/ 504 h 653"/>
                <a:gd name="T20" fmla="*/ 212 w 491"/>
                <a:gd name="T21" fmla="*/ 532 h 653"/>
                <a:gd name="T22" fmla="*/ 285 w 491"/>
                <a:gd name="T23" fmla="*/ 592 h 653"/>
                <a:gd name="T24" fmla="*/ 359 w 491"/>
                <a:gd name="T25" fmla="*/ 589 h 653"/>
                <a:gd name="T26" fmla="*/ 404 w 491"/>
                <a:gd name="T27" fmla="*/ 630 h 653"/>
                <a:gd name="T28" fmla="*/ 445 w 491"/>
                <a:gd name="T29" fmla="*/ 633 h 653"/>
                <a:gd name="T30" fmla="*/ 464 w 491"/>
                <a:gd name="T31" fmla="*/ 580 h 653"/>
                <a:gd name="T32" fmla="*/ 491 w 491"/>
                <a:gd name="T33" fmla="*/ 537 h 653"/>
                <a:gd name="T34" fmla="*/ 470 w 491"/>
                <a:gd name="T35" fmla="*/ 486 h 653"/>
                <a:gd name="T36" fmla="*/ 459 w 491"/>
                <a:gd name="T37" fmla="*/ 445 h 653"/>
                <a:gd name="T38" fmla="*/ 452 w 491"/>
                <a:gd name="T39" fmla="*/ 374 h 653"/>
                <a:gd name="T40" fmla="*/ 479 w 491"/>
                <a:gd name="T41" fmla="*/ 312 h 653"/>
                <a:gd name="T42" fmla="*/ 457 w 491"/>
                <a:gd name="T43" fmla="*/ 278 h 653"/>
                <a:gd name="T44" fmla="*/ 461 w 491"/>
                <a:gd name="T45" fmla="*/ 214 h 653"/>
                <a:gd name="T46" fmla="*/ 466 w 491"/>
                <a:gd name="T47" fmla="*/ 180 h 653"/>
                <a:gd name="T48" fmla="*/ 477 w 491"/>
                <a:gd name="T49" fmla="*/ 144 h 653"/>
                <a:gd name="T50" fmla="*/ 461 w 491"/>
                <a:gd name="T51" fmla="*/ 109 h 653"/>
                <a:gd name="T52" fmla="*/ 450 w 491"/>
                <a:gd name="T53" fmla="*/ 89 h 653"/>
                <a:gd name="T54" fmla="*/ 447 w 491"/>
                <a:gd name="T55" fmla="*/ 128 h 653"/>
                <a:gd name="T56" fmla="*/ 416 w 491"/>
                <a:gd name="T57" fmla="*/ 114 h 653"/>
                <a:gd name="T58" fmla="*/ 438 w 491"/>
                <a:gd name="T59" fmla="*/ 162 h 653"/>
                <a:gd name="T60" fmla="*/ 399 w 491"/>
                <a:gd name="T61" fmla="*/ 134 h 653"/>
                <a:gd name="T62" fmla="*/ 416 w 491"/>
                <a:gd name="T63" fmla="*/ 59 h 653"/>
                <a:gd name="T64" fmla="*/ 406 w 491"/>
                <a:gd name="T65" fmla="*/ 93 h 653"/>
                <a:gd name="T66" fmla="*/ 361 w 491"/>
                <a:gd name="T67" fmla="*/ 121 h 653"/>
                <a:gd name="T68" fmla="*/ 363 w 491"/>
                <a:gd name="T69" fmla="*/ 166 h 653"/>
                <a:gd name="T70" fmla="*/ 324 w 491"/>
                <a:gd name="T71" fmla="*/ 224 h 653"/>
                <a:gd name="T72" fmla="*/ 354 w 491"/>
                <a:gd name="T73" fmla="*/ 248 h 653"/>
                <a:gd name="T74" fmla="*/ 383 w 491"/>
                <a:gd name="T75" fmla="*/ 308 h 653"/>
                <a:gd name="T76" fmla="*/ 365 w 491"/>
                <a:gd name="T77" fmla="*/ 331 h 653"/>
                <a:gd name="T78" fmla="*/ 358 w 491"/>
                <a:gd name="T79" fmla="*/ 331 h 653"/>
                <a:gd name="T80" fmla="*/ 367 w 491"/>
                <a:gd name="T81" fmla="*/ 274 h 653"/>
                <a:gd name="T82" fmla="*/ 322 w 491"/>
                <a:gd name="T83" fmla="*/ 271 h 653"/>
                <a:gd name="T84" fmla="*/ 313 w 491"/>
                <a:gd name="T85" fmla="*/ 308 h 653"/>
                <a:gd name="T86" fmla="*/ 269 w 491"/>
                <a:gd name="T87" fmla="*/ 345 h 653"/>
                <a:gd name="T88" fmla="*/ 224 w 491"/>
                <a:gd name="T89" fmla="*/ 360 h 653"/>
                <a:gd name="T90" fmla="*/ 183 w 491"/>
                <a:gd name="T91" fmla="*/ 315 h 653"/>
                <a:gd name="T92" fmla="*/ 226 w 491"/>
                <a:gd name="T93" fmla="*/ 333 h 653"/>
                <a:gd name="T94" fmla="*/ 283 w 491"/>
                <a:gd name="T95" fmla="*/ 285 h 653"/>
                <a:gd name="T96" fmla="*/ 301 w 491"/>
                <a:gd name="T97" fmla="*/ 244 h 653"/>
                <a:gd name="T98" fmla="*/ 343 w 491"/>
                <a:gd name="T99" fmla="*/ 141 h 653"/>
                <a:gd name="T100" fmla="*/ 365 w 491"/>
                <a:gd name="T101" fmla="*/ 89 h 653"/>
                <a:gd name="T102" fmla="*/ 351 w 491"/>
                <a:gd name="T103" fmla="*/ 31 h 653"/>
                <a:gd name="T104" fmla="*/ 372 w 491"/>
                <a:gd name="T105" fmla="*/ 6 h 653"/>
                <a:gd name="T106" fmla="*/ 340 w 491"/>
                <a:gd name="T107" fmla="*/ 22 h 653"/>
                <a:gd name="T108" fmla="*/ 263 w 491"/>
                <a:gd name="T109" fmla="*/ 82 h 653"/>
                <a:gd name="T110" fmla="*/ 242 w 491"/>
                <a:gd name="T111" fmla="*/ 120 h 653"/>
                <a:gd name="T112" fmla="*/ 224 w 491"/>
                <a:gd name="T113" fmla="*/ 175 h 653"/>
                <a:gd name="T114" fmla="*/ 205 w 491"/>
                <a:gd name="T115" fmla="*/ 239 h 653"/>
                <a:gd name="T116" fmla="*/ 159 w 491"/>
                <a:gd name="T117" fmla="*/ 164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1" h="653">
                  <a:moveTo>
                    <a:pt x="159" y="164"/>
                  </a:moveTo>
                  <a:lnTo>
                    <a:pt x="159" y="164"/>
                  </a:lnTo>
                  <a:lnTo>
                    <a:pt x="157" y="166"/>
                  </a:lnTo>
                  <a:lnTo>
                    <a:pt x="157" y="169"/>
                  </a:lnTo>
                  <a:lnTo>
                    <a:pt x="157" y="169"/>
                  </a:lnTo>
                  <a:lnTo>
                    <a:pt x="157" y="169"/>
                  </a:lnTo>
                  <a:lnTo>
                    <a:pt x="159" y="173"/>
                  </a:lnTo>
                  <a:lnTo>
                    <a:pt x="162" y="176"/>
                  </a:lnTo>
                  <a:lnTo>
                    <a:pt x="162" y="176"/>
                  </a:lnTo>
                  <a:lnTo>
                    <a:pt x="164" y="178"/>
                  </a:lnTo>
                  <a:lnTo>
                    <a:pt x="164" y="180"/>
                  </a:lnTo>
                  <a:lnTo>
                    <a:pt x="164" y="185"/>
                  </a:lnTo>
                  <a:lnTo>
                    <a:pt x="164" y="185"/>
                  </a:lnTo>
                  <a:lnTo>
                    <a:pt x="166" y="194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2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1"/>
                  </a:lnTo>
                  <a:lnTo>
                    <a:pt x="159" y="205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3" y="207"/>
                  </a:lnTo>
                  <a:lnTo>
                    <a:pt x="151" y="212"/>
                  </a:lnTo>
                  <a:lnTo>
                    <a:pt x="146" y="214"/>
                  </a:lnTo>
                  <a:lnTo>
                    <a:pt x="144" y="217"/>
                  </a:lnTo>
                  <a:lnTo>
                    <a:pt x="144" y="217"/>
                  </a:lnTo>
                  <a:lnTo>
                    <a:pt x="144" y="223"/>
                  </a:lnTo>
                  <a:lnTo>
                    <a:pt x="144" y="224"/>
                  </a:lnTo>
                  <a:lnTo>
                    <a:pt x="146" y="226"/>
                  </a:lnTo>
                  <a:lnTo>
                    <a:pt x="148" y="226"/>
                  </a:lnTo>
                  <a:lnTo>
                    <a:pt x="148" y="226"/>
                  </a:lnTo>
                  <a:lnTo>
                    <a:pt x="151" y="226"/>
                  </a:lnTo>
                  <a:lnTo>
                    <a:pt x="155" y="230"/>
                  </a:lnTo>
                  <a:lnTo>
                    <a:pt x="157" y="230"/>
                  </a:lnTo>
                  <a:lnTo>
                    <a:pt x="155" y="233"/>
                  </a:lnTo>
                  <a:lnTo>
                    <a:pt x="155" y="233"/>
                  </a:lnTo>
                  <a:lnTo>
                    <a:pt x="146" y="242"/>
                  </a:lnTo>
                  <a:lnTo>
                    <a:pt x="143" y="248"/>
                  </a:lnTo>
                  <a:lnTo>
                    <a:pt x="139" y="253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32" y="255"/>
                  </a:lnTo>
                  <a:lnTo>
                    <a:pt x="127" y="258"/>
                  </a:lnTo>
                  <a:lnTo>
                    <a:pt x="116" y="264"/>
                  </a:lnTo>
                  <a:lnTo>
                    <a:pt x="116" y="264"/>
                  </a:lnTo>
                  <a:lnTo>
                    <a:pt x="107" y="265"/>
                  </a:lnTo>
                  <a:lnTo>
                    <a:pt x="96" y="267"/>
                  </a:lnTo>
                  <a:lnTo>
                    <a:pt x="96" y="267"/>
                  </a:lnTo>
                  <a:lnTo>
                    <a:pt x="82" y="265"/>
                  </a:lnTo>
                  <a:lnTo>
                    <a:pt x="82" y="265"/>
                  </a:lnTo>
                  <a:lnTo>
                    <a:pt x="77" y="267"/>
                  </a:lnTo>
                  <a:lnTo>
                    <a:pt x="70" y="271"/>
                  </a:lnTo>
                  <a:lnTo>
                    <a:pt x="54" y="278"/>
                  </a:lnTo>
                  <a:lnTo>
                    <a:pt x="54" y="278"/>
                  </a:lnTo>
                  <a:lnTo>
                    <a:pt x="48" y="281"/>
                  </a:lnTo>
                  <a:lnTo>
                    <a:pt x="43" y="283"/>
                  </a:lnTo>
                  <a:lnTo>
                    <a:pt x="41" y="285"/>
                  </a:lnTo>
                  <a:lnTo>
                    <a:pt x="39" y="287"/>
                  </a:lnTo>
                  <a:lnTo>
                    <a:pt x="39" y="287"/>
                  </a:lnTo>
                  <a:lnTo>
                    <a:pt x="32" y="285"/>
                  </a:lnTo>
                  <a:lnTo>
                    <a:pt x="29" y="285"/>
                  </a:lnTo>
                  <a:lnTo>
                    <a:pt x="23" y="285"/>
                  </a:lnTo>
                  <a:lnTo>
                    <a:pt x="23" y="285"/>
                  </a:lnTo>
                  <a:lnTo>
                    <a:pt x="25" y="296"/>
                  </a:lnTo>
                  <a:lnTo>
                    <a:pt x="25" y="296"/>
                  </a:lnTo>
                  <a:lnTo>
                    <a:pt x="23" y="297"/>
                  </a:lnTo>
                  <a:lnTo>
                    <a:pt x="23" y="301"/>
                  </a:lnTo>
                  <a:lnTo>
                    <a:pt x="22" y="304"/>
                  </a:lnTo>
                  <a:lnTo>
                    <a:pt x="22" y="304"/>
                  </a:lnTo>
                  <a:lnTo>
                    <a:pt x="23" y="308"/>
                  </a:lnTo>
                  <a:lnTo>
                    <a:pt x="29" y="313"/>
                  </a:lnTo>
                  <a:lnTo>
                    <a:pt x="23" y="319"/>
                  </a:lnTo>
                  <a:lnTo>
                    <a:pt x="13" y="328"/>
                  </a:lnTo>
                  <a:lnTo>
                    <a:pt x="13" y="333"/>
                  </a:lnTo>
                  <a:lnTo>
                    <a:pt x="9" y="338"/>
                  </a:lnTo>
                  <a:lnTo>
                    <a:pt x="4" y="338"/>
                  </a:lnTo>
                  <a:lnTo>
                    <a:pt x="0" y="342"/>
                  </a:lnTo>
                  <a:lnTo>
                    <a:pt x="4" y="349"/>
                  </a:lnTo>
                  <a:lnTo>
                    <a:pt x="15" y="352"/>
                  </a:lnTo>
                  <a:lnTo>
                    <a:pt x="16" y="360"/>
                  </a:lnTo>
                  <a:lnTo>
                    <a:pt x="13" y="361"/>
                  </a:lnTo>
                  <a:lnTo>
                    <a:pt x="18" y="368"/>
                  </a:lnTo>
                  <a:lnTo>
                    <a:pt x="23" y="368"/>
                  </a:lnTo>
                  <a:lnTo>
                    <a:pt x="32" y="374"/>
                  </a:lnTo>
                  <a:lnTo>
                    <a:pt x="38" y="374"/>
                  </a:lnTo>
                  <a:lnTo>
                    <a:pt x="39" y="376"/>
                  </a:lnTo>
                  <a:lnTo>
                    <a:pt x="43" y="376"/>
                  </a:lnTo>
                  <a:lnTo>
                    <a:pt x="52" y="377"/>
                  </a:lnTo>
                  <a:lnTo>
                    <a:pt x="57" y="377"/>
                  </a:lnTo>
                  <a:lnTo>
                    <a:pt x="64" y="381"/>
                  </a:lnTo>
                  <a:lnTo>
                    <a:pt x="71" y="383"/>
                  </a:lnTo>
                  <a:lnTo>
                    <a:pt x="73" y="388"/>
                  </a:lnTo>
                  <a:lnTo>
                    <a:pt x="82" y="390"/>
                  </a:lnTo>
                  <a:lnTo>
                    <a:pt x="86" y="397"/>
                  </a:lnTo>
                  <a:lnTo>
                    <a:pt x="80" y="400"/>
                  </a:lnTo>
                  <a:lnTo>
                    <a:pt x="77" y="408"/>
                  </a:lnTo>
                  <a:lnTo>
                    <a:pt x="84" y="418"/>
                  </a:lnTo>
                  <a:lnTo>
                    <a:pt x="93" y="424"/>
                  </a:lnTo>
                  <a:lnTo>
                    <a:pt x="112" y="420"/>
                  </a:lnTo>
                  <a:lnTo>
                    <a:pt x="119" y="427"/>
                  </a:lnTo>
                  <a:lnTo>
                    <a:pt x="123" y="424"/>
                  </a:lnTo>
                  <a:lnTo>
                    <a:pt x="123" y="420"/>
                  </a:lnTo>
                  <a:lnTo>
                    <a:pt x="132" y="422"/>
                  </a:lnTo>
                  <a:lnTo>
                    <a:pt x="134" y="424"/>
                  </a:lnTo>
                  <a:lnTo>
                    <a:pt x="139" y="429"/>
                  </a:lnTo>
                  <a:lnTo>
                    <a:pt x="143" y="434"/>
                  </a:lnTo>
                  <a:lnTo>
                    <a:pt x="148" y="436"/>
                  </a:lnTo>
                  <a:lnTo>
                    <a:pt x="153" y="443"/>
                  </a:lnTo>
                  <a:lnTo>
                    <a:pt x="157" y="448"/>
                  </a:lnTo>
                  <a:lnTo>
                    <a:pt x="148" y="454"/>
                  </a:lnTo>
                  <a:lnTo>
                    <a:pt x="148" y="461"/>
                  </a:lnTo>
                  <a:lnTo>
                    <a:pt x="148" y="472"/>
                  </a:lnTo>
                  <a:lnTo>
                    <a:pt x="159" y="477"/>
                  </a:lnTo>
                  <a:lnTo>
                    <a:pt x="159" y="482"/>
                  </a:lnTo>
                  <a:lnTo>
                    <a:pt x="153" y="505"/>
                  </a:lnTo>
                  <a:lnTo>
                    <a:pt x="157" y="504"/>
                  </a:lnTo>
                  <a:lnTo>
                    <a:pt x="166" y="504"/>
                  </a:lnTo>
                  <a:lnTo>
                    <a:pt x="178" y="509"/>
                  </a:lnTo>
                  <a:lnTo>
                    <a:pt x="183" y="505"/>
                  </a:lnTo>
                  <a:lnTo>
                    <a:pt x="187" y="505"/>
                  </a:lnTo>
                  <a:lnTo>
                    <a:pt x="187" y="505"/>
                  </a:lnTo>
                  <a:lnTo>
                    <a:pt x="189" y="520"/>
                  </a:lnTo>
                  <a:lnTo>
                    <a:pt x="189" y="520"/>
                  </a:lnTo>
                  <a:lnTo>
                    <a:pt x="192" y="521"/>
                  </a:lnTo>
                  <a:lnTo>
                    <a:pt x="196" y="523"/>
                  </a:lnTo>
                  <a:lnTo>
                    <a:pt x="203" y="525"/>
                  </a:lnTo>
                  <a:lnTo>
                    <a:pt x="203" y="525"/>
                  </a:lnTo>
                  <a:lnTo>
                    <a:pt x="207" y="528"/>
                  </a:lnTo>
                  <a:lnTo>
                    <a:pt x="212" y="532"/>
                  </a:lnTo>
                  <a:lnTo>
                    <a:pt x="214" y="539"/>
                  </a:lnTo>
                  <a:lnTo>
                    <a:pt x="214" y="539"/>
                  </a:lnTo>
                  <a:lnTo>
                    <a:pt x="224" y="543"/>
                  </a:lnTo>
                  <a:lnTo>
                    <a:pt x="224" y="543"/>
                  </a:lnTo>
                  <a:lnTo>
                    <a:pt x="239" y="544"/>
                  </a:lnTo>
                  <a:lnTo>
                    <a:pt x="249" y="552"/>
                  </a:lnTo>
                  <a:lnTo>
                    <a:pt x="249" y="559"/>
                  </a:lnTo>
                  <a:lnTo>
                    <a:pt x="260" y="557"/>
                  </a:lnTo>
                  <a:lnTo>
                    <a:pt x="267" y="562"/>
                  </a:lnTo>
                  <a:lnTo>
                    <a:pt x="267" y="571"/>
                  </a:lnTo>
                  <a:lnTo>
                    <a:pt x="281" y="592"/>
                  </a:lnTo>
                  <a:lnTo>
                    <a:pt x="285" y="592"/>
                  </a:lnTo>
                  <a:lnTo>
                    <a:pt x="303" y="592"/>
                  </a:lnTo>
                  <a:lnTo>
                    <a:pt x="308" y="600"/>
                  </a:lnTo>
                  <a:lnTo>
                    <a:pt x="324" y="603"/>
                  </a:lnTo>
                  <a:lnTo>
                    <a:pt x="327" y="594"/>
                  </a:lnTo>
                  <a:lnTo>
                    <a:pt x="335" y="591"/>
                  </a:lnTo>
                  <a:lnTo>
                    <a:pt x="347" y="587"/>
                  </a:lnTo>
                  <a:lnTo>
                    <a:pt x="349" y="584"/>
                  </a:lnTo>
                  <a:lnTo>
                    <a:pt x="349" y="584"/>
                  </a:lnTo>
                  <a:lnTo>
                    <a:pt x="358" y="582"/>
                  </a:lnTo>
                  <a:lnTo>
                    <a:pt x="358" y="582"/>
                  </a:lnTo>
                  <a:lnTo>
                    <a:pt x="359" y="585"/>
                  </a:lnTo>
                  <a:lnTo>
                    <a:pt x="359" y="589"/>
                  </a:lnTo>
                  <a:lnTo>
                    <a:pt x="363" y="598"/>
                  </a:lnTo>
                  <a:lnTo>
                    <a:pt x="361" y="601"/>
                  </a:lnTo>
                  <a:lnTo>
                    <a:pt x="368" y="607"/>
                  </a:lnTo>
                  <a:lnTo>
                    <a:pt x="370" y="608"/>
                  </a:lnTo>
                  <a:lnTo>
                    <a:pt x="381" y="608"/>
                  </a:lnTo>
                  <a:lnTo>
                    <a:pt x="384" y="608"/>
                  </a:lnTo>
                  <a:lnTo>
                    <a:pt x="388" y="608"/>
                  </a:lnTo>
                  <a:lnTo>
                    <a:pt x="395" y="612"/>
                  </a:lnTo>
                  <a:lnTo>
                    <a:pt x="395" y="619"/>
                  </a:lnTo>
                  <a:lnTo>
                    <a:pt x="400" y="624"/>
                  </a:lnTo>
                  <a:lnTo>
                    <a:pt x="399" y="628"/>
                  </a:lnTo>
                  <a:lnTo>
                    <a:pt x="404" y="630"/>
                  </a:lnTo>
                  <a:lnTo>
                    <a:pt x="407" y="630"/>
                  </a:lnTo>
                  <a:lnTo>
                    <a:pt x="418" y="628"/>
                  </a:lnTo>
                  <a:lnTo>
                    <a:pt x="422" y="640"/>
                  </a:lnTo>
                  <a:lnTo>
                    <a:pt x="425" y="644"/>
                  </a:lnTo>
                  <a:lnTo>
                    <a:pt x="425" y="648"/>
                  </a:lnTo>
                  <a:lnTo>
                    <a:pt x="429" y="653"/>
                  </a:lnTo>
                  <a:lnTo>
                    <a:pt x="429" y="653"/>
                  </a:lnTo>
                  <a:lnTo>
                    <a:pt x="431" y="649"/>
                  </a:lnTo>
                  <a:lnTo>
                    <a:pt x="431" y="649"/>
                  </a:lnTo>
                  <a:lnTo>
                    <a:pt x="436" y="644"/>
                  </a:lnTo>
                  <a:lnTo>
                    <a:pt x="438" y="640"/>
                  </a:lnTo>
                  <a:lnTo>
                    <a:pt x="445" y="633"/>
                  </a:lnTo>
                  <a:lnTo>
                    <a:pt x="445" y="633"/>
                  </a:lnTo>
                  <a:lnTo>
                    <a:pt x="457" y="624"/>
                  </a:lnTo>
                  <a:lnTo>
                    <a:pt x="464" y="612"/>
                  </a:lnTo>
                  <a:lnTo>
                    <a:pt x="464" y="612"/>
                  </a:lnTo>
                  <a:lnTo>
                    <a:pt x="466" y="608"/>
                  </a:lnTo>
                  <a:lnTo>
                    <a:pt x="466" y="605"/>
                  </a:lnTo>
                  <a:lnTo>
                    <a:pt x="466" y="600"/>
                  </a:lnTo>
                  <a:lnTo>
                    <a:pt x="464" y="594"/>
                  </a:lnTo>
                  <a:lnTo>
                    <a:pt x="464" y="594"/>
                  </a:lnTo>
                  <a:lnTo>
                    <a:pt x="461" y="587"/>
                  </a:lnTo>
                  <a:lnTo>
                    <a:pt x="461" y="587"/>
                  </a:lnTo>
                  <a:lnTo>
                    <a:pt x="464" y="580"/>
                  </a:lnTo>
                  <a:lnTo>
                    <a:pt x="470" y="573"/>
                  </a:lnTo>
                  <a:lnTo>
                    <a:pt x="477" y="568"/>
                  </a:lnTo>
                  <a:lnTo>
                    <a:pt x="477" y="568"/>
                  </a:lnTo>
                  <a:lnTo>
                    <a:pt x="479" y="564"/>
                  </a:lnTo>
                  <a:lnTo>
                    <a:pt x="482" y="564"/>
                  </a:lnTo>
                  <a:lnTo>
                    <a:pt x="482" y="562"/>
                  </a:lnTo>
                  <a:lnTo>
                    <a:pt x="484" y="559"/>
                  </a:lnTo>
                  <a:lnTo>
                    <a:pt x="484" y="559"/>
                  </a:lnTo>
                  <a:lnTo>
                    <a:pt x="487" y="546"/>
                  </a:lnTo>
                  <a:lnTo>
                    <a:pt x="489" y="541"/>
                  </a:lnTo>
                  <a:lnTo>
                    <a:pt x="491" y="537"/>
                  </a:lnTo>
                  <a:lnTo>
                    <a:pt x="491" y="537"/>
                  </a:lnTo>
                  <a:lnTo>
                    <a:pt x="489" y="527"/>
                  </a:lnTo>
                  <a:lnTo>
                    <a:pt x="487" y="525"/>
                  </a:lnTo>
                  <a:lnTo>
                    <a:pt x="486" y="523"/>
                  </a:lnTo>
                  <a:lnTo>
                    <a:pt x="486" y="523"/>
                  </a:lnTo>
                  <a:lnTo>
                    <a:pt x="480" y="521"/>
                  </a:lnTo>
                  <a:lnTo>
                    <a:pt x="471" y="518"/>
                  </a:lnTo>
                  <a:lnTo>
                    <a:pt x="461" y="512"/>
                  </a:lnTo>
                  <a:lnTo>
                    <a:pt x="461" y="512"/>
                  </a:lnTo>
                  <a:lnTo>
                    <a:pt x="468" y="498"/>
                  </a:lnTo>
                  <a:lnTo>
                    <a:pt x="468" y="498"/>
                  </a:lnTo>
                  <a:lnTo>
                    <a:pt x="468" y="491"/>
                  </a:lnTo>
                  <a:lnTo>
                    <a:pt x="470" y="486"/>
                  </a:lnTo>
                  <a:lnTo>
                    <a:pt x="468" y="479"/>
                  </a:lnTo>
                  <a:lnTo>
                    <a:pt x="468" y="472"/>
                  </a:lnTo>
                  <a:lnTo>
                    <a:pt x="468" y="472"/>
                  </a:lnTo>
                  <a:lnTo>
                    <a:pt x="464" y="468"/>
                  </a:lnTo>
                  <a:lnTo>
                    <a:pt x="461" y="466"/>
                  </a:lnTo>
                  <a:lnTo>
                    <a:pt x="452" y="464"/>
                  </a:lnTo>
                  <a:lnTo>
                    <a:pt x="452" y="464"/>
                  </a:lnTo>
                  <a:lnTo>
                    <a:pt x="452" y="457"/>
                  </a:lnTo>
                  <a:lnTo>
                    <a:pt x="454" y="450"/>
                  </a:lnTo>
                  <a:lnTo>
                    <a:pt x="457" y="447"/>
                  </a:lnTo>
                  <a:lnTo>
                    <a:pt x="457" y="447"/>
                  </a:lnTo>
                  <a:lnTo>
                    <a:pt x="459" y="445"/>
                  </a:lnTo>
                  <a:lnTo>
                    <a:pt x="459" y="443"/>
                  </a:lnTo>
                  <a:lnTo>
                    <a:pt x="461" y="441"/>
                  </a:lnTo>
                  <a:lnTo>
                    <a:pt x="452" y="427"/>
                  </a:lnTo>
                  <a:lnTo>
                    <a:pt x="461" y="418"/>
                  </a:lnTo>
                  <a:lnTo>
                    <a:pt x="461" y="418"/>
                  </a:lnTo>
                  <a:lnTo>
                    <a:pt x="459" y="413"/>
                  </a:lnTo>
                  <a:lnTo>
                    <a:pt x="454" y="399"/>
                  </a:lnTo>
                  <a:lnTo>
                    <a:pt x="454" y="399"/>
                  </a:lnTo>
                  <a:lnTo>
                    <a:pt x="450" y="393"/>
                  </a:lnTo>
                  <a:lnTo>
                    <a:pt x="448" y="386"/>
                  </a:lnTo>
                  <a:lnTo>
                    <a:pt x="445" y="383"/>
                  </a:lnTo>
                  <a:lnTo>
                    <a:pt x="452" y="374"/>
                  </a:lnTo>
                  <a:lnTo>
                    <a:pt x="448" y="345"/>
                  </a:lnTo>
                  <a:lnTo>
                    <a:pt x="461" y="347"/>
                  </a:lnTo>
                  <a:lnTo>
                    <a:pt x="461" y="347"/>
                  </a:lnTo>
                  <a:lnTo>
                    <a:pt x="466" y="338"/>
                  </a:lnTo>
                  <a:lnTo>
                    <a:pt x="470" y="333"/>
                  </a:lnTo>
                  <a:lnTo>
                    <a:pt x="471" y="331"/>
                  </a:lnTo>
                  <a:lnTo>
                    <a:pt x="471" y="326"/>
                  </a:lnTo>
                  <a:lnTo>
                    <a:pt x="471" y="326"/>
                  </a:lnTo>
                  <a:lnTo>
                    <a:pt x="473" y="320"/>
                  </a:lnTo>
                  <a:lnTo>
                    <a:pt x="477" y="317"/>
                  </a:lnTo>
                  <a:lnTo>
                    <a:pt x="479" y="315"/>
                  </a:lnTo>
                  <a:lnTo>
                    <a:pt x="479" y="312"/>
                  </a:lnTo>
                  <a:lnTo>
                    <a:pt x="479" y="312"/>
                  </a:lnTo>
                  <a:lnTo>
                    <a:pt x="479" y="299"/>
                  </a:lnTo>
                  <a:lnTo>
                    <a:pt x="479" y="292"/>
                  </a:lnTo>
                  <a:lnTo>
                    <a:pt x="477" y="287"/>
                  </a:lnTo>
                  <a:lnTo>
                    <a:pt x="477" y="285"/>
                  </a:lnTo>
                  <a:lnTo>
                    <a:pt x="477" y="285"/>
                  </a:lnTo>
                  <a:lnTo>
                    <a:pt x="471" y="283"/>
                  </a:lnTo>
                  <a:lnTo>
                    <a:pt x="471" y="281"/>
                  </a:lnTo>
                  <a:lnTo>
                    <a:pt x="468" y="278"/>
                  </a:lnTo>
                  <a:lnTo>
                    <a:pt x="464" y="278"/>
                  </a:lnTo>
                  <a:lnTo>
                    <a:pt x="464" y="278"/>
                  </a:lnTo>
                  <a:lnTo>
                    <a:pt x="457" y="278"/>
                  </a:lnTo>
                  <a:lnTo>
                    <a:pt x="452" y="274"/>
                  </a:lnTo>
                  <a:lnTo>
                    <a:pt x="441" y="267"/>
                  </a:lnTo>
                  <a:lnTo>
                    <a:pt x="441" y="267"/>
                  </a:lnTo>
                  <a:lnTo>
                    <a:pt x="438" y="265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25" y="237"/>
                  </a:lnTo>
                  <a:lnTo>
                    <a:pt x="425" y="237"/>
                  </a:lnTo>
                  <a:lnTo>
                    <a:pt x="452" y="217"/>
                  </a:lnTo>
                  <a:lnTo>
                    <a:pt x="452" y="217"/>
                  </a:lnTo>
                  <a:lnTo>
                    <a:pt x="459" y="216"/>
                  </a:lnTo>
                  <a:lnTo>
                    <a:pt x="461" y="214"/>
                  </a:lnTo>
                  <a:lnTo>
                    <a:pt x="464" y="214"/>
                  </a:lnTo>
                  <a:lnTo>
                    <a:pt x="464" y="216"/>
                  </a:lnTo>
                  <a:lnTo>
                    <a:pt x="464" y="216"/>
                  </a:lnTo>
                  <a:lnTo>
                    <a:pt x="466" y="216"/>
                  </a:lnTo>
                  <a:lnTo>
                    <a:pt x="468" y="216"/>
                  </a:lnTo>
                  <a:lnTo>
                    <a:pt x="468" y="212"/>
                  </a:lnTo>
                  <a:lnTo>
                    <a:pt x="471" y="201"/>
                  </a:lnTo>
                  <a:lnTo>
                    <a:pt x="471" y="201"/>
                  </a:lnTo>
                  <a:lnTo>
                    <a:pt x="470" y="192"/>
                  </a:lnTo>
                  <a:lnTo>
                    <a:pt x="468" y="185"/>
                  </a:lnTo>
                  <a:lnTo>
                    <a:pt x="466" y="180"/>
                  </a:lnTo>
                  <a:lnTo>
                    <a:pt x="466" y="180"/>
                  </a:lnTo>
                  <a:lnTo>
                    <a:pt x="454" y="160"/>
                  </a:lnTo>
                  <a:lnTo>
                    <a:pt x="454" y="160"/>
                  </a:lnTo>
                  <a:lnTo>
                    <a:pt x="457" y="157"/>
                  </a:lnTo>
                  <a:lnTo>
                    <a:pt x="461" y="155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71" y="153"/>
                  </a:lnTo>
                  <a:lnTo>
                    <a:pt x="477" y="152"/>
                  </a:lnTo>
                  <a:lnTo>
                    <a:pt x="477" y="150"/>
                  </a:lnTo>
                  <a:lnTo>
                    <a:pt x="477" y="150"/>
                  </a:lnTo>
                  <a:lnTo>
                    <a:pt x="477" y="150"/>
                  </a:lnTo>
                  <a:lnTo>
                    <a:pt x="477" y="144"/>
                  </a:lnTo>
                  <a:lnTo>
                    <a:pt x="479" y="144"/>
                  </a:lnTo>
                  <a:lnTo>
                    <a:pt x="480" y="144"/>
                  </a:lnTo>
                  <a:lnTo>
                    <a:pt x="480" y="143"/>
                  </a:lnTo>
                  <a:lnTo>
                    <a:pt x="480" y="143"/>
                  </a:lnTo>
                  <a:lnTo>
                    <a:pt x="480" y="141"/>
                  </a:lnTo>
                  <a:lnTo>
                    <a:pt x="479" y="137"/>
                  </a:lnTo>
                  <a:lnTo>
                    <a:pt x="473" y="132"/>
                  </a:lnTo>
                  <a:lnTo>
                    <a:pt x="463" y="121"/>
                  </a:lnTo>
                  <a:lnTo>
                    <a:pt x="463" y="121"/>
                  </a:lnTo>
                  <a:lnTo>
                    <a:pt x="461" y="118"/>
                  </a:lnTo>
                  <a:lnTo>
                    <a:pt x="461" y="114"/>
                  </a:lnTo>
                  <a:lnTo>
                    <a:pt x="461" y="109"/>
                  </a:lnTo>
                  <a:lnTo>
                    <a:pt x="461" y="109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1" y="100"/>
                  </a:lnTo>
                  <a:lnTo>
                    <a:pt x="461" y="100"/>
                  </a:lnTo>
                  <a:lnTo>
                    <a:pt x="459" y="96"/>
                  </a:lnTo>
                  <a:lnTo>
                    <a:pt x="457" y="93"/>
                  </a:lnTo>
                  <a:lnTo>
                    <a:pt x="457" y="91"/>
                  </a:lnTo>
                  <a:lnTo>
                    <a:pt x="457" y="91"/>
                  </a:lnTo>
                  <a:lnTo>
                    <a:pt x="450" y="89"/>
                  </a:lnTo>
                  <a:lnTo>
                    <a:pt x="445" y="91"/>
                  </a:lnTo>
                  <a:lnTo>
                    <a:pt x="441" y="93"/>
                  </a:lnTo>
                  <a:lnTo>
                    <a:pt x="438" y="96"/>
                  </a:lnTo>
                  <a:lnTo>
                    <a:pt x="438" y="96"/>
                  </a:lnTo>
                  <a:lnTo>
                    <a:pt x="438" y="98"/>
                  </a:lnTo>
                  <a:lnTo>
                    <a:pt x="439" y="102"/>
                  </a:lnTo>
                  <a:lnTo>
                    <a:pt x="445" y="114"/>
                  </a:lnTo>
                  <a:lnTo>
                    <a:pt x="448" y="121"/>
                  </a:lnTo>
                  <a:lnTo>
                    <a:pt x="448" y="125"/>
                  </a:lnTo>
                  <a:lnTo>
                    <a:pt x="448" y="128"/>
                  </a:lnTo>
                  <a:lnTo>
                    <a:pt x="447" y="128"/>
                  </a:lnTo>
                  <a:lnTo>
                    <a:pt x="447" y="128"/>
                  </a:lnTo>
                  <a:lnTo>
                    <a:pt x="445" y="125"/>
                  </a:lnTo>
                  <a:lnTo>
                    <a:pt x="441" y="125"/>
                  </a:lnTo>
                  <a:lnTo>
                    <a:pt x="439" y="121"/>
                  </a:lnTo>
                  <a:lnTo>
                    <a:pt x="438" y="116"/>
                  </a:lnTo>
                  <a:lnTo>
                    <a:pt x="432" y="114"/>
                  </a:lnTo>
                  <a:lnTo>
                    <a:pt x="431" y="114"/>
                  </a:lnTo>
                  <a:lnTo>
                    <a:pt x="431" y="114"/>
                  </a:lnTo>
                  <a:lnTo>
                    <a:pt x="425" y="111"/>
                  </a:lnTo>
                  <a:lnTo>
                    <a:pt x="420" y="111"/>
                  </a:lnTo>
                  <a:lnTo>
                    <a:pt x="418" y="111"/>
                  </a:lnTo>
                  <a:lnTo>
                    <a:pt x="416" y="114"/>
                  </a:lnTo>
                  <a:lnTo>
                    <a:pt x="416" y="114"/>
                  </a:lnTo>
                  <a:lnTo>
                    <a:pt x="413" y="120"/>
                  </a:lnTo>
                  <a:lnTo>
                    <a:pt x="413" y="125"/>
                  </a:lnTo>
                  <a:lnTo>
                    <a:pt x="413" y="134"/>
                  </a:lnTo>
                  <a:lnTo>
                    <a:pt x="413" y="137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29" y="150"/>
                  </a:lnTo>
                  <a:lnTo>
                    <a:pt x="436" y="157"/>
                  </a:lnTo>
                  <a:lnTo>
                    <a:pt x="438" y="159"/>
                  </a:lnTo>
                  <a:lnTo>
                    <a:pt x="438" y="160"/>
                  </a:lnTo>
                  <a:lnTo>
                    <a:pt x="438" y="160"/>
                  </a:lnTo>
                  <a:lnTo>
                    <a:pt x="438" y="162"/>
                  </a:lnTo>
                  <a:lnTo>
                    <a:pt x="436" y="162"/>
                  </a:lnTo>
                  <a:lnTo>
                    <a:pt x="431" y="162"/>
                  </a:lnTo>
                  <a:lnTo>
                    <a:pt x="425" y="160"/>
                  </a:lnTo>
                  <a:lnTo>
                    <a:pt x="420" y="157"/>
                  </a:lnTo>
                  <a:lnTo>
                    <a:pt x="420" y="157"/>
                  </a:lnTo>
                  <a:lnTo>
                    <a:pt x="413" y="153"/>
                  </a:lnTo>
                  <a:lnTo>
                    <a:pt x="406" y="150"/>
                  </a:lnTo>
                  <a:lnTo>
                    <a:pt x="402" y="144"/>
                  </a:lnTo>
                  <a:lnTo>
                    <a:pt x="400" y="143"/>
                  </a:lnTo>
                  <a:lnTo>
                    <a:pt x="399" y="137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400" y="121"/>
                  </a:lnTo>
                  <a:lnTo>
                    <a:pt x="404" y="114"/>
                  </a:lnTo>
                  <a:lnTo>
                    <a:pt x="411" y="98"/>
                  </a:lnTo>
                  <a:lnTo>
                    <a:pt x="411" y="98"/>
                  </a:lnTo>
                  <a:lnTo>
                    <a:pt x="416" y="93"/>
                  </a:lnTo>
                  <a:lnTo>
                    <a:pt x="420" y="84"/>
                  </a:lnTo>
                  <a:lnTo>
                    <a:pt x="422" y="79"/>
                  </a:lnTo>
                  <a:lnTo>
                    <a:pt x="422" y="75"/>
                  </a:lnTo>
                  <a:lnTo>
                    <a:pt x="422" y="72"/>
                  </a:lnTo>
                  <a:lnTo>
                    <a:pt x="420" y="66"/>
                  </a:lnTo>
                  <a:lnTo>
                    <a:pt x="420" y="66"/>
                  </a:lnTo>
                  <a:lnTo>
                    <a:pt x="416" y="59"/>
                  </a:lnTo>
                  <a:lnTo>
                    <a:pt x="413" y="56"/>
                  </a:lnTo>
                  <a:lnTo>
                    <a:pt x="411" y="54"/>
                  </a:lnTo>
                  <a:lnTo>
                    <a:pt x="409" y="54"/>
                  </a:lnTo>
                  <a:lnTo>
                    <a:pt x="409" y="54"/>
                  </a:lnTo>
                  <a:lnTo>
                    <a:pt x="411" y="57"/>
                  </a:lnTo>
                  <a:lnTo>
                    <a:pt x="413" y="66"/>
                  </a:lnTo>
                  <a:lnTo>
                    <a:pt x="413" y="70"/>
                  </a:lnTo>
                  <a:lnTo>
                    <a:pt x="413" y="75"/>
                  </a:lnTo>
                  <a:lnTo>
                    <a:pt x="413" y="79"/>
                  </a:lnTo>
                  <a:lnTo>
                    <a:pt x="411" y="84"/>
                  </a:lnTo>
                  <a:lnTo>
                    <a:pt x="411" y="84"/>
                  </a:lnTo>
                  <a:lnTo>
                    <a:pt x="406" y="93"/>
                  </a:lnTo>
                  <a:lnTo>
                    <a:pt x="399" y="98"/>
                  </a:lnTo>
                  <a:lnTo>
                    <a:pt x="390" y="102"/>
                  </a:lnTo>
                  <a:lnTo>
                    <a:pt x="384" y="104"/>
                  </a:lnTo>
                  <a:lnTo>
                    <a:pt x="384" y="104"/>
                  </a:lnTo>
                  <a:lnTo>
                    <a:pt x="381" y="104"/>
                  </a:lnTo>
                  <a:lnTo>
                    <a:pt x="377" y="104"/>
                  </a:lnTo>
                  <a:lnTo>
                    <a:pt x="372" y="109"/>
                  </a:lnTo>
                  <a:lnTo>
                    <a:pt x="368" y="114"/>
                  </a:lnTo>
                  <a:lnTo>
                    <a:pt x="367" y="116"/>
                  </a:lnTo>
                  <a:lnTo>
                    <a:pt x="367" y="116"/>
                  </a:lnTo>
                  <a:lnTo>
                    <a:pt x="363" y="118"/>
                  </a:lnTo>
                  <a:lnTo>
                    <a:pt x="361" y="121"/>
                  </a:lnTo>
                  <a:lnTo>
                    <a:pt x="361" y="121"/>
                  </a:lnTo>
                  <a:lnTo>
                    <a:pt x="361" y="125"/>
                  </a:lnTo>
                  <a:lnTo>
                    <a:pt x="361" y="125"/>
                  </a:lnTo>
                  <a:lnTo>
                    <a:pt x="363" y="134"/>
                  </a:lnTo>
                  <a:lnTo>
                    <a:pt x="363" y="139"/>
                  </a:lnTo>
                  <a:lnTo>
                    <a:pt x="363" y="144"/>
                  </a:lnTo>
                  <a:lnTo>
                    <a:pt x="361" y="150"/>
                  </a:lnTo>
                  <a:lnTo>
                    <a:pt x="361" y="150"/>
                  </a:lnTo>
                  <a:lnTo>
                    <a:pt x="361" y="153"/>
                  </a:lnTo>
                  <a:lnTo>
                    <a:pt x="361" y="157"/>
                  </a:lnTo>
                  <a:lnTo>
                    <a:pt x="363" y="162"/>
                  </a:lnTo>
                  <a:lnTo>
                    <a:pt x="363" y="166"/>
                  </a:lnTo>
                  <a:lnTo>
                    <a:pt x="363" y="169"/>
                  </a:lnTo>
                  <a:lnTo>
                    <a:pt x="361" y="173"/>
                  </a:lnTo>
                  <a:lnTo>
                    <a:pt x="358" y="176"/>
                  </a:lnTo>
                  <a:lnTo>
                    <a:pt x="358" y="176"/>
                  </a:lnTo>
                  <a:lnTo>
                    <a:pt x="349" y="182"/>
                  </a:lnTo>
                  <a:lnTo>
                    <a:pt x="340" y="192"/>
                  </a:lnTo>
                  <a:lnTo>
                    <a:pt x="331" y="201"/>
                  </a:lnTo>
                  <a:lnTo>
                    <a:pt x="329" y="205"/>
                  </a:lnTo>
                  <a:lnTo>
                    <a:pt x="327" y="210"/>
                  </a:lnTo>
                  <a:lnTo>
                    <a:pt x="327" y="210"/>
                  </a:lnTo>
                  <a:lnTo>
                    <a:pt x="327" y="217"/>
                  </a:lnTo>
                  <a:lnTo>
                    <a:pt x="324" y="224"/>
                  </a:lnTo>
                  <a:lnTo>
                    <a:pt x="322" y="233"/>
                  </a:lnTo>
                  <a:lnTo>
                    <a:pt x="320" y="235"/>
                  </a:lnTo>
                  <a:lnTo>
                    <a:pt x="320" y="237"/>
                  </a:lnTo>
                  <a:lnTo>
                    <a:pt x="320" y="237"/>
                  </a:lnTo>
                  <a:lnTo>
                    <a:pt x="324" y="240"/>
                  </a:lnTo>
                  <a:lnTo>
                    <a:pt x="331" y="244"/>
                  </a:lnTo>
                  <a:lnTo>
                    <a:pt x="340" y="248"/>
                  </a:lnTo>
                  <a:lnTo>
                    <a:pt x="343" y="248"/>
                  </a:lnTo>
                  <a:lnTo>
                    <a:pt x="343" y="248"/>
                  </a:lnTo>
                  <a:lnTo>
                    <a:pt x="343" y="248"/>
                  </a:lnTo>
                  <a:lnTo>
                    <a:pt x="349" y="248"/>
                  </a:lnTo>
                  <a:lnTo>
                    <a:pt x="354" y="248"/>
                  </a:lnTo>
                  <a:lnTo>
                    <a:pt x="361" y="251"/>
                  </a:lnTo>
                  <a:lnTo>
                    <a:pt x="367" y="255"/>
                  </a:lnTo>
                  <a:lnTo>
                    <a:pt x="367" y="255"/>
                  </a:lnTo>
                  <a:lnTo>
                    <a:pt x="372" y="260"/>
                  </a:lnTo>
                  <a:lnTo>
                    <a:pt x="379" y="265"/>
                  </a:lnTo>
                  <a:lnTo>
                    <a:pt x="381" y="271"/>
                  </a:lnTo>
                  <a:lnTo>
                    <a:pt x="383" y="274"/>
                  </a:lnTo>
                  <a:lnTo>
                    <a:pt x="384" y="280"/>
                  </a:lnTo>
                  <a:lnTo>
                    <a:pt x="384" y="283"/>
                  </a:lnTo>
                  <a:lnTo>
                    <a:pt x="384" y="283"/>
                  </a:lnTo>
                  <a:lnTo>
                    <a:pt x="384" y="304"/>
                  </a:lnTo>
                  <a:lnTo>
                    <a:pt x="383" y="308"/>
                  </a:lnTo>
                  <a:lnTo>
                    <a:pt x="381" y="313"/>
                  </a:lnTo>
                  <a:lnTo>
                    <a:pt x="381" y="313"/>
                  </a:lnTo>
                  <a:lnTo>
                    <a:pt x="381" y="313"/>
                  </a:lnTo>
                  <a:lnTo>
                    <a:pt x="377" y="313"/>
                  </a:lnTo>
                  <a:lnTo>
                    <a:pt x="375" y="312"/>
                  </a:lnTo>
                  <a:lnTo>
                    <a:pt x="372" y="308"/>
                  </a:lnTo>
                  <a:lnTo>
                    <a:pt x="370" y="313"/>
                  </a:lnTo>
                  <a:lnTo>
                    <a:pt x="370" y="313"/>
                  </a:lnTo>
                  <a:lnTo>
                    <a:pt x="368" y="315"/>
                  </a:lnTo>
                  <a:lnTo>
                    <a:pt x="367" y="320"/>
                  </a:lnTo>
                  <a:lnTo>
                    <a:pt x="365" y="326"/>
                  </a:lnTo>
                  <a:lnTo>
                    <a:pt x="365" y="331"/>
                  </a:lnTo>
                  <a:lnTo>
                    <a:pt x="365" y="331"/>
                  </a:lnTo>
                  <a:lnTo>
                    <a:pt x="368" y="336"/>
                  </a:lnTo>
                  <a:lnTo>
                    <a:pt x="375" y="342"/>
                  </a:lnTo>
                  <a:lnTo>
                    <a:pt x="384" y="349"/>
                  </a:lnTo>
                  <a:lnTo>
                    <a:pt x="384" y="349"/>
                  </a:lnTo>
                  <a:lnTo>
                    <a:pt x="377" y="347"/>
                  </a:lnTo>
                  <a:lnTo>
                    <a:pt x="370" y="345"/>
                  </a:lnTo>
                  <a:lnTo>
                    <a:pt x="365" y="342"/>
                  </a:lnTo>
                  <a:lnTo>
                    <a:pt x="365" y="342"/>
                  </a:lnTo>
                  <a:lnTo>
                    <a:pt x="361" y="336"/>
                  </a:lnTo>
                  <a:lnTo>
                    <a:pt x="358" y="333"/>
                  </a:lnTo>
                  <a:lnTo>
                    <a:pt x="358" y="331"/>
                  </a:lnTo>
                  <a:lnTo>
                    <a:pt x="359" y="322"/>
                  </a:lnTo>
                  <a:lnTo>
                    <a:pt x="359" y="322"/>
                  </a:lnTo>
                  <a:lnTo>
                    <a:pt x="363" y="317"/>
                  </a:lnTo>
                  <a:lnTo>
                    <a:pt x="367" y="308"/>
                  </a:lnTo>
                  <a:lnTo>
                    <a:pt x="368" y="304"/>
                  </a:lnTo>
                  <a:lnTo>
                    <a:pt x="370" y="297"/>
                  </a:lnTo>
                  <a:lnTo>
                    <a:pt x="370" y="297"/>
                  </a:lnTo>
                  <a:lnTo>
                    <a:pt x="368" y="290"/>
                  </a:lnTo>
                  <a:lnTo>
                    <a:pt x="367" y="283"/>
                  </a:lnTo>
                  <a:lnTo>
                    <a:pt x="367" y="280"/>
                  </a:lnTo>
                  <a:lnTo>
                    <a:pt x="367" y="274"/>
                  </a:lnTo>
                  <a:lnTo>
                    <a:pt x="367" y="274"/>
                  </a:lnTo>
                  <a:lnTo>
                    <a:pt x="368" y="267"/>
                  </a:lnTo>
                  <a:lnTo>
                    <a:pt x="367" y="265"/>
                  </a:lnTo>
                  <a:lnTo>
                    <a:pt x="365" y="264"/>
                  </a:lnTo>
                  <a:lnTo>
                    <a:pt x="365" y="264"/>
                  </a:lnTo>
                  <a:lnTo>
                    <a:pt x="359" y="262"/>
                  </a:lnTo>
                  <a:lnTo>
                    <a:pt x="351" y="262"/>
                  </a:lnTo>
                  <a:lnTo>
                    <a:pt x="336" y="262"/>
                  </a:lnTo>
                  <a:lnTo>
                    <a:pt x="336" y="262"/>
                  </a:lnTo>
                  <a:lnTo>
                    <a:pt x="331" y="262"/>
                  </a:lnTo>
                  <a:lnTo>
                    <a:pt x="327" y="262"/>
                  </a:lnTo>
                  <a:lnTo>
                    <a:pt x="324" y="264"/>
                  </a:lnTo>
                  <a:lnTo>
                    <a:pt x="322" y="271"/>
                  </a:lnTo>
                  <a:lnTo>
                    <a:pt x="322" y="271"/>
                  </a:lnTo>
                  <a:lnTo>
                    <a:pt x="320" y="274"/>
                  </a:lnTo>
                  <a:lnTo>
                    <a:pt x="317" y="278"/>
                  </a:lnTo>
                  <a:lnTo>
                    <a:pt x="317" y="281"/>
                  </a:lnTo>
                  <a:lnTo>
                    <a:pt x="317" y="283"/>
                  </a:lnTo>
                  <a:lnTo>
                    <a:pt x="317" y="283"/>
                  </a:lnTo>
                  <a:lnTo>
                    <a:pt x="317" y="287"/>
                  </a:lnTo>
                  <a:lnTo>
                    <a:pt x="319" y="294"/>
                  </a:lnTo>
                  <a:lnTo>
                    <a:pt x="317" y="301"/>
                  </a:lnTo>
                  <a:lnTo>
                    <a:pt x="317" y="306"/>
                  </a:lnTo>
                  <a:lnTo>
                    <a:pt x="317" y="306"/>
                  </a:lnTo>
                  <a:lnTo>
                    <a:pt x="313" y="308"/>
                  </a:lnTo>
                  <a:lnTo>
                    <a:pt x="310" y="312"/>
                  </a:lnTo>
                  <a:lnTo>
                    <a:pt x="303" y="317"/>
                  </a:lnTo>
                  <a:lnTo>
                    <a:pt x="297" y="320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5" y="326"/>
                  </a:lnTo>
                  <a:lnTo>
                    <a:pt x="285" y="328"/>
                  </a:lnTo>
                  <a:lnTo>
                    <a:pt x="281" y="336"/>
                  </a:lnTo>
                  <a:lnTo>
                    <a:pt x="276" y="342"/>
                  </a:lnTo>
                  <a:lnTo>
                    <a:pt x="274" y="345"/>
                  </a:lnTo>
                  <a:lnTo>
                    <a:pt x="269" y="345"/>
                  </a:lnTo>
                  <a:lnTo>
                    <a:pt x="269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49" y="349"/>
                  </a:lnTo>
                  <a:lnTo>
                    <a:pt x="244" y="349"/>
                  </a:lnTo>
                  <a:lnTo>
                    <a:pt x="240" y="354"/>
                  </a:lnTo>
                  <a:lnTo>
                    <a:pt x="240" y="354"/>
                  </a:lnTo>
                  <a:lnTo>
                    <a:pt x="237" y="356"/>
                  </a:lnTo>
                  <a:lnTo>
                    <a:pt x="233" y="360"/>
                  </a:lnTo>
                  <a:lnTo>
                    <a:pt x="231" y="361"/>
                  </a:lnTo>
                  <a:lnTo>
                    <a:pt x="226" y="361"/>
                  </a:lnTo>
                  <a:lnTo>
                    <a:pt x="224" y="360"/>
                  </a:lnTo>
                  <a:lnTo>
                    <a:pt x="224" y="360"/>
                  </a:lnTo>
                  <a:lnTo>
                    <a:pt x="217" y="354"/>
                  </a:lnTo>
                  <a:lnTo>
                    <a:pt x="208" y="347"/>
                  </a:lnTo>
                  <a:lnTo>
                    <a:pt x="208" y="347"/>
                  </a:lnTo>
                  <a:lnTo>
                    <a:pt x="203" y="342"/>
                  </a:lnTo>
                  <a:lnTo>
                    <a:pt x="194" y="338"/>
                  </a:lnTo>
                  <a:lnTo>
                    <a:pt x="185" y="333"/>
                  </a:lnTo>
                  <a:lnTo>
                    <a:pt x="183" y="331"/>
                  </a:lnTo>
                  <a:lnTo>
                    <a:pt x="182" y="328"/>
                  </a:lnTo>
                  <a:lnTo>
                    <a:pt x="182" y="328"/>
                  </a:lnTo>
                  <a:lnTo>
                    <a:pt x="182" y="317"/>
                  </a:lnTo>
                  <a:lnTo>
                    <a:pt x="182" y="315"/>
                  </a:lnTo>
                  <a:lnTo>
                    <a:pt x="183" y="315"/>
                  </a:lnTo>
                  <a:lnTo>
                    <a:pt x="187" y="317"/>
                  </a:lnTo>
                  <a:lnTo>
                    <a:pt x="187" y="317"/>
                  </a:lnTo>
                  <a:lnTo>
                    <a:pt x="192" y="320"/>
                  </a:lnTo>
                  <a:lnTo>
                    <a:pt x="194" y="324"/>
                  </a:lnTo>
                  <a:lnTo>
                    <a:pt x="198" y="331"/>
                  </a:lnTo>
                  <a:lnTo>
                    <a:pt x="199" y="333"/>
                  </a:lnTo>
                  <a:lnTo>
                    <a:pt x="201" y="336"/>
                  </a:lnTo>
                  <a:lnTo>
                    <a:pt x="203" y="336"/>
                  </a:lnTo>
                  <a:lnTo>
                    <a:pt x="207" y="336"/>
                  </a:lnTo>
                  <a:lnTo>
                    <a:pt x="207" y="336"/>
                  </a:lnTo>
                  <a:lnTo>
                    <a:pt x="217" y="336"/>
                  </a:lnTo>
                  <a:lnTo>
                    <a:pt x="226" y="333"/>
                  </a:lnTo>
                  <a:lnTo>
                    <a:pt x="235" y="331"/>
                  </a:lnTo>
                  <a:lnTo>
                    <a:pt x="239" y="328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7" y="320"/>
                  </a:lnTo>
                  <a:lnTo>
                    <a:pt x="260" y="313"/>
                  </a:lnTo>
                  <a:lnTo>
                    <a:pt x="272" y="306"/>
                  </a:lnTo>
                  <a:lnTo>
                    <a:pt x="279" y="299"/>
                  </a:lnTo>
                  <a:lnTo>
                    <a:pt x="279" y="299"/>
                  </a:lnTo>
                  <a:lnTo>
                    <a:pt x="281" y="297"/>
                  </a:lnTo>
                  <a:lnTo>
                    <a:pt x="281" y="294"/>
                  </a:lnTo>
                  <a:lnTo>
                    <a:pt x="283" y="285"/>
                  </a:lnTo>
                  <a:lnTo>
                    <a:pt x="285" y="281"/>
                  </a:lnTo>
                  <a:lnTo>
                    <a:pt x="288" y="278"/>
                  </a:lnTo>
                  <a:lnTo>
                    <a:pt x="290" y="274"/>
                  </a:lnTo>
                  <a:lnTo>
                    <a:pt x="290" y="274"/>
                  </a:lnTo>
                  <a:lnTo>
                    <a:pt x="297" y="272"/>
                  </a:lnTo>
                  <a:lnTo>
                    <a:pt x="303" y="271"/>
                  </a:lnTo>
                  <a:lnTo>
                    <a:pt x="304" y="267"/>
                  </a:lnTo>
                  <a:lnTo>
                    <a:pt x="304" y="265"/>
                  </a:lnTo>
                  <a:lnTo>
                    <a:pt x="304" y="264"/>
                  </a:lnTo>
                  <a:lnTo>
                    <a:pt x="304" y="264"/>
                  </a:lnTo>
                  <a:lnTo>
                    <a:pt x="304" y="256"/>
                  </a:lnTo>
                  <a:lnTo>
                    <a:pt x="301" y="244"/>
                  </a:lnTo>
                  <a:lnTo>
                    <a:pt x="299" y="240"/>
                  </a:lnTo>
                  <a:lnTo>
                    <a:pt x="299" y="233"/>
                  </a:lnTo>
                  <a:lnTo>
                    <a:pt x="301" y="226"/>
                  </a:lnTo>
                  <a:lnTo>
                    <a:pt x="303" y="221"/>
                  </a:lnTo>
                  <a:lnTo>
                    <a:pt x="303" y="221"/>
                  </a:lnTo>
                  <a:lnTo>
                    <a:pt x="320" y="192"/>
                  </a:lnTo>
                  <a:lnTo>
                    <a:pt x="326" y="178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6" y="159"/>
                  </a:lnTo>
                  <a:lnTo>
                    <a:pt x="342" y="150"/>
                  </a:lnTo>
                  <a:lnTo>
                    <a:pt x="343" y="141"/>
                  </a:lnTo>
                  <a:lnTo>
                    <a:pt x="343" y="137"/>
                  </a:lnTo>
                  <a:lnTo>
                    <a:pt x="343" y="134"/>
                  </a:lnTo>
                  <a:lnTo>
                    <a:pt x="343" y="134"/>
                  </a:lnTo>
                  <a:lnTo>
                    <a:pt x="343" y="128"/>
                  </a:lnTo>
                  <a:lnTo>
                    <a:pt x="340" y="121"/>
                  </a:lnTo>
                  <a:lnTo>
                    <a:pt x="338" y="118"/>
                  </a:lnTo>
                  <a:lnTo>
                    <a:pt x="338" y="114"/>
                  </a:lnTo>
                  <a:lnTo>
                    <a:pt x="340" y="111"/>
                  </a:lnTo>
                  <a:lnTo>
                    <a:pt x="343" y="109"/>
                  </a:lnTo>
                  <a:lnTo>
                    <a:pt x="343" y="109"/>
                  </a:lnTo>
                  <a:lnTo>
                    <a:pt x="358" y="95"/>
                  </a:lnTo>
                  <a:lnTo>
                    <a:pt x="365" y="89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72" y="75"/>
                  </a:lnTo>
                  <a:lnTo>
                    <a:pt x="377" y="70"/>
                  </a:lnTo>
                  <a:lnTo>
                    <a:pt x="381" y="59"/>
                  </a:lnTo>
                  <a:lnTo>
                    <a:pt x="381" y="54"/>
                  </a:lnTo>
                  <a:lnTo>
                    <a:pt x="381" y="54"/>
                  </a:lnTo>
                  <a:lnTo>
                    <a:pt x="379" y="52"/>
                  </a:lnTo>
                  <a:lnTo>
                    <a:pt x="377" y="48"/>
                  </a:lnTo>
                  <a:lnTo>
                    <a:pt x="368" y="41"/>
                  </a:lnTo>
                  <a:lnTo>
                    <a:pt x="361" y="34"/>
                  </a:lnTo>
                  <a:lnTo>
                    <a:pt x="351" y="31"/>
                  </a:lnTo>
                  <a:lnTo>
                    <a:pt x="351" y="31"/>
                  </a:lnTo>
                  <a:lnTo>
                    <a:pt x="349" y="29"/>
                  </a:lnTo>
                  <a:lnTo>
                    <a:pt x="347" y="29"/>
                  </a:lnTo>
                  <a:lnTo>
                    <a:pt x="354" y="29"/>
                  </a:lnTo>
                  <a:lnTo>
                    <a:pt x="368" y="27"/>
                  </a:lnTo>
                  <a:lnTo>
                    <a:pt x="368" y="27"/>
                  </a:lnTo>
                  <a:lnTo>
                    <a:pt x="372" y="25"/>
                  </a:lnTo>
                  <a:lnTo>
                    <a:pt x="377" y="20"/>
                  </a:lnTo>
                  <a:lnTo>
                    <a:pt x="377" y="16"/>
                  </a:lnTo>
                  <a:lnTo>
                    <a:pt x="377" y="9"/>
                  </a:lnTo>
                  <a:lnTo>
                    <a:pt x="377" y="9"/>
                  </a:lnTo>
                  <a:lnTo>
                    <a:pt x="372" y="6"/>
                  </a:lnTo>
                  <a:lnTo>
                    <a:pt x="368" y="0"/>
                  </a:lnTo>
                  <a:lnTo>
                    <a:pt x="365" y="0"/>
                  </a:lnTo>
                  <a:lnTo>
                    <a:pt x="361" y="6"/>
                  </a:lnTo>
                  <a:lnTo>
                    <a:pt x="361" y="6"/>
                  </a:lnTo>
                  <a:lnTo>
                    <a:pt x="356" y="9"/>
                  </a:lnTo>
                  <a:lnTo>
                    <a:pt x="351" y="15"/>
                  </a:lnTo>
                  <a:lnTo>
                    <a:pt x="347" y="20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42" y="20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24" y="36"/>
                  </a:lnTo>
                  <a:lnTo>
                    <a:pt x="308" y="57"/>
                  </a:lnTo>
                  <a:lnTo>
                    <a:pt x="308" y="57"/>
                  </a:lnTo>
                  <a:lnTo>
                    <a:pt x="301" y="66"/>
                  </a:lnTo>
                  <a:lnTo>
                    <a:pt x="294" y="73"/>
                  </a:lnTo>
                  <a:lnTo>
                    <a:pt x="288" y="75"/>
                  </a:lnTo>
                  <a:lnTo>
                    <a:pt x="285" y="77"/>
                  </a:lnTo>
                  <a:lnTo>
                    <a:pt x="279" y="79"/>
                  </a:lnTo>
                  <a:lnTo>
                    <a:pt x="276" y="80"/>
                  </a:lnTo>
                  <a:lnTo>
                    <a:pt x="276" y="80"/>
                  </a:lnTo>
                  <a:lnTo>
                    <a:pt x="269" y="80"/>
                  </a:lnTo>
                  <a:lnTo>
                    <a:pt x="263" y="82"/>
                  </a:lnTo>
                  <a:lnTo>
                    <a:pt x="256" y="89"/>
                  </a:lnTo>
                  <a:lnTo>
                    <a:pt x="249" y="93"/>
                  </a:lnTo>
                  <a:lnTo>
                    <a:pt x="246" y="98"/>
                  </a:lnTo>
                  <a:lnTo>
                    <a:pt x="246" y="98"/>
                  </a:lnTo>
                  <a:lnTo>
                    <a:pt x="244" y="98"/>
                  </a:lnTo>
                  <a:lnTo>
                    <a:pt x="244" y="100"/>
                  </a:lnTo>
                  <a:lnTo>
                    <a:pt x="246" y="104"/>
                  </a:lnTo>
                  <a:lnTo>
                    <a:pt x="247" y="107"/>
                  </a:lnTo>
                  <a:lnTo>
                    <a:pt x="246" y="111"/>
                  </a:lnTo>
                  <a:lnTo>
                    <a:pt x="244" y="114"/>
                  </a:lnTo>
                  <a:lnTo>
                    <a:pt x="242" y="120"/>
                  </a:lnTo>
                  <a:lnTo>
                    <a:pt x="242" y="120"/>
                  </a:lnTo>
                  <a:lnTo>
                    <a:pt x="239" y="125"/>
                  </a:lnTo>
                  <a:lnTo>
                    <a:pt x="235" y="132"/>
                  </a:lnTo>
                  <a:lnTo>
                    <a:pt x="226" y="141"/>
                  </a:lnTo>
                  <a:lnTo>
                    <a:pt x="221" y="144"/>
                  </a:lnTo>
                  <a:lnTo>
                    <a:pt x="217" y="150"/>
                  </a:lnTo>
                  <a:lnTo>
                    <a:pt x="217" y="153"/>
                  </a:lnTo>
                  <a:lnTo>
                    <a:pt x="217" y="153"/>
                  </a:lnTo>
                  <a:lnTo>
                    <a:pt x="219" y="157"/>
                  </a:lnTo>
                  <a:lnTo>
                    <a:pt x="221" y="162"/>
                  </a:lnTo>
                  <a:lnTo>
                    <a:pt x="224" y="169"/>
                  </a:lnTo>
                  <a:lnTo>
                    <a:pt x="224" y="173"/>
                  </a:lnTo>
                  <a:lnTo>
                    <a:pt x="224" y="175"/>
                  </a:lnTo>
                  <a:lnTo>
                    <a:pt x="224" y="175"/>
                  </a:lnTo>
                  <a:lnTo>
                    <a:pt x="224" y="184"/>
                  </a:lnTo>
                  <a:lnTo>
                    <a:pt x="224" y="192"/>
                  </a:lnTo>
                  <a:lnTo>
                    <a:pt x="224" y="192"/>
                  </a:lnTo>
                  <a:lnTo>
                    <a:pt x="226" y="198"/>
                  </a:lnTo>
                  <a:lnTo>
                    <a:pt x="228" y="205"/>
                  </a:lnTo>
                  <a:lnTo>
                    <a:pt x="231" y="214"/>
                  </a:lnTo>
                  <a:lnTo>
                    <a:pt x="231" y="216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14" y="235"/>
                  </a:lnTo>
                  <a:lnTo>
                    <a:pt x="205" y="239"/>
                  </a:lnTo>
                  <a:lnTo>
                    <a:pt x="203" y="239"/>
                  </a:lnTo>
                  <a:lnTo>
                    <a:pt x="203" y="237"/>
                  </a:lnTo>
                  <a:lnTo>
                    <a:pt x="203" y="237"/>
                  </a:lnTo>
                  <a:lnTo>
                    <a:pt x="203" y="230"/>
                  </a:lnTo>
                  <a:lnTo>
                    <a:pt x="201" y="217"/>
                  </a:lnTo>
                  <a:lnTo>
                    <a:pt x="199" y="205"/>
                  </a:lnTo>
                  <a:lnTo>
                    <a:pt x="196" y="192"/>
                  </a:lnTo>
                  <a:lnTo>
                    <a:pt x="196" y="192"/>
                  </a:lnTo>
                  <a:lnTo>
                    <a:pt x="180" y="157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Freeform 81"/>
            <p:cNvSpPr>
              <a:spLocks/>
            </p:cNvSpPr>
            <p:nvPr/>
          </p:nvSpPr>
          <p:spPr bwMode="auto">
            <a:xfrm>
              <a:off x="636757" y="2506498"/>
              <a:ext cx="33657" cy="51912"/>
            </a:xfrm>
            <a:custGeom>
              <a:avLst/>
              <a:gdLst>
                <a:gd name="T0" fmla="*/ 44 w 59"/>
                <a:gd name="T1" fmla="*/ 62 h 91"/>
                <a:gd name="T2" fmla="*/ 46 w 59"/>
                <a:gd name="T3" fmla="*/ 62 h 91"/>
                <a:gd name="T4" fmla="*/ 50 w 59"/>
                <a:gd name="T5" fmla="*/ 68 h 91"/>
                <a:gd name="T6" fmla="*/ 53 w 59"/>
                <a:gd name="T7" fmla="*/ 68 h 91"/>
                <a:gd name="T8" fmla="*/ 57 w 59"/>
                <a:gd name="T9" fmla="*/ 59 h 91"/>
                <a:gd name="T10" fmla="*/ 59 w 59"/>
                <a:gd name="T11" fmla="*/ 48 h 91"/>
                <a:gd name="T12" fmla="*/ 55 w 59"/>
                <a:gd name="T13" fmla="*/ 36 h 91"/>
                <a:gd name="T14" fmla="*/ 46 w 59"/>
                <a:gd name="T15" fmla="*/ 25 h 91"/>
                <a:gd name="T16" fmla="*/ 44 w 59"/>
                <a:gd name="T17" fmla="*/ 20 h 91"/>
                <a:gd name="T18" fmla="*/ 34 w 59"/>
                <a:gd name="T19" fmla="*/ 25 h 91"/>
                <a:gd name="T20" fmla="*/ 34 w 59"/>
                <a:gd name="T21" fmla="*/ 25 h 91"/>
                <a:gd name="T22" fmla="*/ 28 w 59"/>
                <a:gd name="T23" fmla="*/ 18 h 91"/>
                <a:gd name="T24" fmla="*/ 25 w 59"/>
                <a:gd name="T25" fmla="*/ 11 h 91"/>
                <a:gd name="T26" fmla="*/ 25 w 59"/>
                <a:gd name="T27" fmla="*/ 7 h 91"/>
                <a:gd name="T28" fmla="*/ 19 w 59"/>
                <a:gd name="T29" fmla="*/ 0 h 91"/>
                <a:gd name="T30" fmla="*/ 18 w 59"/>
                <a:gd name="T31" fmla="*/ 0 h 91"/>
                <a:gd name="T32" fmla="*/ 16 w 59"/>
                <a:gd name="T33" fmla="*/ 5 h 91"/>
                <a:gd name="T34" fmla="*/ 18 w 59"/>
                <a:gd name="T35" fmla="*/ 12 h 91"/>
                <a:gd name="T36" fmla="*/ 23 w 59"/>
                <a:gd name="T37" fmla="*/ 25 h 91"/>
                <a:gd name="T38" fmla="*/ 30 w 59"/>
                <a:gd name="T39" fmla="*/ 34 h 91"/>
                <a:gd name="T40" fmla="*/ 34 w 59"/>
                <a:gd name="T41" fmla="*/ 34 h 91"/>
                <a:gd name="T42" fmla="*/ 39 w 59"/>
                <a:gd name="T43" fmla="*/ 25 h 91"/>
                <a:gd name="T44" fmla="*/ 41 w 59"/>
                <a:gd name="T45" fmla="*/ 28 h 91"/>
                <a:gd name="T46" fmla="*/ 44 w 59"/>
                <a:gd name="T47" fmla="*/ 36 h 91"/>
                <a:gd name="T48" fmla="*/ 46 w 59"/>
                <a:gd name="T49" fmla="*/ 37 h 91"/>
                <a:gd name="T50" fmla="*/ 44 w 59"/>
                <a:gd name="T51" fmla="*/ 41 h 91"/>
                <a:gd name="T52" fmla="*/ 39 w 59"/>
                <a:gd name="T53" fmla="*/ 50 h 91"/>
                <a:gd name="T54" fmla="*/ 39 w 59"/>
                <a:gd name="T55" fmla="*/ 52 h 91"/>
                <a:gd name="T56" fmla="*/ 30 w 59"/>
                <a:gd name="T57" fmla="*/ 53 h 91"/>
                <a:gd name="T58" fmla="*/ 25 w 59"/>
                <a:gd name="T59" fmla="*/ 57 h 91"/>
                <a:gd name="T60" fmla="*/ 21 w 59"/>
                <a:gd name="T61" fmla="*/ 60 h 91"/>
                <a:gd name="T62" fmla="*/ 18 w 59"/>
                <a:gd name="T63" fmla="*/ 69 h 91"/>
                <a:gd name="T64" fmla="*/ 16 w 59"/>
                <a:gd name="T65" fmla="*/ 69 h 91"/>
                <a:gd name="T66" fmla="*/ 14 w 59"/>
                <a:gd name="T67" fmla="*/ 68 h 91"/>
                <a:gd name="T68" fmla="*/ 14 w 59"/>
                <a:gd name="T69" fmla="*/ 66 h 91"/>
                <a:gd name="T70" fmla="*/ 14 w 59"/>
                <a:gd name="T71" fmla="*/ 66 h 91"/>
                <a:gd name="T72" fmla="*/ 5 w 59"/>
                <a:gd name="T73" fmla="*/ 66 h 91"/>
                <a:gd name="T74" fmla="*/ 2 w 59"/>
                <a:gd name="T75" fmla="*/ 66 h 91"/>
                <a:gd name="T76" fmla="*/ 0 w 59"/>
                <a:gd name="T77" fmla="*/ 69 h 91"/>
                <a:gd name="T78" fmla="*/ 3 w 59"/>
                <a:gd name="T79" fmla="*/ 76 h 91"/>
                <a:gd name="T80" fmla="*/ 5 w 59"/>
                <a:gd name="T81" fmla="*/ 84 h 91"/>
                <a:gd name="T82" fmla="*/ 5 w 59"/>
                <a:gd name="T83" fmla="*/ 91 h 91"/>
                <a:gd name="T84" fmla="*/ 12 w 59"/>
                <a:gd name="T85" fmla="*/ 89 h 91"/>
                <a:gd name="T86" fmla="*/ 19 w 59"/>
                <a:gd name="T87" fmla="*/ 82 h 91"/>
                <a:gd name="T88" fmla="*/ 30 w 59"/>
                <a:gd name="T89" fmla="*/ 76 h 91"/>
                <a:gd name="T90" fmla="*/ 35 w 59"/>
                <a:gd name="T91" fmla="*/ 73 h 91"/>
                <a:gd name="T92" fmla="*/ 44 w 59"/>
                <a:gd name="T93" fmla="*/ 62 h 91"/>
                <a:gd name="T94" fmla="*/ 44 w 59"/>
                <a:gd name="T95" fmla="*/ 62 h 91"/>
                <a:gd name="T96" fmla="*/ 44 w 59"/>
                <a:gd name="T97" fmla="*/ 6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" h="91">
                  <a:moveTo>
                    <a:pt x="44" y="62"/>
                  </a:moveTo>
                  <a:lnTo>
                    <a:pt x="44" y="62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8" y="66"/>
                  </a:lnTo>
                  <a:lnTo>
                    <a:pt x="50" y="68"/>
                  </a:lnTo>
                  <a:lnTo>
                    <a:pt x="53" y="68"/>
                  </a:lnTo>
                  <a:lnTo>
                    <a:pt x="53" y="68"/>
                  </a:lnTo>
                  <a:lnTo>
                    <a:pt x="53" y="68"/>
                  </a:lnTo>
                  <a:lnTo>
                    <a:pt x="57" y="59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7" y="41"/>
                  </a:lnTo>
                  <a:lnTo>
                    <a:pt x="55" y="36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39" y="20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0" y="21"/>
                  </a:lnTo>
                  <a:lnTo>
                    <a:pt x="28" y="18"/>
                  </a:lnTo>
                  <a:lnTo>
                    <a:pt x="25" y="16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7"/>
                  </a:lnTo>
                  <a:lnTo>
                    <a:pt x="21" y="2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9" y="18"/>
                  </a:lnTo>
                  <a:lnTo>
                    <a:pt x="23" y="2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4" y="36"/>
                  </a:lnTo>
                  <a:lnTo>
                    <a:pt x="34" y="34"/>
                  </a:lnTo>
                  <a:lnTo>
                    <a:pt x="37" y="30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41" y="28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1" y="46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5" y="53"/>
                  </a:lnTo>
                  <a:lnTo>
                    <a:pt x="30" y="53"/>
                  </a:lnTo>
                  <a:lnTo>
                    <a:pt x="27" y="53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1" y="60"/>
                  </a:lnTo>
                  <a:lnTo>
                    <a:pt x="19" y="62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4" y="68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9" y="62"/>
                  </a:lnTo>
                  <a:lnTo>
                    <a:pt x="5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0" y="68"/>
                  </a:lnTo>
                  <a:lnTo>
                    <a:pt x="0" y="69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5" y="80"/>
                  </a:lnTo>
                  <a:lnTo>
                    <a:pt x="5" y="84"/>
                  </a:lnTo>
                  <a:lnTo>
                    <a:pt x="5" y="89"/>
                  </a:lnTo>
                  <a:lnTo>
                    <a:pt x="5" y="91"/>
                  </a:lnTo>
                  <a:lnTo>
                    <a:pt x="5" y="91"/>
                  </a:lnTo>
                  <a:lnTo>
                    <a:pt x="12" y="89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25" y="78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5" y="73"/>
                  </a:lnTo>
                  <a:lnTo>
                    <a:pt x="39" y="69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44" y="6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Freeform 82"/>
            <p:cNvSpPr>
              <a:spLocks/>
            </p:cNvSpPr>
            <p:nvPr/>
          </p:nvSpPr>
          <p:spPr bwMode="auto">
            <a:xfrm>
              <a:off x="997861" y="2180192"/>
              <a:ext cx="14262" cy="5705"/>
            </a:xfrm>
            <a:custGeom>
              <a:avLst/>
              <a:gdLst>
                <a:gd name="T0" fmla="*/ 14 w 25"/>
                <a:gd name="T1" fmla="*/ 10 h 10"/>
                <a:gd name="T2" fmla="*/ 14 w 25"/>
                <a:gd name="T3" fmla="*/ 10 h 10"/>
                <a:gd name="T4" fmla="*/ 19 w 25"/>
                <a:gd name="T5" fmla="*/ 10 h 10"/>
                <a:gd name="T6" fmla="*/ 25 w 25"/>
                <a:gd name="T7" fmla="*/ 7 h 10"/>
                <a:gd name="T8" fmla="*/ 25 w 25"/>
                <a:gd name="T9" fmla="*/ 7 h 10"/>
                <a:gd name="T10" fmla="*/ 18 w 25"/>
                <a:gd name="T11" fmla="*/ 7 h 10"/>
                <a:gd name="T12" fmla="*/ 14 w 25"/>
                <a:gd name="T13" fmla="*/ 7 h 10"/>
                <a:gd name="T14" fmla="*/ 14 w 25"/>
                <a:gd name="T15" fmla="*/ 7 h 10"/>
                <a:gd name="T16" fmla="*/ 2 w 25"/>
                <a:gd name="T17" fmla="*/ 0 h 10"/>
                <a:gd name="T18" fmla="*/ 2 w 25"/>
                <a:gd name="T19" fmla="*/ 0 h 10"/>
                <a:gd name="T20" fmla="*/ 2 w 25"/>
                <a:gd name="T21" fmla="*/ 0 h 10"/>
                <a:gd name="T22" fmla="*/ 2 w 25"/>
                <a:gd name="T23" fmla="*/ 0 h 10"/>
                <a:gd name="T24" fmla="*/ 0 w 25"/>
                <a:gd name="T25" fmla="*/ 0 h 10"/>
                <a:gd name="T26" fmla="*/ 0 w 25"/>
                <a:gd name="T27" fmla="*/ 0 h 10"/>
                <a:gd name="T28" fmla="*/ 5 w 25"/>
                <a:gd name="T29" fmla="*/ 7 h 10"/>
                <a:gd name="T30" fmla="*/ 9 w 25"/>
                <a:gd name="T31" fmla="*/ 8 h 10"/>
                <a:gd name="T32" fmla="*/ 14 w 25"/>
                <a:gd name="T33" fmla="*/ 10 h 10"/>
                <a:gd name="T34" fmla="*/ 14 w 25"/>
                <a:gd name="T35" fmla="*/ 10 h 10"/>
                <a:gd name="T36" fmla="*/ 14 w 25"/>
                <a:gd name="T37" fmla="*/ 10 h 10"/>
                <a:gd name="T38" fmla="*/ 14 w 25"/>
                <a:gd name="T39" fmla="*/ 10 h 10"/>
                <a:gd name="T40" fmla="*/ 14 w 25"/>
                <a:gd name="T4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0">
                  <a:moveTo>
                    <a:pt x="14" y="10"/>
                  </a:moveTo>
                  <a:lnTo>
                    <a:pt x="14" y="10"/>
                  </a:lnTo>
                  <a:lnTo>
                    <a:pt x="19" y="10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18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5" y="7"/>
                  </a:lnTo>
                  <a:lnTo>
                    <a:pt x="9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Freeform 83"/>
            <p:cNvSpPr>
              <a:spLocks/>
            </p:cNvSpPr>
            <p:nvPr/>
          </p:nvSpPr>
          <p:spPr bwMode="auto">
            <a:xfrm>
              <a:off x="1392052" y="2181904"/>
              <a:ext cx="13121" cy="27382"/>
            </a:xfrm>
            <a:custGeom>
              <a:avLst/>
              <a:gdLst>
                <a:gd name="T0" fmla="*/ 20 w 23"/>
                <a:gd name="T1" fmla="*/ 48 h 48"/>
                <a:gd name="T2" fmla="*/ 20 w 23"/>
                <a:gd name="T3" fmla="*/ 48 h 48"/>
                <a:gd name="T4" fmla="*/ 22 w 23"/>
                <a:gd name="T5" fmla="*/ 48 h 48"/>
                <a:gd name="T6" fmla="*/ 23 w 23"/>
                <a:gd name="T7" fmla="*/ 46 h 48"/>
                <a:gd name="T8" fmla="*/ 23 w 23"/>
                <a:gd name="T9" fmla="*/ 46 h 48"/>
                <a:gd name="T10" fmla="*/ 23 w 23"/>
                <a:gd name="T11" fmla="*/ 39 h 48"/>
                <a:gd name="T12" fmla="*/ 23 w 23"/>
                <a:gd name="T13" fmla="*/ 32 h 48"/>
                <a:gd name="T14" fmla="*/ 23 w 23"/>
                <a:gd name="T15" fmla="*/ 32 h 48"/>
                <a:gd name="T16" fmla="*/ 22 w 23"/>
                <a:gd name="T17" fmla="*/ 23 h 48"/>
                <a:gd name="T18" fmla="*/ 20 w 23"/>
                <a:gd name="T19" fmla="*/ 7 h 48"/>
                <a:gd name="T20" fmla="*/ 20 w 23"/>
                <a:gd name="T21" fmla="*/ 7 h 48"/>
                <a:gd name="T22" fmla="*/ 20 w 23"/>
                <a:gd name="T23" fmla="*/ 4 h 48"/>
                <a:gd name="T24" fmla="*/ 16 w 23"/>
                <a:gd name="T25" fmla="*/ 0 h 48"/>
                <a:gd name="T26" fmla="*/ 16 w 23"/>
                <a:gd name="T27" fmla="*/ 0 h 48"/>
                <a:gd name="T28" fmla="*/ 15 w 23"/>
                <a:gd name="T29" fmla="*/ 0 h 48"/>
                <a:gd name="T30" fmla="*/ 7 w 23"/>
                <a:gd name="T31" fmla="*/ 7 h 48"/>
                <a:gd name="T32" fmla="*/ 2 w 23"/>
                <a:gd name="T33" fmla="*/ 11 h 48"/>
                <a:gd name="T34" fmla="*/ 2 w 23"/>
                <a:gd name="T35" fmla="*/ 11 h 48"/>
                <a:gd name="T36" fmla="*/ 0 w 23"/>
                <a:gd name="T37" fmla="*/ 11 h 48"/>
                <a:gd name="T38" fmla="*/ 0 w 23"/>
                <a:gd name="T39" fmla="*/ 14 h 48"/>
                <a:gd name="T40" fmla="*/ 2 w 23"/>
                <a:gd name="T41" fmla="*/ 20 h 48"/>
                <a:gd name="T42" fmla="*/ 7 w 23"/>
                <a:gd name="T43" fmla="*/ 34 h 48"/>
                <a:gd name="T44" fmla="*/ 7 w 23"/>
                <a:gd name="T45" fmla="*/ 34 h 48"/>
                <a:gd name="T46" fmla="*/ 11 w 23"/>
                <a:gd name="T47" fmla="*/ 39 h 48"/>
                <a:gd name="T48" fmla="*/ 11 w 23"/>
                <a:gd name="T49" fmla="*/ 45 h 48"/>
                <a:gd name="T50" fmla="*/ 16 w 23"/>
                <a:gd name="T51" fmla="*/ 46 h 48"/>
                <a:gd name="T52" fmla="*/ 20 w 23"/>
                <a:gd name="T53" fmla="*/ 48 h 48"/>
                <a:gd name="T54" fmla="*/ 20 w 23"/>
                <a:gd name="T55" fmla="*/ 48 h 48"/>
                <a:gd name="T56" fmla="*/ 20 w 23"/>
                <a:gd name="T57" fmla="*/ 48 h 48"/>
                <a:gd name="T58" fmla="*/ 20 w 23"/>
                <a:gd name="T59" fmla="*/ 48 h 48"/>
                <a:gd name="T60" fmla="*/ 20 w 23"/>
                <a:gd name="T6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48">
                  <a:moveTo>
                    <a:pt x="20" y="48"/>
                  </a:moveTo>
                  <a:lnTo>
                    <a:pt x="20" y="48"/>
                  </a:lnTo>
                  <a:lnTo>
                    <a:pt x="22" y="48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39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2" y="2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7" y="7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11" y="39"/>
                  </a:lnTo>
                  <a:lnTo>
                    <a:pt x="11" y="45"/>
                  </a:lnTo>
                  <a:lnTo>
                    <a:pt x="16" y="46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84"/>
            <p:cNvSpPr>
              <a:spLocks/>
            </p:cNvSpPr>
            <p:nvPr/>
          </p:nvSpPr>
          <p:spPr bwMode="auto">
            <a:xfrm>
              <a:off x="1605976" y="2199018"/>
              <a:ext cx="8557" cy="11409"/>
            </a:xfrm>
            <a:custGeom>
              <a:avLst/>
              <a:gdLst>
                <a:gd name="T0" fmla="*/ 13 w 15"/>
                <a:gd name="T1" fmla="*/ 20 h 20"/>
                <a:gd name="T2" fmla="*/ 15 w 15"/>
                <a:gd name="T3" fmla="*/ 16 h 20"/>
                <a:gd name="T4" fmla="*/ 15 w 15"/>
                <a:gd name="T5" fmla="*/ 16 h 20"/>
                <a:gd name="T6" fmla="*/ 15 w 15"/>
                <a:gd name="T7" fmla="*/ 0 h 20"/>
                <a:gd name="T8" fmla="*/ 15 w 15"/>
                <a:gd name="T9" fmla="*/ 0 h 20"/>
                <a:gd name="T10" fmla="*/ 15 w 15"/>
                <a:gd name="T11" fmla="*/ 0 h 20"/>
                <a:gd name="T12" fmla="*/ 13 w 15"/>
                <a:gd name="T13" fmla="*/ 0 h 20"/>
                <a:gd name="T14" fmla="*/ 11 w 15"/>
                <a:gd name="T15" fmla="*/ 2 h 20"/>
                <a:gd name="T16" fmla="*/ 2 w 15"/>
                <a:gd name="T17" fmla="*/ 7 h 20"/>
                <a:gd name="T18" fmla="*/ 2 w 15"/>
                <a:gd name="T19" fmla="*/ 7 h 20"/>
                <a:gd name="T20" fmla="*/ 0 w 15"/>
                <a:gd name="T21" fmla="*/ 11 h 20"/>
                <a:gd name="T22" fmla="*/ 2 w 15"/>
                <a:gd name="T23" fmla="*/ 15 h 20"/>
                <a:gd name="T24" fmla="*/ 8 w 15"/>
                <a:gd name="T25" fmla="*/ 16 h 20"/>
                <a:gd name="T26" fmla="*/ 13 w 15"/>
                <a:gd name="T27" fmla="*/ 20 h 20"/>
                <a:gd name="T28" fmla="*/ 13 w 15"/>
                <a:gd name="T29" fmla="*/ 20 h 20"/>
                <a:gd name="T30" fmla="*/ 13 w 15"/>
                <a:gd name="T31" fmla="*/ 20 h 20"/>
                <a:gd name="T32" fmla="*/ 13 w 15"/>
                <a:gd name="T33" fmla="*/ 20 h 20"/>
                <a:gd name="T34" fmla="*/ 13 w 15"/>
                <a:gd name="T3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20">
                  <a:moveTo>
                    <a:pt x="13" y="20"/>
                  </a:moveTo>
                  <a:lnTo>
                    <a:pt x="15" y="16"/>
                  </a:lnTo>
                  <a:lnTo>
                    <a:pt x="15" y="16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1" y="2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11"/>
                  </a:lnTo>
                  <a:lnTo>
                    <a:pt x="2" y="15"/>
                  </a:lnTo>
                  <a:lnTo>
                    <a:pt x="8" y="16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85"/>
            <p:cNvSpPr>
              <a:spLocks/>
            </p:cNvSpPr>
            <p:nvPr/>
          </p:nvSpPr>
          <p:spPr bwMode="auto">
            <a:xfrm>
              <a:off x="1904329" y="2175629"/>
              <a:ext cx="15403" cy="12550"/>
            </a:xfrm>
            <a:custGeom>
              <a:avLst/>
              <a:gdLst>
                <a:gd name="T0" fmla="*/ 4 w 27"/>
                <a:gd name="T1" fmla="*/ 6 h 22"/>
                <a:gd name="T2" fmla="*/ 4 w 27"/>
                <a:gd name="T3" fmla="*/ 6 h 22"/>
                <a:gd name="T4" fmla="*/ 5 w 27"/>
                <a:gd name="T5" fmla="*/ 6 h 22"/>
                <a:gd name="T6" fmla="*/ 4 w 27"/>
                <a:gd name="T7" fmla="*/ 8 h 22"/>
                <a:gd name="T8" fmla="*/ 0 w 27"/>
                <a:gd name="T9" fmla="*/ 15 h 22"/>
                <a:gd name="T10" fmla="*/ 0 w 27"/>
                <a:gd name="T11" fmla="*/ 15 h 22"/>
                <a:gd name="T12" fmla="*/ 0 w 27"/>
                <a:gd name="T13" fmla="*/ 18 h 22"/>
                <a:gd name="T14" fmla="*/ 0 w 27"/>
                <a:gd name="T15" fmla="*/ 18 h 22"/>
                <a:gd name="T16" fmla="*/ 4 w 27"/>
                <a:gd name="T17" fmla="*/ 20 h 22"/>
                <a:gd name="T18" fmla="*/ 20 w 27"/>
                <a:gd name="T19" fmla="*/ 22 h 22"/>
                <a:gd name="T20" fmla="*/ 20 w 27"/>
                <a:gd name="T21" fmla="*/ 22 h 22"/>
                <a:gd name="T22" fmla="*/ 23 w 27"/>
                <a:gd name="T23" fmla="*/ 18 h 22"/>
                <a:gd name="T24" fmla="*/ 23 w 27"/>
                <a:gd name="T25" fmla="*/ 11 h 22"/>
                <a:gd name="T26" fmla="*/ 27 w 27"/>
                <a:gd name="T27" fmla="*/ 6 h 22"/>
                <a:gd name="T28" fmla="*/ 27 w 27"/>
                <a:gd name="T29" fmla="*/ 6 h 22"/>
                <a:gd name="T30" fmla="*/ 27 w 27"/>
                <a:gd name="T31" fmla="*/ 4 h 22"/>
                <a:gd name="T32" fmla="*/ 25 w 27"/>
                <a:gd name="T33" fmla="*/ 2 h 22"/>
                <a:gd name="T34" fmla="*/ 21 w 27"/>
                <a:gd name="T35" fmla="*/ 0 h 22"/>
                <a:gd name="T36" fmla="*/ 16 w 27"/>
                <a:gd name="T37" fmla="*/ 0 h 22"/>
                <a:gd name="T38" fmla="*/ 7 w 27"/>
                <a:gd name="T39" fmla="*/ 0 h 22"/>
                <a:gd name="T40" fmla="*/ 7 w 27"/>
                <a:gd name="T41" fmla="*/ 0 h 22"/>
                <a:gd name="T42" fmla="*/ 4 w 27"/>
                <a:gd name="T43" fmla="*/ 0 h 22"/>
                <a:gd name="T44" fmla="*/ 4 w 27"/>
                <a:gd name="T45" fmla="*/ 2 h 22"/>
                <a:gd name="T46" fmla="*/ 4 w 27"/>
                <a:gd name="T47" fmla="*/ 4 h 22"/>
                <a:gd name="T48" fmla="*/ 4 w 27"/>
                <a:gd name="T49" fmla="*/ 6 h 22"/>
                <a:gd name="T50" fmla="*/ 4 w 27"/>
                <a:gd name="T51" fmla="*/ 6 h 22"/>
                <a:gd name="T52" fmla="*/ 4 w 27"/>
                <a:gd name="T53" fmla="*/ 6 h 22"/>
                <a:gd name="T54" fmla="*/ 4 w 27"/>
                <a:gd name="T55" fmla="*/ 6 h 22"/>
                <a:gd name="T56" fmla="*/ 4 w 27"/>
                <a:gd name="T5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" h="22">
                  <a:moveTo>
                    <a:pt x="4" y="6"/>
                  </a:moveTo>
                  <a:lnTo>
                    <a:pt x="4" y="6"/>
                  </a:lnTo>
                  <a:lnTo>
                    <a:pt x="5" y="6"/>
                  </a:lnTo>
                  <a:lnTo>
                    <a:pt x="4" y="8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3" y="18"/>
                  </a:lnTo>
                  <a:lnTo>
                    <a:pt x="23" y="11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Freeform 86"/>
            <p:cNvSpPr>
              <a:spLocks/>
            </p:cNvSpPr>
            <p:nvPr/>
          </p:nvSpPr>
          <p:spPr bwMode="auto">
            <a:xfrm>
              <a:off x="2514155" y="2561262"/>
              <a:ext cx="162012" cy="207649"/>
            </a:xfrm>
            <a:custGeom>
              <a:avLst/>
              <a:gdLst>
                <a:gd name="T0" fmla="*/ 266 w 284"/>
                <a:gd name="T1" fmla="*/ 297 h 364"/>
                <a:gd name="T2" fmla="*/ 250 w 284"/>
                <a:gd name="T3" fmla="*/ 297 h 364"/>
                <a:gd name="T4" fmla="*/ 241 w 284"/>
                <a:gd name="T5" fmla="*/ 297 h 364"/>
                <a:gd name="T6" fmla="*/ 213 w 284"/>
                <a:gd name="T7" fmla="*/ 281 h 364"/>
                <a:gd name="T8" fmla="*/ 204 w 284"/>
                <a:gd name="T9" fmla="*/ 275 h 364"/>
                <a:gd name="T10" fmla="*/ 190 w 284"/>
                <a:gd name="T11" fmla="*/ 245 h 364"/>
                <a:gd name="T12" fmla="*/ 181 w 284"/>
                <a:gd name="T13" fmla="*/ 222 h 364"/>
                <a:gd name="T14" fmla="*/ 181 w 284"/>
                <a:gd name="T15" fmla="*/ 204 h 364"/>
                <a:gd name="T16" fmla="*/ 184 w 284"/>
                <a:gd name="T17" fmla="*/ 192 h 364"/>
                <a:gd name="T18" fmla="*/ 199 w 284"/>
                <a:gd name="T19" fmla="*/ 183 h 364"/>
                <a:gd name="T20" fmla="*/ 215 w 284"/>
                <a:gd name="T21" fmla="*/ 181 h 364"/>
                <a:gd name="T22" fmla="*/ 158 w 284"/>
                <a:gd name="T23" fmla="*/ 140 h 364"/>
                <a:gd name="T24" fmla="*/ 140 w 284"/>
                <a:gd name="T25" fmla="*/ 124 h 364"/>
                <a:gd name="T26" fmla="*/ 115 w 284"/>
                <a:gd name="T27" fmla="*/ 101 h 364"/>
                <a:gd name="T28" fmla="*/ 88 w 284"/>
                <a:gd name="T29" fmla="*/ 84 h 364"/>
                <a:gd name="T30" fmla="*/ 74 w 284"/>
                <a:gd name="T31" fmla="*/ 64 h 364"/>
                <a:gd name="T32" fmla="*/ 62 w 284"/>
                <a:gd name="T33" fmla="*/ 48 h 364"/>
                <a:gd name="T34" fmla="*/ 53 w 284"/>
                <a:gd name="T35" fmla="*/ 44 h 364"/>
                <a:gd name="T36" fmla="*/ 30 w 284"/>
                <a:gd name="T37" fmla="*/ 18 h 364"/>
                <a:gd name="T38" fmla="*/ 14 w 284"/>
                <a:gd name="T39" fmla="*/ 2 h 364"/>
                <a:gd name="T40" fmla="*/ 5 w 284"/>
                <a:gd name="T41" fmla="*/ 2 h 364"/>
                <a:gd name="T42" fmla="*/ 0 w 284"/>
                <a:gd name="T43" fmla="*/ 7 h 364"/>
                <a:gd name="T44" fmla="*/ 19 w 284"/>
                <a:gd name="T45" fmla="*/ 18 h 364"/>
                <a:gd name="T46" fmla="*/ 26 w 284"/>
                <a:gd name="T47" fmla="*/ 23 h 364"/>
                <a:gd name="T48" fmla="*/ 30 w 284"/>
                <a:gd name="T49" fmla="*/ 36 h 364"/>
                <a:gd name="T50" fmla="*/ 30 w 284"/>
                <a:gd name="T51" fmla="*/ 41 h 364"/>
                <a:gd name="T52" fmla="*/ 21 w 284"/>
                <a:gd name="T53" fmla="*/ 43 h 364"/>
                <a:gd name="T54" fmla="*/ 16 w 284"/>
                <a:gd name="T55" fmla="*/ 46 h 364"/>
                <a:gd name="T56" fmla="*/ 16 w 284"/>
                <a:gd name="T57" fmla="*/ 57 h 364"/>
                <a:gd name="T58" fmla="*/ 33 w 284"/>
                <a:gd name="T59" fmla="*/ 78 h 364"/>
                <a:gd name="T60" fmla="*/ 40 w 284"/>
                <a:gd name="T61" fmla="*/ 100 h 364"/>
                <a:gd name="T62" fmla="*/ 49 w 284"/>
                <a:gd name="T63" fmla="*/ 110 h 364"/>
                <a:gd name="T64" fmla="*/ 78 w 284"/>
                <a:gd name="T65" fmla="*/ 133 h 364"/>
                <a:gd name="T66" fmla="*/ 92 w 284"/>
                <a:gd name="T67" fmla="*/ 140 h 364"/>
                <a:gd name="T68" fmla="*/ 106 w 284"/>
                <a:gd name="T69" fmla="*/ 164 h 364"/>
                <a:gd name="T70" fmla="*/ 122 w 284"/>
                <a:gd name="T71" fmla="*/ 188 h 364"/>
                <a:gd name="T72" fmla="*/ 154 w 284"/>
                <a:gd name="T73" fmla="*/ 242 h 364"/>
                <a:gd name="T74" fmla="*/ 158 w 284"/>
                <a:gd name="T75" fmla="*/ 252 h 364"/>
                <a:gd name="T76" fmla="*/ 170 w 284"/>
                <a:gd name="T77" fmla="*/ 261 h 364"/>
                <a:gd name="T78" fmla="*/ 184 w 284"/>
                <a:gd name="T79" fmla="*/ 277 h 364"/>
                <a:gd name="T80" fmla="*/ 197 w 284"/>
                <a:gd name="T81" fmla="*/ 297 h 364"/>
                <a:gd name="T82" fmla="*/ 209 w 284"/>
                <a:gd name="T83" fmla="*/ 307 h 364"/>
                <a:gd name="T84" fmla="*/ 218 w 284"/>
                <a:gd name="T85" fmla="*/ 334 h 364"/>
                <a:gd name="T86" fmla="*/ 224 w 284"/>
                <a:gd name="T87" fmla="*/ 347 h 364"/>
                <a:gd name="T88" fmla="*/ 241 w 284"/>
                <a:gd name="T89" fmla="*/ 361 h 364"/>
                <a:gd name="T90" fmla="*/ 245 w 284"/>
                <a:gd name="T91" fmla="*/ 348 h 364"/>
                <a:gd name="T92" fmla="*/ 238 w 284"/>
                <a:gd name="T93" fmla="*/ 323 h 364"/>
                <a:gd name="T94" fmla="*/ 241 w 284"/>
                <a:gd name="T95" fmla="*/ 320 h 364"/>
                <a:gd name="T96" fmla="*/ 250 w 284"/>
                <a:gd name="T97" fmla="*/ 320 h 364"/>
                <a:gd name="T98" fmla="*/ 257 w 284"/>
                <a:gd name="T99" fmla="*/ 316 h 364"/>
                <a:gd name="T100" fmla="*/ 266 w 284"/>
                <a:gd name="T101" fmla="*/ 309 h 364"/>
                <a:gd name="T102" fmla="*/ 275 w 284"/>
                <a:gd name="T103" fmla="*/ 311 h 364"/>
                <a:gd name="T104" fmla="*/ 284 w 284"/>
                <a:gd name="T105" fmla="*/ 323 h 364"/>
                <a:gd name="T106" fmla="*/ 282 w 284"/>
                <a:gd name="T107" fmla="*/ 320 h 364"/>
                <a:gd name="T108" fmla="*/ 272 w 284"/>
                <a:gd name="T109" fmla="*/ 299 h 364"/>
                <a:gd name="T110" fmla="*/ 272 w 284"/>
                <a:gd name="T111" fmla="*/ 29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4" h="364">
                  <a:moveTo>
                    <a:pt x="272" y="299"/>
                  </a:moveTo>
                  <a:lnTo>
                    <a:pt x="272" y="299"/>
                  </a:lnTo>
                  <a:lnTo>
                    <a:pt x="266" y="297"/>
                  </a:lnTo>
                  <a:lnTo>
                    <a:pt x="264" y="297"/>
                  </a:lnTo>
                  <a:lnTo>
                    <a:pt x="257" y="297"/>
                  </a:lnTo>
                  <a:lnTo>
                    <a:pt x="250" y="297"/>
                  </a:lnTo>
                  <a:lnTo>
                    <a:pt x="245" y="297"/>
                  </a:lnTo>
                  <a:lnTo>
                    <a:pt x="241" y="297"/>
                  </a:lnTo>
                  <a:lnTo>
                    <a:pt x="241" y="297"/>
                  </a:lnTo>
                  <a:lnTo>
                    <a:pt x="231" y="286"/>
                  </a:lnTo>
                  <a:lnTo>
                    <a:pt x="222" y="283"/>
                  </a:lnTo>
                  <a:lnTo>
                    <a:pt x="213" y="281"/>
                  </a:lnTo>
                  <a:lnTo>
                    <a:pt x="213" y="281"/>
                  </a:lnTo>
                  <a:lnTo>
                    <a:pt x="209" y="279"/>
                  </a:lnTo>
                  <a:lnTo>
                    <a:pt x="204" y="275"/>
                  </a:lnTo>
                  <a:lnTo>
                    <a:pt x="200" y="268"/>
                  </a:lnTo>
                  <a:lnTo>
                    <a:pt x="197" y="261"/>
                  </a:lnTo>
                  <a:lnTo>
                    <a:pt x="190" y="245"/>
                  </a:lnTo>
                  <a:lnTo>
                    <a:pt x="184" y="231"/>
                  </a:lnTo>
                  <a:lnTo>
                    <a:pt x="184" y="231"/>
                  </a:lnTo>
                  <a:lnTo>
                    <a:pt x="181" y="222"/>
                  </a:lnTo>
                  <a:lnTo>
                    <a:pt x="179" y="212"/>
                  </a:lnTo>
                  <a:lnTo>
                    <a:pt x="179" y="208"/>
                  </a:lnTo>
                  <a:lnTo>
                    <a:pt x="181" y="204"/>
                  </a:lnTo>
                  <a:lnTo>
                    <a:pt x="181" y="199"/>
                  </a:lnTo>
                  <a:lnTo>
                    <a:pt x="184" y="192"/>
                  </a:lnTo>
                  <a:lnTo>
                    <a:pt x="184" y="192"/>
                  </a:lnTo>
                  <a:lnTo>
                    <a:pt x="190" y="188"/>
                  </a:lnTo>
                  <a:lnTo>
                    <a:pt x="193" y="185"/>
                  </a:lnTo>
                  <a:lnTo>
                    <a:pt x="199" y="183"/>
                  </a:lnTo>
                  <a:lnTo>
                    <a:pt x="202" y="181"/>
                  </a:lnTo>
                  <a:lnTo>
                    <a:pt x="211" y="181"/>
                  </a:lnTo>
                  <a:lnTo>
                    <a:pt x="215" y="181"/>
                  </a:lnTo>
                  <a:lnTo>
                    <a:pt x="215" y="181"/>
                  </a:lnTo>
                  <a:lnTo>
                    <a:pt x="181" y="160"/>
                  </a:lnTo>
                  <a:lnTo>
                    <a:pt x="158" y="140"/>
                  </a:lnTo>
                  <a:lnTo>
                    <a:pt x="147" y="133"/>
                  </a:lnTo>
                  <a:lnTo>
                    <a:pt x="140" y="124"/>
                  </a:lnTo>
                  <a:lnTo>
                    <a:pt x="140" y="124"/>
                  </a:lnTo>
                  <a:lnTo>
                    <a:pt x="136" y="119"/>
                  </a:lnTo>
                  <a:lnTo>
                    <a:pt x="131" y="114"/>
                  </a:lnTo>
                  <a:lnTo>
                    <a:pt x="115" y="101"/>
                  </a:lnTo>
                  <a:lnTo>
                    <a:pt x="101" y="92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1" y="80"/>
                  </a:lnTo>
                  <a:lnTo>
                    <a:pt x="78" y="76"/>
                  </a:lnTo>
                  <a:lnTo>
                    <a:pt x="74" y="64"/>
                  </a:lnTo>
                  <a:lnTo>
                    <a:pt x="69" y="55"/>
                  </a:lnTo>
                  <a:lnTo>
                    <a:pt x="67" y="52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58" y="46"/>
                  </a:lnTo>
                  <a:lnTo>
                    <a:pt x="53" y="44"/>
                  </a:lnTo>
                  <a:lnTo>
                    <a:pt x="46" y="36"/>
                  </a:lnTo>
                  <a:lnTo>
                    <a:pt x="37" y="25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17" y="4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1" y="7"/>
                  </a:lnTo>
                  <a:lnTo>
                    <a:pt x="5" y="11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4" y="20"/>
                  </a:lnTo>
                  <a:lnTo>
                    <a:pt x="26" y="23"/>
                  </a:lnTo>
                  <a:lnTo>
                    <a:pt x="26" y="25"/>
                  </a:lnTo>
                  <a:lnTo>
                    <a:pt x="28" y="28"/>
                  </a:lnTo>
                  <a:lnTo>
                    <a:pt x="30" y="36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3"/>
                  </a:lnTo>
                  <a:lnTo>
                    <a:pt x="26" y="43"/>
                  </a:lnTo>
                  <a:lnTo>
                    <a:pt x="21" y="43"/>
                  </a:lnTo>
                  <a:lnTo>
                    <a:pt x="19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4" y="48"/>
                  </a:lnTo>
                  <a:lnTo>
                    <a:pt x="14" y="53"/>
                  </a:lnTo>
                  <a:lnTo>
                    <a:pt x="16" y="57"/>
                  </a:lnTo>
                  <a:lnTo>
                    <a:pt x="17" y="62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7" y="85"/>
                  </a:lnTo>
                  <a:lnTo>
                    <a:pt x="39" y="92"/>
                  </a:lnTo>
                  <a:lnTo>
                    <a:pt x="40" y="100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9" y="110"/>
                  </a:lnTo>
                  <a:lnTo>
                    <a:pt x="53" y="117"/>
                  </a:lnTo>
                  <a:lnTo>
                    <a:pt x="67" y="124"/>
                  </a:lnTo>
                  <a:lnTo>
                    <a:pt x="78" y="133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2" y="140"/>
                  </a:lnTo>
                  <a:lnTo>
                    <a:pt x="96" y="144"/>
                  </a:lnTo>
                  <a:lnTo>
                    <a:pt x="101" y="155"/>
                  </a:lnTo>
                  <a:lnTo>
                    <a:pt x="106" y="164"/>
                  </a:lnTo>
                  <a:lnTo>
                    <a:pt x="113" y="174"/>
                  </a:lnTo>
                  <a:lnTo>
                    <a:pt x="113" y="174"/>
                  </a:lnTo>
                  <a:lnTo>
                    <a:pt x="122" y="188"/>
                  </a:lnTo>
                  <a:lnTo>
                    <a:pt x="138" y="210"/>
                  </a:lnTo>
                  <a:lnTo>
                    <a:pt x="151" y="231"/>
                  </a:lnTo>
                  <a:lnTo>
                    <a:pt x="154" y="242"/>
                  </a:lnTo>
                  <a:lnTo>
                    <a:pt x="156" y="249"/>
                  </a:lnTo>
                  <a:lnTo>
                    <a:pt x="156" y="249"/>
                  </a:lnTo>
                  <a:lnTo>
                    <a:pt x="158" y="252"/>
                  </a:lnTo>
                  <a:lnTo>
                    <a:pt x="161" y="258"/>
                  </a:lnTo>
                  <a:lnTo>
                    <a:pt x="163" y="259"/>
                  </a:lnTo>
                  <a:lnTo>
                    <a:pt x="170" y="261"/>
                  </a:lnTo>
                  <a:lnTo>
                    <a:pt x="177" y="268"/>
                  </a:lnTo>
                  <a:lnTo>
                    <a:pt x="183" y="272"/>
                  </a:lnTo>
                  <a:lnTo>
                    <a:pt x="184" y="277"/>
                  </a:lnTo>
                  <a:lnTo>
                    <a:pt x="184" y="277"/>
                  </a:lnTo>
                  <a:lnTo>
                    <a:pt x="193" y="291"/>
                  </a:lnTo>
                  <a:lnTo>
                    <a:pt x="197" y="297"/>
                  </a:lnTo>
                  <a:lnTo>
                    <a:pt x="202" y="304"/>
                  </a:lnTo>
                  <a:lnTo>
                    <a:pt x="202" y="304"/>
                  </a:lnTo>
                  <a:lnTo>
                    <a:pt x="209" y="307"/>
                  </a:lnTo>
                  <a:lnTo>
                    <a:pt x="213" y="316"/>
                  </a:lnTo>
                  <a:lnTo>
                    <a:pt x="215" y="323"/>
                  </a:lnTo>
                  <a:lnTo>
                    <a:pt x="218" y="334"/>
                  </a:lnTo>
                  <a:lnTo>
                    <a:pt x="218" y="334"/>
                  </a:lnTo>
                  <a:lnTo>
                    <a:pt x="220" y="341"/>
                  </a:lnTo>
                  <a:lnTo>
                    <a:pt x="224" y="347"/>
                  </a:lnTo>
                  <a:lnTo>
                    <a:pt x="229" y="348"/>
                  </a:lnTo>
                  <a:lnTo>
                    <a:pt x="232" y="352"/>
                  </a:lnTo>
                  <a:lnTo>
                    <a:pt x="241" y="361"/>
                  </a:lnTo>
                  <a:lnTo>
                    <a:pt x="250" y="364"/>
                  </a:lnTo>
                  <a:lnTo>
                    <a:pt x="250" y="364"/>
                  </a:lnTo>
                  <a:lnTo>
                    <a:pt x="245" y="348"/>
                  </a:lnTo>
                  <a:lnTo>
                    <a:pt x="240" y="327"/>
                  </a:lnTo>
                  <a:lnTo>
                    <a:pt x="240" y="327"/>
                  </a:lnTo>
                  <a:lnTo>
                    <a:pt x="238" y="323"/>
                  </a:lnTo>
                  <a:lnTo>
                    <a:pt x="238" y="322"/>
                  </a:lnTo>
                  <a:lnTo>
                    <a:pt x="240" y="320"/>
                  </a:lnTo>
                  <a:lnTo>
                    <a:pt x="241" y="320"/>
                  </a:lnTo>
                  <a:lnTo>
                    <a:pt x="245" y="320"/>
                  </a:lnTo>
                  <a:lnTo>
                    <a:pt x="250" y="320"/>
                  </a:lnTo>
                  <a:lnTo>
                    <a:pt x="250" y="320"/>
                  </a:lnTo>
                  <a:lnTo>
                    <a:pt x="252" y="320"/>
                  </a:lnTo>
                  <a:lnTo>
                    <a:pt x="254" y="320"/>
                  </a:lnTo>
                  <a:lnTo>
                    <a:pt x="257" y="316"/>
                  </a:lnTo>
                  <a:lnTo>
                    <a:pt x="261" y="311"/>
                  </a:lnTo>
                  <a:lnTo>
                    <a:pt x="263" y="309"/>
                  </a:lnTo>
                  <a:lnTo>
                    <a:pt x="266" y="309"/>
                  </a:lnTo>
                  <a:lnTo>
                    <a:pt x="266" y="309"/>
                  </a:lnTo>
                  <a:lnTo>
                    <a:pt x="272" y="309"/>
                  </a:lnTo>
                  <a:lnTo>
                    <a:pt x="275" y="311"/>
                  </a:lnTo>
                  <a:lnTo>
                    <a:pt x="280" y="320"/>
                  </a:lnTo>
                  <a:lnTo>
                    <a:pt x="284" y="323"/>
                  </a:lnTo>
                  <a:lnTo>
                    <a:pt x="284" y="323"/>
                  </a:lnTo>
                  <a:lnTo>
                    <a:pt x="284" y="323"/>
                  </a:lnTo>
                  <a:lnTo>
                    <a:pt x="284" y="323"/>
                  </a:lnTo>
                  <a:lnTo>
                    <a:pt x="282" y="320"/>
                  </a:lnTo>
                  <a:lnTo>
                    <a:pt x="279" y="311"/>
                  </a:lnTo>
                  <a:lnTo>
                    <a:pt x="272" y="299"/>
                  </a:lnTo>
                  <a:lnTo>
                    <a:pt x="272" y="299"/>
                  </a:lnTo>
                  <a:lnTo>
                    <a:pt x="272" y="299"/>
                  </a:lnTo>
                  <a:lnTo>
                    <a:pt x="272" y="299"/>
                  </a:lnTo>
                  <a:lnTo>
                    <a:pt x="272" y="29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87"/>
            <p:cNvSpPr>
              <a:spLocks/>
            </p:cNvSpPr>
            <p:nvPr/>
          </p:nvSpPr>
          <p:spPr bwMode="auto">
            <a:xfrm>
              <a:off x="2420599" y="1987375"/>
              <a:ext cx="15973" cy="11980"/>
            </a:xfrm>
            <a:custGeom>
              <a:avLst/>
              <a:gdLst>
                <a:gd name="T0" fmla="*/ 0 w 28"/>
                <a:gd name="T1" fmla="*/ 12 h 21"/>
                <a:gd name="T2" fmla="*/ 0 w 28"/>
                <a:gd name="T3" fmla="*/ 12 h 21"/>
                <a:gd name="T4" fmla="*/ 0 w 28"/>
                <a:gd name="T5" fmla="*/ 18 h 21"/>
                <a:gd name="T6" fmla="*/ 5 w 28"/>
                <a:gd name="T7" fmla="*/ 21 h 21"/>
                <a:gd name="T8" fmla="*/ 9 w 28"/>
                <a:gd name="T9" fmla="*/ 21 h 21"/>
                <a:gd name="T10" fmla="*/ 14 w 28"/>
                <a:gd name="T11" fmla="*/ 19 h 21"/>
                <a:gd name="T12" fmla="*/ 14 w 28"/>
                <a:gd name="T13" fmla="*/ 19 h 21"/>
                <a:gd name="T14" fmla="*/ 25 w 28"/>
                <a:gd name="T15" fmla="*/ 14 h 21"/>
                <a:gd name="T16" fmla="*/ 28 w 28"/>
                <a:gd name="T17" fmla="*/ 12 h 21"/>
                <a:gd name="T18" fmla="*/ 28 w 28"/>
                <a:gd name="T19" fmla="*/ 11 h 21"/>
                <a:gd name="T20" fmla="*/ 28 w 28"/>
                <a:gd name="T21" fmla="*/ 11 h 21"/>
                <a:gd name="T22" fmla="*/ 28 w 28"/>
                <a:gd name="T23" fmla="*/ 7 h 21"/>
                <a:gd name="T24" fmla="*/ 28 w 28"/>
                <a:gd name="T25" fmla="*/ 3 h 21"/>
                <a:gd name="T26" fmla="*/ 25 w 28"/>
                <a:gd name="T27" fmla="*/ 0 h 21"/>
                <a:gd name="T28" fmla="*/ 21 w 28"/>
                <a:gd name="T29" fmla="*/ 0 h 21"/>
                <a:gd name="T30" fmla="*/ 20 w 28"/>
                <a:gd name="T31" fmla="*/ 0 h 21"/>
                <a:gd name="T32" fmla="*/ 20 w 28"/>
                <a:gd name="T33" fmla="*/ 0 h 21"/>
                <a:gd name="T34" fmla="*/ 16 w 28"/>
                <a:gd name="T35" fmla="*/ 0 h 21"/>
                <a:gd name="T36" fmla="*/ 12 w 28"/>
                <a:gd name="T37" fmla="*/ 2 h 21"/>
                <a:gd name="T38" fmla="*/ 7 w 28"/>
                <a:gd name="T39" fmla="*/ 7 h 21"/>
                <a:gd name="T40" fmla="*/ 7 w 28"/>
                <a:gd name="T41" fmla="*/ 7 h 21"/>
                <a:gd name="T42" fmla="*/ 0 w 28"/>
                <a:gd name="T43" fmla="*/ 11 h 21"/>
                <a:gd name="T44" fmla="*/ 0 w 28"/>
                <a:gd name="T45" fmla="*/ 12 h 21"/>
                <a:gd name="T46" fmla="*/ 0 w 28"/>
                <a:gd name="T47" fmla="*/ 12 h 21"/>
                <a:gd name="T48" fmla="*/ 0 w 28"/>
                <a:gd name="T49" fmla="*/ 12 h 21"/>
                <a:gd name="T50" fmla="*/ 0 w 28"/>
                <a:gd name="T51" fmla="*/ 12 h 21"/>
                <a:gd name="T52" fmla="*/ 0 w 28"/>
                <a:gd name="T5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" h="21">
                  <a:moveTo>
                    <a:pt x="0" y="12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5" y="21"/>
                  </a:lnTo>
                  <a:lnTo>
                    <a:pt x="9" y="21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25" y="14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2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88"/>
            <p:cNvSpPr>
              <a:spLocks/>
            </p:cNvSpPr>
            <p:nvPr/>
          </p:nvSpPr>
          <p:spPr bwMode="auto">
            <a:xfrm>
              <a:off x="1283664" y="2138548"/>
              <a:ext cx="24530" cy="19966"/>
            </a:xfrm>
            <a:custGeom>
              <a:avLst/>
              <a:gdLst>
                <a:gd name="T0" fmla="*/ 0 w 43"/>
                <a:gd name="T1" fmla="*/ 23 h 35"/>
                <a:gd name="T2" fmla="*/ 0 w 43"/>
                <a:gd name="T3" fmla="*/ 23 h 35"/>
                <a:gd name="T4" fmla="*/ 4 w 43"/>
                <a:gd name="T5" fmla="*/ 26 h 35"/>
                <a:gd name="T6" fmla="*/ 9 w 43"/>
                <a:gd name="T7" fmla="*/ 32 h 35"/>
                <a:gd name="T8" fmla="*/ 13 w 43"/>
                <a:gd name="T9" fmla="*/ 33 h 35"/>
                <a:gd name="T10" fmla="*/ 16 w 43"/>
                <a:gd name="T11" fmla="*/ 35 h 35"/>
                <a:gd name="T12" fmla="*/ 20 w 43"/>
                <a:gd name="T13" fmla="*/ 35 h 35"/>
                <a:gd name="T14" fmla="*/ 25 w 43"/>
                <a:gd name="T15" fmla="*/ 35 h 35"/>
                <a:gd name="T16" fmla="*/ 25 w 43"/>
                <a:gd name="T17" fmla="*/ 35 h 35"/>
                <a:gd name="T18" fmla="*/ 30 w 43"/>
                <a:gd name="T19" fmla="*/ 32 h 35"/>
                <a:gd name="T20" fmla="*/ 37 w 43"/>
                <a:gd name="T21" fmla="*/ 30 h 35"/>
                <a:gd name="T22" fmla="*/ 43 w 43"/>
                <a:gd name="T23" fmla="*/ 25 h 35"/>
                <a:gd name="T24" fmla="*/ 43 w 43"/>
                <a:gd name="T25" fmla="*/ 23 h 35"/>
                <a:gd name="T26" fmla="*/ 43 w 43"/>
                <a:gd name="T27" fmla="*/ 19 h 35"/>
                <a:gd name="T28" fmla="*/ 43 w 43"/>
                <a:gd name="T29" fmla="*/ 19 h 35"/>
                <a:gd name="T30" fmla="*/ 41 w 43"/>
                <a:gd name="T31" fmla="*/ 12 h 35"/>
                <a:gd name="T32" fmla="*/ 37 w 43"/>
                <a:gd name="T33" fmla="*/ 7 h 35"/>
                <a:gd name="T34" fmla="*/ 37 w 43"/>
                <a:gd name="T35" fmla="*/ 3 h 35"/>
                <a:gd name="T36" fmla="*/ 36 w 43"/>
                <a:gd name="T37" fmla="*/ 1 h 35"/>
                <a:gd name="T38" fmla="*/ 34 w 43"/>
                <a:gd name="T39" fmla="*/ 0 h 35"/>
                <a:gd name="T40" fmla="*/ 30 w 43"/>
                <a:gd name="T41" fmla="*/ 0 h 35"/>
                <a:gd name="T42" fmla="*/ 30 w 43"/>
                <a:gd name="T43" fmla="*/ 0 h 35"/>
                <a:gd name="T44" fmla="*/ 25 w 43"/>
                <a:gd name="T45" fmla="*/ 0 h 35"/>
                <a:gd name="T46" fmla="*/ 20 w 43"/>
                <a:gd name="T47" fmla="*/ 0 h 35"/>
                <a:gd name="T48" fmla="*/ 13 w 43"/>
                <a:gd name="T49" fmla="*/ 3 h 35"/>
                <a:gd name="T50" fmla="*/ 9 w 43"/>
                <a:gd name="T51" fmla="*/ 7 h 35"/>
                <a:gd name="T52" fmla="*/ 9 w 43"/>
                <a:gd name="T53" fmla="*/ 7 h 35"/>
                <a:gd name="T54" fmla="*/ 5 w 43"/>
                <a:gd name="T55" fmla="*/ 12 h 35"/>
                <a:gd name="T56" fmla="*/ 2 w 43"/>
                <a:gd name="T57" fmla="*/ 17 h 35"/>
                <a:gd name="T58" fmla="*/ 0 w 43"/>
                <a:gd name="T59" fmla="*/ 23 h 35"/>
                <a:gd name="T60" fmla="*/ 0 w 43"/>
                <a:gd name="T61" fmla="*/ 23 h 35"/>
                <a:gd name="T62" fmla="*/ 0 w 43"/>
                <a:gd name="T63" fmla="*/ 23 h 35"/>
                <a:gd name="T64" fmla="*/ 0 w 43"/>
                <a:gd name="T65" fmla="*/ 23 h 35"/>
                <a:gd name="T66" fmla="*/ 0 w 43"/>
                <a:gd name="T67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" h="35">
                  <a:moveTo>
                    <a:pt x="0" y="23"/>
                  </a:moveTo>
                  <a:lnTo>
                    <a:pt x="0" y="23"/>
                  </a:lnTo>
                  <a:lnTo>
                    <a:pt x="4" y="26"/>
                  </a:lnTo>
                  <a:lnTo>
                    <a:pt x="9" y="32"/>
                  </a:lnTo>
                  <a:lnTo>
                    <a:pt x="13" y="33"/>
                  </a:lnTo>
                  <a:lnTo>
                    <a:pt x="16" y="35"/>
                  </a:lnTo>
                  <a:lnTo>
                    <a:pt x="20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30" y="32"/>
                  </a:lnTo>
                  <a:lnTo>
                    <a:pt x="37" y="30"/>
                  </a:lnTo>
                  <a:lnTo>
                    <a:pt x="43" y="25"/>
                  </a:lnTo>
                  <a:lnTo>
                    <a:pt x="43" y="23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1" y="12"/>
                  </a:lnTo>
                  <a:lnTo>
                    <a:pt x="37" y="7"/>
                  </a:lnTo>
                  <a:lnTo>
                    <a:pt x="37" y="3"/>
                  </a:lnTo>
                  <a:lnTo>
                    <a:pt x="36" y="1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13" y="3"/>
                  </a:lnTo>
                  <a:lnTo>
                    <a:pt x="9" y="7"/>
                  </a:lnTo>
                  <a:lnTo>
                    <a:pt x="9" y="7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89"/>
            <p:cNvSpPr>
              <a:spLocks/>
            </p:cNvSpPr>
            <p:nvPr/>
          </p:nvSpPr>
          <p:spPr bwMode="auto">
            <a:xfrm>
              <a:off x="1364670" y="2048985"/>
              <a:ext cx="215065" cy="122650"/>
            </a:xfrm>
            <a:custGeom>
              <a:avLst/>
              <a:gdLst>
                <a:gd name="T0" fmla="*/ 48 w 377"/>
                <a:gd name="T1" fmla="*/ 215 h 215"/>
                <a:gd name="T2" fmla="*/ 41 w 377"/>
                <a:gd name="T3" fmla="*/ 206 h 215"/>
                <a:gd name="T4" fmla="*/ 16 w 377"/>
                <a:gd name="T5" fmla="*/ 187 h 215"/>
                <a:gd name="T6" fmla="*/ 7 w 377"/>
                <a:gd name="T7" fmla="*/ 171 h 215"/>
                <a:gd name="T8" fmla="*/ 6 w 377"/>
                <a:gd name="T9" fmla="*/ 167 h 215"/>
                <a:gd name="T10" fmla="*/ 4 w 377"/>
                <a:gd name="T11" fmla="*/ 158 h 215"/>
                <a:gd name="T12" fmla="*/ 7 w 377"/>
                <a:gd name="T13" fmla="*/ 155 h 215"/>
                <a:gd name="T14" fmla="*/ 11 w 377"/>
                <a:gd name="T15" fmla="*/ 150 h 215"/>
                <a:gd name="T16" fmla="*/ 16 w 377"/>
                <a:gd name="T17" fmla="*/ 141 h 215"/>
                <a:gd name="T18" fmla="*/ 16 w 377"/>
                <a:gd name="T19" fmla="*/ 132 h 215"/>
                <a:gd name="T20" fmla="*/ 15 w 377"/>
                <a:gd name="T21" fmla="*/ 128 h 215"/>
                <a:gd name="T22" fmla="*/ 7 w 377"/>
                <a:gd name="T23" fmla="*/ 121 h 215"/>
                <a:gd name="T24" fmla="*/ 0 w 377"/>
                <a:gd name="T25" fmla="*/ 116 h 215"/>
                <a:gd name="T26" fmla="*/ 0 w 377"/>
                <a:gd name="T27" fmla="*/ 107 h 215"/>
                <a:gd name="T28" fmla="*/ 4 w 377"/>
                <a:gd name="T29" fmla="*/ 102 h 215"/>
                <a:gd name="T30" fmla="*/ 15 w 377"/>
                <a:gd name="T31" fmla="*/ 95 h 215"/>
                <a:gd name="T32" fmla="*/ 27 w 377"/>
                <a:gd name="T33" fmla="*/ 91 h 215"/>
                <a:gd name="T34" fmla="*/ 43 w 377"/>
                <a:gd name="T35" fmla="*/ 87 h 215"/>
                <a:gd name="T36" fmla="*/ 48 w 377"/>
                <a:gd name="T37" fmla="*/ 84 h 215"/>
                <a:gd name="T38" fmla="*/ 73 w 377"/>
                <a:gd name="T39" fmla="*/ 70 h 215"/>
                <a:gd name="T40" fmla="*/ 98 w 377"/>
                <a:gd name="T41" fmla="*/ 55 h 215"/>
                <a:gd name="T42" fmla="*/ 105 w 377"/>
                <a:gd name="T43" fmla="*/ 54 h 215"/>
                <a:gd name="T44" fmla="*/ 118 w 377"/>
                <a:gd name="T45" fmla="*/ 47 h 215"/>
                <a:gd name="T46" fmla="*/ 134 w 377"/>
                <a:gd name="T47" fmla="*/ 41 h 215"/>
                <a:gd name="T48" fmla="*/ 139 w 377"/>
                <a:gd name="T49" fmla="*/ 38 h 215"/>
                <a:gd name="T50" fmla="*/ 185 w 377"/>
                <a:gd name="T51" fmla="*/ 13 h 215"/>
                <a:gd name="T52" fmla="*/ 199 w 377"/>
                <a:gd name="T53" fmla="*/ 7 h 215"/>
                <a:gd name="T54" fmla="*/ 231 w 377"/>
                <a:gd name="T55" fmla="*/ 0 h 215"/>
                <a:gd name="T56" fmla="*/ 249 w 377"/>
                <a:gd name="T57" fmla="*/ 0 h 215"/>
                <a:gd name="T58" fmla="*/ 256 w 377"/>
                <a:gd name="T59" fmla="*/ 2 h 215"/>
                <a:gd name="T60" fmla="*/ 276 w 377"/>
                <a:gd name="T61" fmla="*/ 9 h 215"/>
                <a:gd name="T62" fmla="*/ 295 w 377"/>
                <a:gd name="T63" fmla="*/ 16 h 215"/>
                <a:gd name="T64" fmla="*/ 299 w 377"/>
                <a:gd name="T65" fmla="*/ 16 h 215"/>
                <a:gd name="T66" fmla="*/ 313 w 377"/>
                <a:gd name="T67" fmla="*/ 18 h 215"/>
                <a:gd name="T68" fmla="*/ 324 w 377"/>
                <a:gd name="T69" fmla="*/ 16 h 215"/>
                <a:gd name="T70" fmla="*/ 340 w 377"/>
                <a:gd name="T71" fmla="*/ 13 h 215"/>
                <a:gd name="T72" fmla="*/ 363 w 377"/>
                <a:gd name="T73" fmla="*/ 9 h 215"/>
                <a:gd name="T74" fmla="*/ 374 w 377"/>
                <a:gd name="T75" fmla="*/ 15 h 215"/>
                <a:gd name="T76" fmla="*/ 375 w 377"/>
                <a:gd name="T77" fmla="*/ 18 h 215"/>
                <a:gd name="T78" fmla="*/ 377 w 377"/>
                <a:gd name="T79" fmla="*/ 23 h 215"/>
                <a:gd name="T80" fmla="*/ 375 w 377"/>
                <a:gd name="T81" fmla="*/ 34 h 215"/>
                <a:gd name="T82" fmla="*/ 368 w 377"/>
                <a:gd name="T83" fmla="*/ 43 h 215"/>
                <a:gd name="T84" fmla="*/ 352 w 377"/>
                <a:gd name="T85" fmla="*/ 48 h 215"/>
                <a:gd name="T86" fmla="*/ 340 w 377"/>
                <a:gd name="T87" fmla="*/ 48 h 215"/>
                <a:gd name="T88" fmla="*/ 283 w 377"/>
                <a:gd name="T89" fmla="*/ 48 h 215"/>
                <a:gd name="T90" fmla="*/ 246 w 377"/>
                <a:gd name="T91" fmla="*/ 48 h 215"/>
                <a:gd name="T92" fmla="*/ 237 w 377"/>
                <a:gd name="T93" fmla="*/ 50 h 215"/>
                <a:gd name="T94" fmla="*/ 164 w 377"/>
                <a:gd name="T95" fmla="*/ 77 h 215"/>
                <a:gd name="T96" fmla="*/ 141 w 377"/>
                <a:gd name="T97" fmla="*/ 84 h 215"/>
                <a:gd name="T98" fmla="*/ 105 w 377"/>
                <a:gd name="T99" fmla="*/ 102 h 215"/>
                <a:gd name="T100" fmla="*/ 87 w 377"/>
                <a:gd name="T101" fmla="*/ 114 h 215"/>
                <a:gd name="T102" fmla="*/ 75 w 377"/>
                <a:gd name="T103" fmla="*/ 125 h 215"/>
                <a:gd name="T104" fmla="*/ 68 w 377"/>
                <a:gd name="T105" fmla="*/ 135 h 215"/>
                <a:gd name="T106" fmla="*/ 59 w 377"/>
                <a:gd name="T107" fmla="*/ 151 h 215"/>
                <a:gd name="T108" fmla="*/ 55 w 377"/>
                <a:gd name="T109" fmla="*/ 162 h 215"/>
                <a:gd name="T110" fmla="*/ 54 w 377"/>
                <a:gd name="T111" fmla="*/ 174 h 215"/>
                <a:gd name="T112" fmla="*/ 55 w 377"/>
                <a:gd name="T113" fmla="*/ 199 h 215"/>
                <a:gd name="T114" fmla="*/ 55 w 377"/>
                <a:gd name="T115" fmla="*/ 205 h 215"/>
                <a:gd name="T116" fmla="*/ 52 w 377"/>
                <a:gd name="T117" fmla="*/ 210 h 215"/>
                <a:gd name="T118" fmla="*/ 48 w 377"/>
                <a:gd name="T119" fmla="*/ 215 h 215"/>
                <a:gd name="T120" fmla="*/ 48 w 377"/>
                <a:gd name="T121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7" h="215">
                  <a:moveTo>
                    <a:pt x="48" y="215"/>
                  </a:moveTo>
                  <a:lnTo>
                    <a:pt x="48" y="215"/>
                  </a:lnTo>
                  <a:lnTo>
                    <a:pt x="47" y="212"/>
                  </a:lnTo>
                  <a:lnTo>
                    <a:pt x="41" y="206"/>
                  </a:lnTo>
                  <a:lnTo>
                    <a:pt x="25" y="192"/>
                  </a:lnTo>
                  <a:lnTo>
                    <a:pt x="16" y="187"/>
                  </a:lnTo>
                  <a:lnTo>
                    <a:pt x="11" y="178"/>
                  </a:lnTo>
                  <a:lnTo>
                    <a:pt x="7" y="171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4" y="157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11" y="150"/>
                  </a:lnTo>
                  <a:lnTo>
                    <a:pt x="15" y="144"/>
                  </a:lnTo>
                  <a:lnTo>
                    <a:pt x="16" y="141"/>
                  </a:lnTo>
                  <a:lnTo>
                    <a:pt x="16" y="137"/>
                  </a:lnTo>
                  <a:lnTo>
                    <a:pt x="16" y="132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2" y="118"/>
                  </a:lnTo>
                  <a:lnTo>
                    <a:pt x="0" y="116"/>
                  </a:lnTo>
                  <a:lnTo>
                    <a:pt x="0" y="110"/>
                  </a:lnTo>
                  <a:lnTo>
                    <a:pt x="0" y="107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11" y="98"/>
                  </a:lnTo>
                  <a:lnTo>
                    <a:pt x="15" y="95"/>
                  </a:lnTo>
                  <a:lnTo>
                    <a:pt x="22" y="91"/>
                  </a:lnTo>
                  <a:lnTo>
                    <a:pt x="27" y="91"/>
                  </a:lnTo>
                  <a:lnTo>
                    <a:pt x="38" y="87"/>
                  </a:lnTo>
                  <a:lnTo>
                    <a:pt x="43" y="87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9" y="77"/>
                  </a:lnTo>
                  <a:lnTo>
                    <a:pt x="73" y="70"/>
                  </a:lnTo>
                  <a:lnTo>
                    <a:pt x="87" y="63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105" y="54"/>
                  </a:lnTo>
                  <a:lnTo>
                    <a:pt x="109" y="48"/>
                  </a:lnTo>
                  <a:lnTo>
                    <a:pt x="118" y="47"/>
                  </a:lnTo>
                  <a:lnTo>
                    <a:pt x="128" y="43"/>
                  </a:lnTo>
                  <a:lnTo>
                    <a:pt x="134" y="41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64" y="23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99" y="7"/>
                  </a:lnTo>
                  <a:lnTo>
                    <a:pt x="215" y="4"/>
                  </a:lnTo>
                  <a:lnTo>
                    <a:pt x="231" y="0"/>
                  </a:lnTo>
                  <a:lnTo>
                    <a:pt x="240" y="0"/>
                  </a:lnTo>
                  <a:lnTo>
                    <a:pt x="249" y="0"/>
                  </a:lnTo>
                  <a:lnTo>
                    <a:pt x="249" y="0"/>
                  </a:lnTo>
                  <a:lnTo>
                    <a:pt x="256" y="2"/>
                  </a:lnTo>
                  <a:lnTo>
                    <a:pt x="262" y="4"/>
                  </a:lnTo>
                  <a:lnTo>
                    <a:pt x="276" y="9"/>
                  </a:lnTo>
                  <a:lnTo>
                    <a:pt x="288" y="13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299" y="16"/>
                  </a:lnTo>
                  <a:lnTo>
                    <a:pt x="310" y="16"/>
                  </a:lnTo>
                  <a:lnTo>
                    <a:pt x="313" y="18"/>
                  </a:lnTo>
                  <a:lnTo>
                    <a:pt x="317" y="18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40" y="13"/>
                  </a:lnTo>
                  <a:lnTo>
                    <a:pt x="354" y="9"/>
                  </a:lnTo>
                  <a:lnTo>
                    <a:pt x="363" y="9"/>
                  </a:lnTo>
                  <a:lnTo>
                    <a:pt x="368" y="13"/>
                  </a:lnTo>
                  <a:lnTo>
                    <a:pt x="374" y="15"/>
                  </a:lnTo>
                  <a:lnTo>
                    <a:pt x="374" y="16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7" y="23"/>
                  </a:lnTo>
                  <a:lnTo>
                    <a:pt x="377" y="29"/>
                  </a:lnTo>
                  <a:lnTo>
                    <a:pt x="375" y="34"/>
                  </a:lnTo>
                  <a:lnTo>
                    <a:pt x="372" y="39"/>
                  </a:lnTo>
                  <a:lnTo>
                    <a:pt x="368" y="43"/>
                  </a:lnTo>
                  <a:lnTo>
                    <a:pt x="361" y="47"/>
                  </a:lnTo>
                  <a:lnTo>
                    <a:pt x="352" y="48"/>
                  </a:lnTo>
                  <a:lnTo>
                    <a:pt x="340" y="48"/>
                  </a:lnTo>
                  <a:lnTo>
                    <a:pt x="340" y="48"/>
                  </a:lnTo>
                  <a:lnTo>
                    <a:pt x="313" y="48"/>
                  </a:lnTo>
                  <a:lnTo>
                    <a:pt x="283" y="48"/>
                  </a:lnTo>
                  <a:lnTo>
                    <a:pt x="256" y="47"/>
                  </a:lnTo>
                  <a:lnTo>
                    <a:pt x="246" y="48"/>
                  </a:lnTo>
                  <a:lnTo>
                    <a:pt x="237" y="50"/>
                  </a:lnTo>
                  <a:lnTo>
                    <a:pt x="237" y="50"/>
                  </a:lnTo>
                  <a:lnTo>
                    <a:pt x="191" y="66"/>
                  </a:lnTo>
                  <a:lnTo>
                    <a:pt x="164" y="77"/>
                  </a:lnTo>
                  <a:lnTo>
                    <a:pt x="141" y="84"/>
                  </a:lnTo>
                  <a:lnTo>
                    <a:pt x="141" y="84"/>
                  </a:lnTo>
                  <a:lnTo>
                    <a:pt x="125" y="95"/>
                  </a:lnTo>
                  <a:lnTo>
                    <a:pt x="105" y="102"/>
                  </a:lnTo>
                  <a:lnTo>
                    <a:pt x="96" y="107"/>
                  </a:lnTo>
                  <a:lnTo>
                    <a:pt x="87" y="114"/>
                  </a:lnTo>
                  <a:lnTo>
                    <a:pt x="84" y="119"/>
                  </a:lnTo>
                  <a:lnTo>
                    <a:pt x="75" y="125"/>
                  </a:lnTo>
                  <a:lnTo>
                    <a:pt x="75" y="125"/>
                  </a:lnTo>
                  <a:lnTo>
                    <a:pt x="68" y="135"/>
                  </a:lnTo>
                  <a:lnTo>
                    <a:pt x="64" y="144"/>
                  </a:lnTo>
                  <a:lnTo>
                    <a:pt x="59" y="151"/>
                  </a:lnTo>
                  <a:lnTo>
                    <a:pt x="55" y="162"/>
                  </a:lnTo>
                  <a:lnTo>
                    <a:pt x="55" y="162"/>
                  </a:lnTo>
                  <a:lnTo>
                    <a:pt x="54" y="167"/>
                  </a:lnTo>
                  <a:lnTo>
                    <a:pt x="54" y="174"/>
                  </a:lnTo>
                  <a:lnTo>
                    <a:pt x="54" y="187"/>
                  </a:lnTo>
                  <a:lnTo>
                    <a:pt x="55" y="199"/>
                  </a:lnTo>
                  <a:lnTo>
                    <a:pt x="55" y="205"/>
                  </a:lnTo>
                  <a:lnTo>
                    <a:pt x="55" y="205"/>
                  </a:lnTo>
                  <a:lnTo>
                    <a:pt x="54" y="206"/>
                  </a:lnTo>
                  <a:lnTo>
                    <a:pt x="52" y="210"/>
                  </a:lnTo>
                  <a:lnTo>
                    <a:pt x="48" y="215"/>
                  </a:lnTo>
                  <a:lnTo>
                    <a:pt x="48" y="215"/>
                  </a:lnTo>
                  <a:lnTo>
                    <a:pt x="48" y="215"/>
                  </a:lnTo>
                  <a:lnTo>
                    <a:pt x="48" y="215"/>
                  </a:lnTo>
                  <a:lnTo>
                    <a:pt x="48" y="215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90"/>
            <p:cNvSpPr>
              <a:spLocks/>
            </p:cNvSpPr>
            <p:nvPr/>
          </p:nvSpPr>
          <p:spPr bwMode="auto">
            <a:xfrm>
              <a:off x="1802216" y="2039288"/>
              <a:ext cx="40503" cy="43355"/>
            </a:xfrm>
            <a:custGeom>
              <a:avLst/>
              <a:gdLst>
                <a:gd name="T0" fmla="*/ 1 w 71"/>
                <a:gd name="T1" fmla="*/ 76 h 76"/>
                <a:gd name="T2" fmla="*/ 1 w 71"/>
                <a:gd name="T3" fmla="*/ 76 h 76"/>
                <a:gd name="T4" fmla="*/ 0 w 71"/>
                <a:gd name="T5" fmla="*/ 74 h 76"/>
                <a:gd name="T6" fmla="*/ 0 w 71"/>
                <a:gd name="T7" fmla="*/ 74 h 76"/>
                <a:gd name="T8" fmla="*/ 1 w 71"/>
                <a:gd name="T9" fmla="*/ 67 h 76"/>
                <a:gd name="T10" fmla="*/ 1 w 71"/>
                <a:gd name="T11" fmla="*/ 62 h 76"/>
                <a:gd name="T12" fmla="*/ 5 w 71"/>
                <a:gd name="T13" fmla="*/ 55 h 76"/>
                <a:gd name="T14" fmla="*/ 5 w 71"/>
                <a:gd name="T15" fmla="*/ 55 h 76"/>
                <a:gd name="T16" fmla="*/ 8 w 71"/>
                <a:gd name="T17" fmla="*/ 44 h 76"/>
                <a:gd name="T18" fmla="*/ 14 w 71"/>
                <a:gd name="T19" fmla="*/ 30 h 76"/>
                <a:gd name="T20" fmla="*/ 19 w 71"/>
                <a:gd name="T21" fmla="*/ 14 h 76"/>
                <a:gd name="T22" fmla="*/ 23 w 71"/>
                <a:gd name="T23" fmla="*/ 10 h 76"/>
                <a:gd name="T24" fmla="*/ 24 w 71"/>
                <a:gd name="T25" fmla="*/ 5 h 76"/>
                <a:gd name="T26" fmla="*/ 24 w 71"/>
                <a:gd name="T27" fmla="*/ 5 h 76"/>
                <a:gd name="T28" fmla="*/ 33 w 71"/>
                <a:gd name="T29" fmla="*/ 0 h 76"/>
                <a:gd name="T30" fmla="*/ 35 w 71"/>
                <a:gd name="T31" fmla="*/ 0 h 76"/>
                <a:gd name="T32" fmla="*/ 39 w 71"/>
                <a:gd name="T33" fmla="*/ 1 h 76"/>
                <a:gd name="T34" fmla="*/ 39 w 71"/>
                <a:gd name="T35" fmla="*/ 1 h 76"/>
                <a:gd name="T36" fmla="*/ 42 w 71"/>
                <a:gd name="T37" fmla="*/ 8 h 76"/>
                <a:gd name="T38" fmla="*/ 49 w 71"/>
                <a:gd name="T39" fmla="*/ 14 h 76"/>
                <a:gd name="T40" fmla="*/ 62 w 71"/>
                <a:gd name="T41" fmla="*/ 24 h 76"/>
                <a:gd name="T42" fmla="*/ 62 w 71"/>
                <a:gd name="T43" fmla="*/ 24 h 76"/>
                <a:gd name="T44" fmla="*/ 65 w 71"/>
                <a:gd name="T45" fmla="*/ 26 h 76"/>
                <a:gd name="T46" fmla="*/ 69 w 71"/>
                <a:gd name="T47" fmla="*/ 33 h 76"/>
                <a:gd name="T48" fmla="*/ 71 w 71"/>
                <a:gd name="T49" fmla="*/ 37 h 76"/>
                <a:gd name="T50" fmla="*/ 71 w 71"/>
                <a:gd name="T51" fmla="*/ 40 h 76"/>
                <a:gd name="T52" fmla="*/ 71 w 71"/>
                <a:gd name="T53" fmla="*/ 44 h 76"/>
                <a:gd name="T54" fmla="*/ 65 w 71"/>
                <a:gd name="T55" fmla="*/ 46 h 76"/>
                <a:gd name="T56" fmla="*/ 65 w 71"/>
                <a:gd name="T57" fmla="*/ 46 h 76"/>
                <a:gd name="T58" fmla="*/ 62 w 71"/>
                <a:gd name="T59" fmla="*/ 53 h 76"/>
                <a:gd name="T60" fmla="*/ 58 w 71"/>
                <a:gd name="T61" fmla="*/ 56 h 76"/>
                <a:gd name="T62" fmla="*/ 53 w 71"/>
                <a:gd name="T63" fmla="*/ 60 h 76"/>
                <a:gd name="T64" fmla="*/ 46 w 71"/>
                <a:gd name="T65" fmla="*/ 62 h 76"/>
                <a:gd name="T66" fmla="*/ 46 w 71"/>
                <a:gd name="T67" fmla="*/ 62 h 76"/>
                <a:gd name="T68" fmla="*/ 39 w 71"/>
                <a:gd name="T69" fmla="*/ 64 h 76"/>
                <a:gd name="T70" fmla="*/ 33 w 71"/>
                <a:gd name="T71" fmla="*/ 64 h 76"/>
                <a:gd name="T72" fmla="*/ 28 w 71"/>
                <a:gd name="T73" fmla="*/ 64 h 76"/>
                <a:gd name="T74" fmla="*/ 23 w 71"/>
                <a:gd name="T75" fmla="*/ 64 h 76"/>
                <a:gd name="T76" fmla="*/ 23 w 71"/>
                <a:gd name="T77" fmla="*/ 64 h 76"/>
                <a:gd name="T78" fmla="*/ 14 w 71"/>
                <a:gd name="T79" fmla="*/ 71 h 76"/>
                <a:gd name="T80" fmla="*/ 8 w 71"/>
                <a:gd name="T81" fmla="*/ 74 h 76"/>
                <a:gd name="T82" fmla="*/ 8 w 71"/>
                <a:gd name="T83" fmla="*/ 74 h 76"/>
                <a:gd name="T84" fmla="*/ 5 w 71"/>
                <a:gd name="T85" fmla="*/ 76 h 76"/>
                <a:gd name="T86" fmla="*/ 1 w 71"/>
                <a:gd name="T87" fmla="*/ 76 h 76"/>
                <a:gd name="T88" fmla="*/ 1 w 71"/>
                <a:gd name="T89" fmla="*/ 76 h 76"/>
                <a:gd name="T90" fmla="*/ 1 w 71"/>
                <a:gd name="T91" fmla="*/ 76 h 76"/>
                <a:gd name="T92" fmla="*/ 1 w 71"/>
                <a:gd name="T93" fmla="*/ 76 h 76"/>
                <a:gd name="T94" fmla="*/ 1 w 71"/>
                <a:gd name="T95" fmla="*/ 76 h 76"/>
                <a:gd name="T96" fmla="*/ 1 w 71"/>
                <a:gd name="T9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1" h="76">
                  <a:moveTo>
                    <a:pt x="1" y="76"/>
                  </a:moveTo>
                  <a:lnTo>
                    <a:pt x="1" y="76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67"/>
                  </a:lnTo>
                  <a:lnTo>
                    <a:pt x="1" y="62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8" y="44"/>
                  </a:lnTo>
                  <a:lnTo>
                    <a:pt x="14" y="30"/>
                  </a:lnTo>
                  <a:lnTo>
                    <a:pt x="19" y="14"/>
                  </a:lnTo>
                  <a:lnTo>
                    <a:pt x="23" y="10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42" y="8"/>
                  </a:lnTo>
                  <a:lnTo>
                    <a:pt x="49" y="1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5" y="26"/>
                  </a:lnTo>
                  <a:lnTo>
                    <a:pt x="69" y="33"/>
                  </a:lnTo>
                  <a:lnTo>
                    <a:pt x="71" y="37"/>
                  </a:lnTo>
                  <a:lnTo>
                    <a:pt x="71" y="40"/>
                  </a:lnTo>
                  <a:lnTo>
                    <a:pt x="71" y="44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2" y="53"/>
                  </a:lnTo>
                  <a:lnTo>
                    <a:pt x="58" y="56"/>
                  </a:lnTo>
                  <a:lnTo>
                    <a:pt x="53" y="60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39" y="64"/>
                  </a:lnTo>
                  <a:lnTo>
                    <a:pt x="33" y="64"/>
                  </a:lnTo>
                  <a:lnTo>
                    <a:pt x="28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14" y="71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5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91"/>
            <p:cNvSpPr>
              <a:spLocks/>
            </p:cNvSpPr>
            <p:nvPr/>
          </p:nvSpPr>
          <p:spPr bwMode="auto">
            <a:xfrm>
              <a:off x="1766276" y="2014758"/>
              <a:ext cx="38792" cy="42785"/>
            </a:xfrm>
            <a:custGeom>
              <a:avLst/>
              <a:gdLst>
                <a:gd name="T0" fmla="*/ 61 w 68"/>
                <a:gd name="T1" fmla="*/ 73 h 75"/>
                <a:gd name="T2" fmla="*/ 61 w 68"/>
                <a:gd name="T3" fmla="*/ 73 h 75"/>
                <a:gd name="T4" fmla="*/ 63 w 68"/>
                <a:gd name="T5" fmla="*/ 73 h 75"/>
                <a:gd name="T6" fmla="*/ 63 w 68"/>
                <a:gd name="T7" fmla="*/ 73 h 75"/>
                <a:gd name="T8" fmla="*/ 66 w 68"/>
                <a:gd name="T9" fmla="*/ 69 h 75"/>
                <a:gd name="T10" fmla="*/ 68 w 68"/>
                <a:gd name="T11" fmla="*/ 67 h 75"/>
                <a:gd name="T12" fmla="*/ 68 w 68"/>
                <a:gd name="T13" fmla="*/ 64 h 75"/>
                <a:gd name="T14" fmla="*/ 68 w 68"/>
                <a:gd name="T15" fmla="*/ 59 h 75"/>
                <a:gd name="T16" fmla="*/ 68 w 68"/>
                <a:gd name="T17" fmla="*/ 59 h 75"/>
                <a:gd name="T18" fmla="*/ 64 w 68"/>
                <a:gd name="T19" fmla="*/ 46 h 75"/>
                <a:gd name="T20" fmla="*/ 64 w 68"/>
                <a:gd name="T21" fmla="*/ 41 h 75"/>
                <a:gd name="T22" fmla="*/ 68 w 68"/>
                <a:gd name="T23" fmla="*/ 34 h 75"/>
                <a:gd name="T24" fmla="*/ 68 w 68"/>
                <a:gd name="T25" fmla="*/ 34 h 75"/>
                <a:gd name="T26" fmla="*/ 68 w 68"/>
                <a:gd name="T27" fmla="*/ 25 h 75"/>
                <a:gd name="T28" fmla="*/ 68 w 68"/>
                <a:gd name="T29" fmla="*/ 19 h 75"/>
                <a:gd name="T30" fmla="*/ 66 w 68"/>
                <a:gd name="T31" fmla="*/ 16 h 75"/>
                <a:gd name="T32" fmla="*/ 61 w 68"/>
                <a:gd name="T33" fmla="*/ 12 h 75"/>
                <a:gd name="T34" fmla="*/ 61 w 68"/>
                <a:gd name="T35" fmla="*/ 12 h 75"/>
                <a:gd name="T36" fmla="*/ 54 w 68"/>
                <a:gd name="T37" fmla="*/ 3 h 75"/>
                <a:gd name="T38" fmla="*/ 48 w 68"/>
                <a:gd name="T39" fmla="*/ 0 h 75"/>
                <a:gd name="T40" fmla="*/ 45 w 68"/>
                <a:gd name="T41" fmla="*/ 0 h 75"/>
                <a:gd name="T42" fmla="*/ 41 w 68"/>
                <a:gd name="T43" fmla="*/ 0 h 75"/>
                <a:gd name="T44" fmla="*/ 41 w 68"/>
                <a:gd name="T45" fmla="*/ 0 h 75"/>
                <a:gd name="T46" fmla="*/ 27 w 68"/>
                <a:gd name="T47" fmla="*/ 2 h 75"/>
                <a:gd name="T48" fmla="*/ 22 w 68"/>
                <a:gd name="T49" fmla="*/ 3 h 75"/>
                <a:gd name="T50" fmla="*/ 16 w 68"/>
                <a:gd name="T51" fmla="*/ 3 h 75"/>
                <a:gd name="T52" fmla="*/ 16 w 68"/>
                <a:gd name="T53" fmla="*/ 3 h 75"/>
                <a:gd name="T54" fmla="*/ 13 w 68"/>
                <a:gd name="T55" fmla="*/ 7 h 75"/>
                <a:gd name="T56" fmla="*/ 11 w 68"/>
                <a:gd name="T57" fmla="*/ 12 h 75"/>
                <a:gd name="T58" fmla="*/ 2 w 68"/>
                <a:gd name="T59" fmla="*/ 23 h 75"/>
                <a:gd name="T60" fmla="*/ 2 w 68"/>
                <a:gd name="T61" fmla="*/ 23 h 75"/>
                <a:gd name="T62" fmla="*/ 0 w 68"/>
                <a:gd name="T63" fmla="*/ 27 h 75"/>
                <a:gd name="T64" fmla="*/ 0 w 68"/>
                <a:gd name="T65" fmla="*/ 34 h 75"/>
                <a:gd name="T66" fmla="*/ 2 w 68"/>
                <a:gd name="T67" fmla="*/ 41 h 75"/>
                <a:gd name="T68" fmla="*/ 2 w 68"/>
                <a:gd name="T69" fmla="*/ 44 h 75"/>
                <a:gd name="T70" fmla="*/ 6 w 68"/>
                <a:gd name="T71" fmla="*/ 46 h 75"/>
                <a:gd name="T72" fmla="*/ 6 w 68"/>
                <a:gd name="T73" fmla="*/ 46 h 75"/>
                <a:gd name="T74" fmla="*/ 16 w 68"/>
                <a:gd name="T75" fmla="*/ 55 h 75"/>
                <a:gd name="T76" fmla="*/ 27 w 68"/>
                <a:gd name="T77" fmla="*/ 64 h 75"/>
                <a:gd name="T78" fmla="*/ 27 w 68"/>
                <a:gd name="T79" fmla="*/ 64 h 75"/>
                <a:gd name="T80" fmla="*/ 38 w 68"/>
                <a:gd name="T81" fmla="*/ 69 h 75"/>
                <a:gd name="T82" fmla="*/ 41 w 68"/>
                <a:gd name="T83" fmla="*/ 73 h 75"/>
                <a:gd name="T84" fmla="*/ 45 w 68"/>
                <a:gd name="T85" fmla="*/ 75 h 75"/>
                <a:gd name="T86" fmla="*/ 45 w 68"/>
                <a:gd name="T87" fmla="*/ 75 h 75"/>
                <a:gd name="T88" fmla="*/ 57 w 68"/>
                <a:gd name="T89" fmla="*/ 73 h 75"/>
                <a:gd name="T90" fmla="*/ 61 w 68"/>
                <a:gd name="T91" fmla="*/ 73 h 75"/>
                <a:gd name="T92" fmla="*/ 61 w 68"/>
                <a:gd name="T93" fmla="*/ 73 h 75"/>
                <a:gd name="T94" fmla="*/ 61 w 68"/>
                <a:gd name="T95" fmla="*/ 73 h 75"/>
                <a:gd name="T96" fmla="*/ 61 w 68"/>
                <a:gd name="T97" fmla="*/ 73 h 75"/>
                <a:gd name="T98" fmla="*/ 61 w 68"/>
                <a:gd name="T99" fmla="*/ 7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75">
                  <a:moveTo>
                    <a:pt x="61" y="73"/>
                  </a:moveTo>
                  <a:lnTo>
                    <a:pt x="61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6" y="69"/>
                  </a:lnTo>
                  <a:lnTo>
                    <a:pt x="68" y="67"/>
                  </a:lnTo>
                  <a:lnTo>
                    <a:pt x="68" y="64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4" y="46"/>
                  </a:lnTo>
                  <a:lnTo>
                    <a:pt x="64" y="41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25"/>
                  </a:lnTo>
                  <a:lnTo>
                    <a:pt x="68" y="19"/>
                  </a:lnTo>
                  <a:lnTo>
                    <a:pt x="66" y="16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54" y="3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27" y="2"/>
                  </a:lnTo>
                  <a:lnTo>
                    <a:pt x="22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7"/>
                  </a:lnTo>
                  <a:lnTo>
                    <a:pt x="11" y="1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7"/>
                  </a:lnTo>
                  <a:lnTo>
                    <a:pt x="0" y="34"/>
                  </a:lnTo>
                  <a:lnTo>
                    <a:pt x="2" y="41"/>
                  </a:lnTo>
                  <a:lnTo>
                    <a:pt x="2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6" y="55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38" y="69"/>
                  </a:lnTo>
                  <a:lnTo>
                    <a:pt x="41" y="73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57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92"/>
            <p:cNvSpPr>
              <a:spLocks/>
            </p:cNvSpPr>
            <p:nvPr/>
          </p:nvSpPr>
          <p:spPr bwMode="auto">
            <a:xfrm>
              <a:off x="1755438" y="1983382"/>
              <a:ext cx="38221" cy="34228"/>
            </a:xfrm>
            <a:custGeom>
              <a:avLst/>
              <a:gdLst>
                <a:gd name="T0" fmla="*/ 30 w 67"/>
                <a:gd name="T1" fmla="*/ 57 h 60"/>
                <a:gd name="T2" fmla="*/ 30 w 67"/>
                <a:gd name="T3" fmla="*/ 57 h 60"/>
                <a:gd name="T4" fmla="*/ 39 w 67"/>
                <a:gd name="T5" fmla="*/ 55 h 60"/>
                <a:gd name="T6" fmla="*/ 50 w 67"/>
                <a:gd name="T7" fmla="*/ 53 h 60"/>
                <a:gd name="T8" fmla="*/ 50 w 67"/>
                <a:gd name="T9" fmla="*/ 53 h 60"/>
                <a:gd name="T10" fmla="*/ 57 w 67"/>
                <a:gd name="T11" fmla="*/ 53 h 60"/>
                <a:gd name="T12" fmla="*/ 58 w 67"/>
                <a:gd name="T13" fmla="*/ 51 h 60"/>
                <a:gd name="T14" fmla="*/ 60 w 67"/>
                <a:gd name="T15" fmla="*/ 50 h 60"/>
                <a:gd name="T16" fmla="*/ 60 w 67"/>
                <a:gd name="T17" fmla="*/ 50 h 60"/>
                <a:gd name="T18" fmla="*/ 58 w 67"/>
                <a:gd name="T19" fmla="*/ 39 h 60"/>
                <a:gd name="T20" fmla="*/ 58 w 67"/>
                <a:gd name="T21" fmla="*/ 34 h 60"/>
                <a:gd name="T22" fmla="*/ 60 w 67"/>
                <a:gd name="T23" fmla="*/ 32 h 60"/>
                <a:gd name="T24" fmla="*/ 60 w 67"/>
                <a:gd name="T25" fmla="*/ 32 h 60"/>
                <a:gd name="T26" fmla="*/ 60 w 67"/>
                <a:gd name="T27" fmla="*/ 32 h 60"/>
                <a:gd name="T28" fmla="*/ 64 w 67"/>
                <a:gd name="T29" fmla="*/ 32 h 60"/>
                <a:gd name="T30" fmla="*/ 67 w 67"/>
                <a:gd name="T31" fmla="*/ 30 h 60"/>
                <a:gd name="T32" fmla="*/ 67 w 67"/>
                <a:gd name="T33" fmla="*/ 28 h 60"/>
                <a:gd name="T34" fmla="*/ 66 w 67"/>
                <a:gd name="T35" fmla="*/ 25 h 60"/>
                <a:gd name="T36" fmla="*/ 66 w 67"/>
                <a:gd name="T37" fmla="*/ 25 h 60"/>
                <a:gd name="T38" fmla="*/ 60 w 67"/>
                <a:gd name="T39" fmla="*/ 14 h 60"/>
                <a:gd name="T40" fmla="*/ 55 w 67"/>
                <a:gd name="T41" fmla="*/ 7 h 60"/>
                <a:gd name="T42" fmla="*/ 51 w 67"/>
                <a:gd name="T43" fmla="*/ 0 h 60"/>
                <a:gd name="T44" fmla="*/ 51 w 67"/>
                <a:gd name="T45" fmla="*/ 0 h 60"/>
                <a:gd name="T46" fmla="*/ 50 w 67"/>
                <a:gd name="T47" fmla="*/ 0 h 60"/>
                <a:gd name="T48" fmla="*/ 46 w 67"/>
                <a:gd name="T49" fmla="*/ 0 h 60"/>
                <a:gd name="T50" fmla="*/ 44 w 67"/>
                <a:gd name="T51" fmla="*/ 2 h 60"/>
                <a:gd name="T52" fmla="*/ 41 w 67"/>
                <a:gd name="T53" fmla="*/ 9 h 60"/>
                <a:gd name="T54" fmla="*/ 39 w 67"/>
                <a:gd name="T55" fmla="*/ 9 h 60"/>
                <a:gd name="T56" fmla="*/ 37 w 67"/>
                <a:gd name="T57" fmla="*/ 9 h 60"/>
                <a:gd name="T58" fmla="*/ 37 w 67"/>
                <a:gd name="T59" fmla="*/ 9 h 60"/>
                <a:gd name="T60" fmla="*/ 26 w 67"/>
                <a:gd name="T61" fmla="*/ 10 h 60"/>
                <a:gd name="T62" fmla="*/ 23 w 67"/>
                <a:gd name="T63" fmla="*/ 10 h 60"/>
                <a:gd name="T64" fmla="*/ 21 w 67"/>
                <a:gd name="T65" fmla="*/ 14 h 60"/>
                <a:gd name="T66" fmla="*/ 21 w 67"/>
                <a:gd name="T67" fmla="*/ 14 h 60"/>
                <a:gd name="T68" fmla="*/ 18 w 67"/>
                <a:gd name="T69" fmla="*/ 16 h 60"/>
                <a:gd name="T70" fmla="*/ 18 w 67"/>
                <a:gd name="T71" fmla="*/ 18 h 60"/>
                <a:gd name="T72" fmla="*/ 18 w 67"/>
                <a:gd name="T73" fmla="*/ 25 h 60"/>
                <a:gd name="T74" fmla="*/ 16 w 67"/>
                <a:gd name="T75" fmla="*/ 30 h 60"/>
                <a:gd name="T76" fmla="*/ 16 w 67"/>
                <a:gd name="T77" fmla="*/ 32 h 60"/>
                <a:gd name="T78" fmla="*/ 16 w 67"/>
                <a:gd name="T79" fmla="*/ 34 h 60"/>
                <a:gd name="T80" fmla="*/ 16 w 67"/>
                <a:gd name="T81" fmla="*/ 34 h 60"/>
                <a:gd name="T82" fmla="*/ 10 w 67"/>
                <a:gd name="T83" fmla="*/ 35 h 60"/>
                <a:gd name="T84" fmla="*/ 3 w 67"/>
                <a:gd name="T85" fmla="*/ 41 h 60"/>
                <a:gd name="T86" fmla="*/ 3 w 67"/>
                <a:gd name="T87" fmla="*/ 41 h 60"/>
                <a:gd name="T88" fmla="*/ 0 w 67"/>
                <a:gd name="T89" fmla="*/ 42 h 60"/>
                <a:gd name="T90" fmla="*/ 0 w 67"/>
                <a:gd name="T91" fmla="*/ 46 h 60"/>
                <a:gd name="T92" fmla="*/ 0 w 67"/>
                <a:gd name="T93" fmla="*/ 48 h 60"/>
                <a:gd name="T94" fmla="*/ 2 w 67"/>
                <a:gd name="T95" fmla="*/ 48 h 60"/>
                <a:gd name="T96" fmla="*/ 5 w 67"/>
                <a:gd name="T97" fmla="*/ 51 h 60"/>
                <a:gd name="T98" fmla="*/ 9 w 67"/>
                <a:gd name="T99" fmla="*/ 55 h 60"/>
                <a:gd name="T100" fmla="*/ 9 w 67"/>
                <a:gd name="T101" fmla="*/ 55 h 60"/>
                <a:gd name="T102" fmla="*/ 16 w 67"/>
                <a:gd name="T103" fmla="*/ 58 h 60"/>
                <a:gd name="T104" fmla="*/ 19 w 67"/>
                <a:gd name="T105" fmla="*/ 60 h 60"/>
                <a:gd name="T106" fmla="*/ 21 w 67"/>
                <a:gd name="T107" fmla="*/ 60 h 60"/>
                <a:gd name="T108" fmla="*/ 21 w 67"/>
                <a:gd name="T109" fmla="*/ 60 h 60"/>
                <a:gd name="T110" fmla="*/ 30 w 67"/>
                <a:gd name="T111" fmla="*/ 57 h 60"/>
                <a:gd name="T112" fmla="*/ 30 w 67"/>
                <a:gd name="T113" fmla="*/ 57 h 60"/>
                <a:gd name="T114" fmla="*/ 30 w 67"/>
                <a:gd name="T115" fmla="*/ 57 h 60"/>
                <a:gd name="T116" fmla="*/ 30 w 67"/>
                <a:gd name="T117" fmla="*/ 57 h 60"/>
                <a:gd name="T118" fmla="*/ 30 w 67"/>
                <a:gd name="T119" fmla="*/ 5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7" h="60">
                  <a:moveTo>
                    <a:pt x="30" y="57"/>
                  </a:moveTo>
                  <a:lnTo>
                    <a:pt x="30" y="57"/>
                  </a:lnTo>
                  <a:lnTo>
                    <a:pt x="39" y="55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7" y="53"/>
                  </a:lnTo>
                  <a:lnTo>
                    <a:pt x="58" y="51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8" y="39"/>
                  </a:lnTo>
                  <a:lnTo>
                    <a:pt x="58" y="34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7" y="30"/>
                  </a:lnTo>
                  <a:lnTo>
                    <a:pt x="67" y="28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0" y="14"/>
                  </a:lnTo>
                  <a:lnTo>
                    <a:pt x="55" y="7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4" y="2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26" y="10"/>
                  </a:lnTo>
                  <a:lnTo>
                    <a:pt x="23" y="10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25"/>
                  </a:lnTo>
                  <a:lnTo>
                    <a:pt x="16" y="30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0" y="35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5" y="51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6" y="58"/>
                  </a:lnTo>
                  <a:lnTo>
                    <a:pt x="19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30" y="57"/>
                  </a:lnTo>
                  <a:lnTo>
                    <a:pt x="30" y="57"/>
                  </a:lnTo>
                  <a:lnTo>
                    <a:pt x="30" y="57"/>
                  </a:lnTo>
                  <a:lnTo>
                    <a:pt x="30" y="57"/>
                  </a:lnTo>
                  <a:lnTo>
                    <a:pt x="30" y="5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93"/>
            <p:cNvSpPr>
              <a:spLocks/>
            </p:cNvSpPr>
            <p:nvPr/>
          </p:nvSpPr>
          <p:spPr bwMode="auto">
            <a:xfrm>
              <a:off x="1750303" y="2014758"/>
              <a:ext cx="15973" cy="13121"/>
            </a:xfrm>
            <a:custGeom>
              <a:avLst/>
              <a:gdLst>
                <a:gd name="T0" fmla="*/ 2 w 28"/>
                <a:gd name="T1" fmla="*/ 0 h 23"/>
                <a:gd name="T2" fmla="*/ 2 w 28"/>
                <a:gd name="T3" fmla="*/ 0 h 23"/>
                <a:gd name="T4" fmla="*/ 9 w 28"/>
                <a:gd name="T5" fmla="*/ 0 h 23"/>
                <a:gd name="T6" fmla="*/ 18 w 28"/>
                <a:gd name="T7" fmla="*/ 3 h 23"/>
                <a:gd name="T8" fmla="*/ 25 w 28"/>
                <a:gd name="T9" fmla="*/ 11 h 23"/>
                <a:gd name="T10" fmla="*/ 28 w 28"/>
                <a:gd name="T11" fmla="*/ 14 h 23"/>
                <a:gd name="T12" fmla="*/ 28 w 28"/>
                <a:gd name="T13" fmla="*/ 14 h 23"/>
                <a:gd name="T14" fmla="*/ 28 w 28"/>
                <a:gd name="T15" fmla="*/ 16 h 23"/>
                <a:gd name="T16" fmla="*/ 27 w 28"/>
                <a:gd name="T17" fmla="*/ 19 h 23"/>
                <a:gd name="T18" fmla="*/ 21 w 28"/>
                <a:gd name="T19" fmla="*/ 23 h 23"/>
                <a:gd name="T20" fmla="*/ 18 w 28"/>
                <a:gd name="T21" fmla="*/ 23 h 23"/>
                <a:gd name="T22" fmla="*/ 18 w 28"/>
                <a:gd name="T23" fmla="*/ 23 h 23"/>
                <a:gd name="T24" fmla="*/ 11 w 28"/>
                <a:gd name="T25" fmla="*/ 23 h 23"/>
                <a:gd name="T26" fmla="*/ 5 w 28"/>
                <a:gd name="T27" fmla="*/ 23 h 23"/>
                <a:gd name="T28" fmla="*/ 2 w 28"/>
                <a:gd name="T29" fmla="*/ 19 h 23"/>
                <a:gd name="T30" fmla="*/ 0 w 28"/>
                <a:gd name="T31" fmla="*/ 16 h 23"/>
                <a:gd name="T32" fmla="*/ 0 w 28"/>
                <a:gd name="T33" fmla="*/ 16 h 23"/>
                <a:gd name="T34" fmla="*/ 2 w 28"/>
                <a:gd name="T35" fmla="*/ 5 h 23"/>
                <a:gd name="T36" fmla="*/ 2 w 28"/>
                <a:gd name="T37" fmla="*/ 0 h 23"/>
                <a:gd name="T38" fmla="*/ 2 w 28"/>
                <a:gd name="T39" fmla="*/ 0 h 23"/>
                <a:gd name="T40" fmla="*/ 2 w 28"/>
                <a:gd name="T41" fmla="*/ 0 h 23"/>
                <a:gd name="T42" fmla="*/ 2 w 28"/>
                <a:gd name="T43" fmla="*/ 0 h 23"/>
                <a:gd name="T44" fmla="*/ 2 w 28"/>
                <a:gd name="T4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23">
                  <a:moveTo>
                    <a:pt x="2" y="0"/>
                  </a:moveTo>
                  <a:lnTo>
                    <a:pt x="2" y="0"/>
                  </a:lnTo>
                  <a:lnTo>
                    <a:pt x="9" y="0"/>
                  </a:lnTo>
                  <a:lnTo>
                    <a:pt x="18" y="3"/>
                  </a:lnTo>
                  <a:lnTo>
                    <a:pt x="25" y="11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6"/>
                  </a:lnTo>
                  <a:lnTo>
                    <a:pt x="27" y="19"/>
                  </a:lnTo>
                  <a:lnTo>
                    <a:pt x="21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1" y="23"/>
                  </a:lnTo>
                  <a:lnTo>
                    <a:pt x="5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5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94"/>
            <p:cNvSpPr>
              <a:spLocks/>
            </p:cNvSpPr>
            <p:nvPr/>
          </p:nvSpPr>
          <p:spPr bwMode="auto">
            <a:xfrm>
              <a:off x="2093152" y="2040999"/>
              <a:ext cx="59899" cy="51912"/>
            </a:xfrm>
            <a:custGeom>
              <a:avLst/>
              <a:gdLst>
                <a:gd name="T0" fmla="*/ 35 w 105"/>
                <a:gd name="T1" fmla="*/ 91 h 91"/>
                <a:gd name="T2" fmla="*/ 16 w 105"/>
                <a:gd name="T3" fmla="*/ 80 h 91"/>
                <a:gd name="T4" fmla="*/ 5 w 105"/>
                <a:gd name="T5" fmla="*/ 73 h 91"/>
                <a:gd name="T6" fmla="*/ 2 w 105"/>
                <a:gd name="T7" fmla="*/ 62 h 91"/>
                <a:gd name="T8" fmla="*/ 0 w 105"/>
                <a:gd name="T9" fmla="*/ 39 h 91"/>
                <a:gd name="T10" fmla="*/ 0 w 105"/>
                <a:gd name="T11" fmla="*/ 30 h 91"/>
                <a:gd name="T12" fmla="*/ 5 w 105"/>
                <a:gd name="T13" fmla="*/ 23 h 91"/>
                <a:gd name="T14" fmla="*/ 9 w 105"/>
                <a:gd name="T15" fmla="*/ 23 h 91"/>
                <a:gd name="T16" fmla="*/ 18 w 105"/>
                <a:gd name="T17" fmla="*/ 27 h 91"/>
                <a:gd name="T18" fmla="*/ 32 w 105"/>
                <a:gd name="T19" fmla="*/ 30 h 91"/>
                <a:gd name="T20" fmla="*/ 41 w 105"/>
                <a:gd name="T21" fmla="*/ 34 h 91"/>
                <a:gd name="T22" fmla="*/ 42 w 105"/>
                <a:gd name="T23" fmla="*/ 32 h 91"/>
                <a:gd name="T24" fmla="*/ 41 w 105"/>
                <a:gd name="T25" fmla="*/ 27 h 91"/>
                <a:gd name="T26" fmla="*/ 37 w 105"/>
                <a:gd name="T27" fmla="*/ 14 h 91"/>
                <a:gd name="T28" fmla="*/ 39 w 105"/>
                <a:gd name="T29" fmla="*/ 9 h 91"/>
                <a:gd name="T30" fmla="*/ 41 w 105"/>
                <a:gd name="T31" fmla="*/ 5 h 91"/>
                <a:gd name="T32" fmla="*/ 44 w 105"/>
                <a:gd name="T33" fmla="*/ 5 h 91"/>
                <a:gd name="T34" fmla="*/ 53 w 105"/>
                <a:gd name="T35" fmla="*/ 9 h 91"/>
                <a:gd name="T36" fmla="*/ 62 w 105"/>
                <a:gd name="T37" fmla="*/ 11 h 91"/>
                <a:gd name="T38" fmla="*/ 64 w 105"/>
                <a:gd name="T39" fmla="*/ 11 h 91"/>
                <a:gd name="T40" fmla="*/ 73 w 105"/>
                <a:gd name="T41" fmla="*/ 5 h 91"/>
                <a:gd name="T42" fmla="*/ 82 w 105"/>
                <a:gd name="T43" fmla="*/ 0 h 91"/>
                <a:gd name="T44" fmla="*/ 87 w 105"/>
                <a:gd name="T45" fmla="*/ 0 h 91"/>
                <a:gd name="T46" fmla="*/ 98 w 105"/>
                <a:gd name="T47" fmla="*/ 0 h 91"/>
                <a:gd name="T48" fmla="*/ 101 w 105"/>
                <a:gd name="T49" fmla="*/ 2 h 91"/>
                <a:gd name="T50" fmla="*/ 101 w 105"/>
                <a:gd name="T51" fmla="*/ 5 h 91"/>
                <a:gd name="T52" fmla="*/ 103 w 105"/>
                <a:gd name="T53" fmla="*/ 18 h 91"/>
                <a:gd name="T54" fmla="*/ 105 w 105"/>
                <a:gd name="T55" fmla="*/ 30 h 91"/>
                <a:gd name="T56" fmla="*/ 103 w 105"/>
                <a:gd name="T57" fmla="*/ 34 h 91"/>
                <a:gd name="T58" fmla="*/ 98 w 105"/>
                <a:gd name="T59" fmla="*/ 50 h 91"/>
                <a:gd name="T60" fmla="*/ 94 w 105"/>
                <a:gd name="T61" fmla="*/ 55 h 91"/>
                <a:gd name="T62" fmla="*/ 87 w 105"/>
                <a:gd name="T63" fmla="*/ 57 h 91"/>
                <a:gd name="T64" fmla="*/ 82 w 105"/>
                <a:gd name="T65" fmla="*/ 57 h 91"/>
                <a:gd name="T66" fmla="*/ 69 w 105"/>
                <a:gd name="T67" fmla="*/ 68 h 91"/>
                <a:gd name="T68" fmla="*/ 64 w 105"/>
                <a:gd name="T69" fmla="*/ 69 h 91"/>
                <a:gd name="T70" fmla="*/ 55 w 105"/>
                <a:gd name="T71" fmla="*/ 73 h 91"/>
                <a:gd name="T72" fmla="*/ 55 w 105"/>
                <a:gd name="T73" fmla="*/ 77 h 91"/>
                <a:gd name="T74" fmla="*/ 57 w 105"/>
                <a:gd name="T75" fmla="*/ 80 h 91"/>
                <a:gd name="T76" fmla="*/ 60 w 105"/>
                <a:gd name="T77" fmla="*/ 87 h 91"/>
                <a:gd name="T78" fmla="*/ 58 w 105"/>
                <a:gd name="T79" fmla="*/ 91 h 91"/>
                <a:gd name="T80" fmla="*/ 55 w 105"/>
                <a:gd name="T81" fmla="*/ 91 h 91"/>
                <a:gd name="T82" fmla="*/ 35 w 105"/>
                <a:gd name="T83" fmla="*/ 91 h 91"/>
                <a:gd name="T84" fmla="*/ 35 w 105"/>
                <a:gd name="T85" fmla="*/ 91 h 91"/>
                <a:gd name="T86" fmla="*/ 35 w 105"/>
                <a:gd name="T87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5" h="91">
                  <a:moveTo>
                    <a:pt x="35" y="91"/>
                  </a:moveTo>
                  <a:lnTo>
                    <a:pt x="35" y="91"/>
                  </a:lnTo>
                  <a:lnTo>
                    <a:pt x="25" y="87"/>
                  </a:lnTo>
                  <a:lnTo>
                    <a:pt x="16" y="80"/>
                  </a:lnTo>
                  <a:lnTo>
                    <a:pt x="10" y="77"/>
                  </a:lnTo>
                  <a:lnTo>
                    <a:pt x="5" y="73"/>
                  </a:lnTo>
                  <a:lnTo>
                    <a:pt x="3" y="69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0" y="39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2" y="27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9" y="23"/>
                  </a:lnTo>
                  <a:lnTo>
                    <a:pt x="12" y="23"/>
                  </a:lnTo>
                  <a:lnTo>
                    <a:pt x="18" y="27"/>
                  </a:lnTo>
                  <a:lnTo>
                    <a:pt x="25" y="29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41" y="34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39" y="21"/>
                  </a:lnTo>
                  <a:lnTo>
                    <a:pt x="37" y="14"/>
                  </a:lnTo>
                  <a:lnTo>
                    <a:pt x="37" y="11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4" y="5"/>
                  </a:lnTo>
                  <a:lnTo>
                    <a:pt x="46" y="7"/>
                  </a:lnTo>
                  <a:lnTo>
                    <a:pt x="53" y="9"/>
                  </a:lnTo>
                  <a:lnTo>
                    <a:pt x="58" y="11"/>
                  </a:lnTo>
                  <a:lnTo>
                    <a:pt x="62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71" y="7"/>
                  </a:lnTo>
                  <a:lnTo>
                    <a:pt x="73" y="5"/>
                  </a:lnTo>
                  <a:lnTo>
                    <a:pt x="76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98" y="0"/>
                  </a:lnTo>
                  <a:lnTo>
                    <a:pt x="99" y="0"/>
                  </a:lnTo>
                  <a:lnTo>
                    <a:pt x="101" y="2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3" y="11"/>
                  </a:lnTo>
                  <a:lnTo>
                    <a:pt x="103" y="18"/>
                  </a:lnTo>
                  <a:lnTo>
                    <a:pt x="105" y="27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1" y="41"/>
                  </a:lnTo>
                  <a:lnTo>
                    <a:pt x="98" y="50"/>
                  </a:lnTo>
                  <a:lnTo>
                    <a:pt x="96" y="53"/>
                  </a:lnTo>
                  <a:lnTo>
                    <a:pt x="94" y="55"/>
                  </a:lnTo>
                  <a:lnTo>
                    <a:pt x="92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2" y="57"/>
                  </a:lnTo>
                  <a:lnTo>
                    <a:pt x="78" y="59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4" y="69"/>
                  </a:lnTo>
                  <a:lnTo>
                    <a:pt x="58" y="71"/>
                  </a:lnTo>
                  <a:lnTo>
                    <a:pt x="55" y="73"/>
                  </a:lnTo>
                  <a:lnTo>
                    <a:pt x="55" y="75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7" y="80"/>
                  </a:lnTo>
                  <a:lnTo>
                    <a:pt x="58" y="84"/>
                  </a:lnTo>
                  <a:lnTo>
                    <a:pt x="60" y="87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55" y="91"/>
                  </a:lnTo>
                  <a:lnTo>
                    <a:pt x="55" y="91"/>
                  </a:lnTo>
                  <a:lnTo>
                    <a:pt x="41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Freeform 95"/>
            <p:cNvSpPr>
              <a:spLocks/>
            </p:cNvSpPr>
            <p:nvPr/>
          </p:nvSpPr>
          <p:spPr bwMode="auto">
            <a:xfrm>
              <a:off x="2150769" y="2094623"/>
              <a:ext cx="31376" cy="25671"/>
            </a:xfrm>
            <a:custGeom>
              <a:avLst/>
              <a:gdLst>
                <a:gd name="T0" fmla="*/ 0 w 55"/>
                <a:gd name="T1" fmla="*/ 41 h 45"/>
                <a:gd name="T2" fmla="*/ 0 w 55"/>
                <a:gd name="T3" fmla="*/ 41 h 45"/>
                <a:gd name="T4" fmla="*/ 2 w 55"/>
                <a:gd name="T5" fmla="*/ 39 h 45"/>
                <a:gd name="T6" fmla="*/ 4 w 55"/>
                <a:gd name="T7" fmla="*/ 36 h 45"/>
                <a:gd name="T8" fmla="*/ 5 w 55"/>
                <a:gd name="T9" fmla="*/ 29 h 45"/>
                <a:gd name="T10" fmla="*/ 4 w 55"/>
                <a:gd name="T11" fmla="*/ 22 h 45"/>
                <a:gd name="T12" fmla="*/ 4 w 55"/>
                <a:gd name="T13" fmla="*/ 22 h 45"/>
                <a:gd name="T14" fmla="*/ 4 w 55"/>
                <a:gd name="T15" fmla="*/ 16 h 45"/>
                <a:gd name="T16" fmla="*/ 5 w 55"/>
                <a:gd name="T17" fmla="*/ 11 h 45"/>
                <a:gd name="T18" fmla="*/ 9 w 55"/>
                <a:gd name="T19" fmla="*/ 7 h 45"/>
                <a:gd name="T20" fmla="*/ 13 w 55"/>
                <a:gd name="T21" fmla="*/ 4 h 45"/>
                <a:gd name="T22" fmla="*/ 13 w 55"/>
                <a:gd name="T23" fmla="*/ 4 h 45"/>
                <a:gd name="T24" fmla="*/ 16 w 55"/>
                <a:gd name="T25" fmla="*/ 2 h 45"/>
                <a:gd name="T26" fmla="*/ 20 w 55"/>
                <a:gd name="T27" fmla="*/ 0 h 45"/>
                <a:gd name="T28" fmla="*/ 27 w 55"/>
                <a:gd name="T29" fmla="*/ 2 h 45"/>
                <a:gd name="T30" fmla="*/ 37 w 55"/>
                <a:gd name="T31" fmla="*/ 6 h 45"/>
                <a:gd name="T32" fmla="*/ 45 w 55"/>
                <a:gd name="T33" fmla="*/ 7 h 45"/>
                <a:gd name="T34" fmla="*/ 45 w 55"/>
                <a:gd name="T35" fmla="*/ 7 h 45"/>
                <a:gd name="T36" fmla="*/ 50 w 55"/>
                <a:gd name="T37" fmla="*/ 11 h 45"/>
                <a:gd name="T38" fmla="*/ 53 w 55"/>
                <a:gd name="T39" fmla="*/ 15 h 45"/>
                <a:gd name="T40" fmla="*/ 55 w 55"/>
                <a:gd name="T41" fmla="*/ 16 h 45"/>
                <a:gd name="T42" fmla="*/ 55 w 55"/>
                <a:gd name="T43" fmla="*/ 18 h 45"/>
                <a:gd name="T44" fmla="*/ 53 w 55"/>
                <a:gd name="T45" fmla="*/ 20 h 45"/>
                <a:gd name="T46" fmla="*/ 52 w 55"/>
                <a:gd name="T47" fmla="*/ 22 h 45"/>
                <a:gd name="T48" fmla="*/ 52 w 55"/>
                <a:gd name="T49" fmla="*/ 22 h 45"/>
                <a:gd name="T50" fmla="*/ 43 w 55"/>
                <a:gd name="T51" fmla="*/ 25 h 45"/>
                <a:gd name="T52" fmla="*/ 36 w 55"/>
                <a:gd name="T53" fmla="*/ 29 h 45"/>
                <a:gd name="T54" fmla="*/ 30 w 55"/>
                <a:gd name="T55" fmla="*/ 30 h 45"/>
                <a:gd name="T56" fmla="*/ 23 w 55"/>
                <a:gd name="T57" fmla="*/ 30 h 45"/>
                <a:gd name="T58" fmla="*/ 23 w 55"/>
                <a:gd name="T59" fmla="*/ 30 h 45"/>
                <a:gd name="T60" fmla="*/ 20 w 55"/>
                <a:gd name="T61" fmla="*/ 34 h 45"/>
                <a:gd name="T62" fmla="*/ 16 w 55"/>
                <a:gd name="T63" fmla="*/ 36 h 45"/>
                <a:gd name="T64" fmla="*/ 13 w 55"/>
                <a:gd name="T65" fmla="*/ 39 h 45"/>
                <a:gd name="T66" fmla="*/ 5 w 55"/>
                <a:gd name="T67" fmla="*/ 41 h 45"/>
                <a:gd name="T68" fmla="*/ 4 w 55"/>
                <a:gd name="T69" fmla="*/ 45 h 45"/>
                <a:gd name="T70" fmla="*/ 4 w 55"/>
                <a:gd name="T71" fmla="*/ 45 h 45"/>
                <a:gd name="T72" fmla="*/ 2 w 55"/>
                <a:gd name="T73" fmla="*/ 45 h 45"/>
                <a:gd name="T74" fmla="*/ 0 w 55"/>
                <a:gd name="T75" fmla="*/ 43 h 45"/>
                <a:gd name="T76" fmla="*/ 0 w 55"/>
                <a:gd name="T77" fmla="*/ 41 h 45"/>
                <a:gd name="T78" fmla="*/ 0 w 55"/>
                <a:gd name="T79" fmla="*/ 41 h 45"/>
                <a:gd name="T80" fmla="*/ 0 w 55"/>
                <a:gd name="T81" fmla="*/ 41 h 45"/>
                <a:gd name="T82" fmla="*/ 0 w 55"/>
                <a:gd name="T83" fmla="*/ 41 h 45"/>
                <a:gd name="T84" fmla="*/ 0 w 55"/>
                <a:gd name="T85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" h="45">
                  <a:moveTo>
                    <a:pt x="0" y="41"/>
                  </a:moveTo>
                  <a:lnTo>
                    <a:pt x="0" y="41"/>
                  </a:lnTo>
                  <a:lnTo>
                    <a:pt x="2" y="39"/>
                  </a:lnTo>
                  <a:lnTo>
                    <a:pt x="4" y="36"/>
                  </a:lnTo>
                  <a:lnTo>
                    <a:pt x="5" y="29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6"/>
                  </a:lnTo>
                  <a:lnTo>
                    <a:pt x="5" y="11"/>
                  </a:lnTo>
                  <a:lnTo>
                    <a:pt x="9" y="7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7" y="2"/>
                  </a:lnTo>
                  <a:lnTo>
                    <a:pt x="37" y="6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50" y="11"/>
                  </a:lnTo>
                  <a:lnTo>
                    <a:pt x="53" y="15"/>
                  </a:lnTo>
                  <a:lnTo>
                    <a:pt x="55" y="16"/>
                  </a:lnTo>
                  <a:lnTo>
                    <a:pt x="55" y="18"/>
                  </a:lnTo>
                  <a:lnTo>
                    <a:pt x="53" y="20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3" y="25"/>
                  </a:lnTo>
                  <a:lnTo>
                    <a:pt x="36" y="29"/>
                  </a:lnTo>
                  <a:lnTo>
                    <a:pt x="30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0" y="34"/>
                  </a:lnTo>
                  <a:lnTo>
                    <a:pt x="16" y="36"/>
                  </a:lnTo>
                  <a:lnTo>
                    <a:pt x="13" y="39"/>
                  </a:lnTo>
                  <a:lnTo>
                    <a:pt x="5" y="41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2" y="45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Freeform 96"/>
            <p:cNvSpPr>
              <a:spLocks/>
            </p:cNvSpPr>
            <p:nvPr/>
          </p:nvSpPr>
          <p:spPr bwMode="auto">
            <a:xfrm>
              <a:off x="2158185" y="2023885"/>
              <a:ext cx="38221" cy="19966"/>
            </a:xfrm>
            <a:custGeom>
              <a:avLst/>
              <a:gdLst>
                <a:gd name="T0" fmla="*/ 0 w 67"/>
                <a:gd name="T1" fmla="*/ 21 h 35"/>
                <a:gd name="T2" fmla="*/ 0 w 67"/>
                <a:gd name="T3" fmla="*/ 21 h 35"/>
                <a:gd name="T4" fmla="*/ 1 w 67"/>
                <a:gd name="T5" fmla="*/ 25 h 35"/>
                <a:gd name="T6" fmla="*/ 5 w 67"/>
                <a:gd name="T7" fmla="*/ 30 h 35"/>
                <a:gd name="T8" fmla="*/ 8 w 67"/>
                <a:gd name="T9" fmla="*/ 35 h 35"/>
                <a:gd name="T10" fmla="*/ 10 w 67"/>
                <a:gd name="T11" fmla="*/ 35 h 35"/>
                <a:gd name="T12" fmla="*/ 12 w 67"/>
                <a:gd name="T13" fmla="*/ 35 h 35"/>
                <a:gd name="T14" fmla="*/ 12 w 67"/>
                <a:gd name="T15" fmla="*/ 35 h 35"/>
                <a:gd name="T16" fmla="*/ 40 w 67"/>
                <a:gd name="T17" fmla="*/ 35 h 35"/>
                <a:gd name="T18" fmla="*/ 40 w 67"/>
                <a:gd name="T19" fmla="*/ 35 h 35"/>
                <a:gd name="T20" fmla="*/ 44 w 67"/>
                <a:gd name="T21" fmla="*/ 32 h 35"/>
                <a:gd name="T22" fmla="*/ 53 w 67"/>
                <a:gd name="T23" fmla="*/ 30 h 35"/>
                <a:gd name="T24" fmla="*/ 60 w 67"/>
                <a:gd name="T25" fmla="*/ 27 h 35"/>
                <a:gd name="T26" fmla="*/ 62 w 67"/>
                <a:gd name="T27" fmla="*/ 25 h 35"/>
                <a:gd name="T28" fmla="*/ 64 w 67"/>
                <a:gd name="T29" fmla="*/ 21 h 35"/>
                <a:gd name="T30" fmla="*/ 64 w 67"/>
                <a:gd name="T31" fmla="*/ 21 h 35"/>
                <a:gd name="T32" fmla="*/ 65 w 67"/>
                <a:gd name="T33" fmla="*/ 18 h 35"/>
                <a:gd name="T34" fmla="*/ 67 w 67"/>
                <a:gd name="T35" fmla="*/ 11 h 35"/>
                <a:gd name="T36" fmla="*/ 67 w 67"/>
                <a:gd name="T37" fmla="*/ 7 h 35"/>
                <a:gd name="T38" fmla="*/ 67 w 67"/>
                <a:gd name="T39" fmla="*/ 3 h 35"/>
                <a:gd name="T40" fmla="*/ 67 w 67"/>
                <a:gd name="T41" fmla="*/ 3 h 35"/>
                <a:gd name="T42" fmla="*/ 67 w 67"/>
                <a:gd name="T43" fmla="*/ 2 h 35"/>
                <a:gd name="T44" fmla="*/ 65 w 67"/>
                <a:gd name="T45" fmla="*/ 0 h 35"/>
                <a:gd name="T46" fmla="*/ 64 w 67"/>
                <a:gd name="T47" fmla="*/ 0 h 35"/>
                <a:gd name="T48" fmla="*/ 58 w 67"/>
                <a:gd name="T49" fmla="*/ 0 h 35"/>
                <a:gd name="T50" fmla="*/ 58 w 67"/>
                <a:gd name="T51" fmla="*/ 0 h 35"/>
                <a:gd name="T52" fmla="*/ 53 w 67"/>
                <a:gd name="T53" fmla="*/ 0 h 35"/>
                <a:gd name="T54" fmla="*/ 49 w 67"/>
                <a:gd name="T55" fmla="*/ 3 h 35"/>
                <a:gd name="T56" fmla="*/ 44 w 67"/>
                <a:gd name="T57" fmla="*/ 7 h 35"/>
                <a:gd name="T58" fmla="*/ 40 w 67"/>
                <a:gd name="T59" fmla="*/ 11 h 35"/>
                <a:gd name="T60" fmla="*/ 40 w 67"/>
                <a:gd name="T61" fmla="*/ 12 h 35"/>
                <a:gd name="T62" fmla="*/ 37 w 67"/>
                <a:gd name="T63" fmla="*/ 12 h 35"/>
                <a:gd name="T64" fmla="*/ 37 w 67"/>
                <a:gd name="T65" fmla="*/ 12 h 35"/>
                <a:gd name="T66" fmla="*/ 32 w 67"/>
                <a:gd name="T67" fmla="*/ 11 h 35"/>
                <a:gd name="T68" fmla="*/ 28 w 67"/>
                <a:gd name="T69" fmla="*/ 11 h 35"/>
                <a:gd name="T70" fmla="*/ 24 w 67"/>
                <a:gd name="T71" fmla="*/ 11 h 35"/>
                <a:gd name="T72" fmla="*/ 23 w 67"/>
                <a:gd name="T73" fmla="*/ 11 h 35"/>
                <a:gd name="T74" fmla="*/ 23 w 67"/>
                <a:gd name="T75" fmla="*/ 11 h 35"/>
                <a:gd name="T76" fmla="*/ 21 w 67"/>
                <a:gd name="T77" fmla="*/ 11 h 35"/>
                <a:gd name="T78" fmla="*/ 21 w 67"/>
                <a:gd name="T79" fmla="*/ 12 h 35"/>
                <a:gd name="T80" fmla="*/ 19 w 67"/>
                <a:gd name="T81" fmla="*/ 18 h 35"/>
                <a:gd name="T82" fmla="*/ 17 w 67"/>
                <a:gd name="T83" fmla="*/ 23 h 35"/>
                <a:gd name="T84" fmla="*/ 14 w 67"/>
                <a:gd name="T85" fmla="*/ 25 h 35"/>
                <a:gd name="T86" fmla="*/ 12 w 67"/>
                <a:gd name="T87" fmla="*/ 25 h 35"/>
                <a:gd name="T88" fmla="*/ 12 w 67"/>
                <a:gd name="T89" fmla="*/ 25 h 35"/>
                <a:gd name="T90" fmla="*/ 10 w 67"/>
                <a:gd name="T91" fmla="*/ 25 h 35"/>
                <a:gd name="T92" fmla="*/ 8 w 67"/>
                <a:gd name="T93" fmla="*/ 23 h 35"/>
                <a:gd name="T94" fmla="*/ 5 w 67"/>
                <a:gd name="T95" fmla="*/ 21 h 35"/>
                <a:gd name="T96" fmla="*/ 5 w 67"/>
                <a:gd name="T97" fmla="*/ 21 h 35"/>
                <a:gd name="T98" fmla="*/ 3 w 67"/>
                <a:gd name="T99" fmla="*/ 19 h 35"/>
                <a:gd name="T100" fmla="*/ 0 w 67"/>
                <a:gd name="T101" fmla="*/ 21 h 35"/>
                <a:gd name="T102" fmla="*/ 0 w 67"/>
                <a:gd name="T103" fmla="*/ 21 h 35"/>
                <a:gd name="T104" fmla="*/ 0 w 67"/>
                <a:gd name="T105" fmla="*/ 21 h 35"/>
                <a:gd name="T106" fmla="*/ 0 w 67"/>
                <a:gd name="T107" fmla="*/ 21 h 35"/>
                <a:gd name="T108" fmla="*/ 0 w 67"/>
                <a:gd name="T109" fmla="*/ 2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7" h="35">
                  <a:moveTo>
                    <a:pt x="0" y="21"/>
                  </a:moveTo>
                  <a:lnTo>
                    <a:pt x="0" y="21"/>
                  </a:lnTo>
                  <a:lnTo>
                    <a:pt x="1" y="25"/>
                  </a:lnTo>
                  <a:lnTo>
                    <a:pt x="5" y="30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4" y="32"/>
                  </a:lnTo>
                  <a:lnTo>
                    <a:pt x="53" y="30"/>
                  </a:lnTo>
                  <a:lnTo>
                    <a:pt x="60" y="27"/>
                  </a:lnTo>
                  <a:lnTo>
                    <a:pt x="62" y="25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5" y="18"/>
                  </a:lnTo>
                  <a:lnTo>
                    <a:pt x="67" y="11"/>
                  </a:lnTo>
                  <a:lnTo>
                    <a:pt x="67" y="7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7" y="2"/>
                  </a:lnTo>
                  <a:lnTo>
                    <a:pt x="65" y="0"/>
                  </a:lnTo>
                  <a:lnTo>
                    <a:pt x="64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3" y="0"/>
                  </a:lnTo>
                  <a:lnTo>
                    <a:pt x="49" y="3"/>
                  </a:lnTo>
                  <a:lnTo>
                    <a:pt x="44" y="7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2" y="11"/>
                  </a:lnTo>
                  <a:lnTo>
                    <a:pt x="28" y="11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19" y="18"/>
                  </a:lnTo>
                  <a:lnTo>
                    <a:pt x="17" y="23"/>
                  </a:lnTo>
                  <a:lnTo>
                    <a:pt x="14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3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Freeform 97"/>
            <p:cNvSpPr>
              <a:spLocks/>
            </p:cNvSpPr>
            <p:nvPr/>
          </p:nvSpPr>
          <p:spPr bwMode="auto">
            <a:xfrm>
              <a:off x="2434860" y="1849323"/>
              <a:ext cx="19396" cy="38792"/>
            </a:xfrm>
            <a:custGeom>
              <a:avLst/>
              <a:gdLst>
                <a:gd name="T0" fmla="*/ 25 w 34"/>
                <a:gd name="T1" fmla="*/ 68 h 68"/>
                <a:gd name="T2" fmla="*/ 25 w 34"/>
                <a:gd name="T3" fmla="*/ 68 h 68"/>
                <a:gd name="T4" fmla="*/ 21 w 34"/>
                <a:gd name="T5" fmla="*/ 68 h 68"/>
                <a:gd name="T6" fmla="*/ 14 w 34"/>
                <a:gd name="T7" fmla="*/ 68 h 68"/>
                <a:gd name="T8" fmla="*/ 12 w 34"/>
                <a:gd name="T9" fmla="*/ 66 h 68"/>
                <a:gd name="T10" fmla="*/ 11 w 34"/>
                <a:gd name="T11" fmla="*/ 64 h 68"/>
                <a:gd name="T12" fmla="*/ 11 w 34"/>
                <a:gd name="T13" fmla="*/ 64 h 68"/>
                <a:gd name="T14" fmla="*/ 3 w 34"/>
                <a:gd name="T15" fmla="*/ 53 h 68"/>
                <a:gd name="T16" fmla="*/ 0 w 34"/>
                <a:gd name="T17" fmla="*/ 46 h 68"/>
                <a:gd name="T18" fmla="*/ 0 w 34"/>
                <a:gd name="T19" fmla="*/ 43 h 68"/>
                <a:gd name="T20" fmla="*/ 0 w 34"/>
                <a:gd name="T21" fmla="*/ 37 h 68"/>
                <a:gd name="T22" fmla="*/ 0 w 34"/>
                <a:gd name="T23" fmla="*/ 37 h 68"/>
                <a:gd name="T24" fmla="*/ 2 w 34"/>
                <a:gd name="T25" fmla="*/ 27 h 68"/>
                <a:gd name="T26" fmla="*/ 3 w 34"/>
                <a:gd name="T27" fmla="*/ 20 h 68"/>
                <a:gd name="T28" fmla="*/ 7 w 34"/>
                <a:gd name="T29" fmla="*/ 11 h 68"/>
                <a:gd name="T30" fmla="*/ 12 w 34"/>
                <a:gd name="T31" fmla="*/ 5 h 68"/>
                <a:gd name="T32" fmla="*/ 12 w 34"/>
                <a:gd name="T33" fmla="*/ 5 h 68"/>
                <a:gd name="T34" fmla="*/ 18 w 34"/>
                <a:gd name="T35" fmla="*/ 2 h 68"/>
                <a:gd name="T36" fmla="*/ 23 w 34"/>
                <a:gd name="T37" fmla="*/ 0 h 68"/>
                <a:gd name="T38" fmla="*/ 28 w 34"/>
                <a:gd name="T39" fmla="*/ 0 h 68"/>
                <a:gd name="T40" fmla="*/ 28 w 34"/>
                <a:gd name="T41" fmla="*/ 2 h 68"/>
                <a:gd name="T42" fmla="*/ 30 w 34"/>
                <a:gd name="T43" fmla="*/ 2 h 68"/>
                <a:gd name="T44" fmla="*/ 30 w 34"/>
                <a:gd name="T45" fmla="*/ 2 h 68"/>
                <a:gd name="T46" fmla="*/ 32 w 34"/>
                <a:gd name="T47" fmla="*/ 9 h 68"/>
                <a:gd name="T48" fmla="*/ 34 w 34"/>
                <a:gd name="T49" fmla="*/ 16 h 68"/>
                <a:gd name="T50" fmla="*/ 34 w 34"/>
                <a:gd name="T51" fmla="*/ 30 h 68"/>
                <a:gd name="T52" fmla="*/ 34 w 34"/>
                <a:gd name="T53" fmla="*/ 30 h 68"/>
                <a:gd name="T54" fmla="*/ 32 w 34"/>
                <a:gd name="T55" fmla="*/ 36 h 68"/>
                <a:gd name="T56" fmla="*/ 30 w 34"/>
                <a:gd name="T57" fmla="*/ 39 h 68"/>
                <a:gd name="T58" fmla="*/ 28 w 34"/>
                <a:gd name="T59" fmla="*/ 43 h 68"/>
                <a:gd name="T60" fmla="*/ 27 w 34"/>
                <a:gd name="T61" fmla="*/ 46 h 68"/>
                <a:gd name="T62" fmla="*/ 27 w 34"/>
                <a:gd name="T63" fmla="*/ 46 h 68"/>
                <a:gd name="T64" fmla="*/ 27 w 34"/>
                <a:gd name="T65" fmla="*/ 53 h 68"/>
                <a:gd name="T66" fmla="*/ 27 w 34"/>
                <a:gd name="T67" fmla="*/ 59 h 68"/>
                <a:gd name="T68" fmla="*/ 27 w 34"/>
                <a:gd name="T69" fmla="*/ 59 h 68"/>
                <a:gd name="T70" fmla="*/ 25 w 34"/>
                <a:gd name="T71" fmla="*/ 68 h 68"/>
                <a:gd name="T72" fmla="*/ 25 w 34"/>
                <a:gd name="T73" fmla="*/ 68 h 68"/>
                <a:gd name="T74" fmla="*/ 25 w 34"/>
                <a:gd name="T75" fmla="*/ 68 h 68"/>
                <a:gd name="T76" fmla="*/ 25 w 34"/>
                <a:gd name="T77" fmla="*/ 68 h 68"/>
                <a:gd name="T78" fmla="*/ 25 w 34"/>
                <a:gd name="T7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" h="68">
                  <a:moveTo>
                    <a:pt x="25" y="68"/>
                  </a:moveTo>
                  <a:lnTo>
                    <a:pt x="25" y="68"/>
                  </a:lnTo>
                  <a:lnTo>
                    <a:pt x="21" y="68"/>
                  </a:lnTo>
                  <a:lnTo>
                    <a:pt x="14" y="68"/>
                  </a:lnTo>
                  <a:lnTo>
                    <a:pt x="12" y="66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3" y="53"/>
                  </a:lnTo>
                  <a:lnTo>
                    <a:pt x="0" y="46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27"/>
                  </a:lnTo>
                  <a:lnTo>
                    <a:pt x="3" y="20"/>
                  </a:lnTo>
                  <a:lnTo>
                    <a:pt x="7" y="11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8" y="2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9"/>
                  </a:lnTo>
                  <a:lnTo>
                    <a:pt x="34" y="16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36"/>
                  </a:lnTo>
                  <a:lnTo>
                    <a:pt x="30" y="39"/>
                  </a:lnTo>
                  <a:lnTo>
                    <a:pt x="28" y="43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7" y="53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Freeform 98"/>
            <p:cNvSpPr>
              <a:spLocks/>
            </p:cNvSpPr>
            <p:nvPr/>
          </p:nvSpPr>
          <p:spPr bwMode="auto">
            <a:xfrm>
              <a:off x="2770293" y="2467136"/>
              <a:ext cx="10268" cy="33087"/>
            </a:xfrm>
            <a:custGeom>
              <a:avLst/>
              <a:gdLst>
                <a:gd name="T0" fmla="*/ 11 w 18"/>
                <a:gd name="T1" fmla="*/ 58 h 58"/>
                <a:gd name="T2" fmla="*/ 11 w 18"/>
                <a:gd name="T3" fmla="*/ 58 h 58"/>
                <a:gd name="T4" fmla="*/ 9 w 18"/>
                <a:gd name="T5" fmla="*/ 58 h 58"/>
                <a:gd name="T6" fmla="*/ 9 w 18"/>
                <a:gd name="T7" fmla="*/ 58 h 58"/>
                <a:gd name="T8" fmla="*/ 9 w 18"/>
                <a:gd name="T9" fmla="*/ 57 h 58"/>
                <a:gd name="T10" fmla="*/ 7 w 18"/>
                <a:gd name="T11" fmla="*/ 55 h 58"/>
                <a:gd name="T12" fmla="*/ 7 w 18"/>
                <a:gd name="T13" fmla="*/ 55 h 58"/>
                <a:gd name="T14" fmla="*/ 4 w 18"/>
                <a:gd name="T15" fmla="*/ 51 h 58"/>
                <a:gd name="T16" fmla="*/ 0 w 18"/>
                <a:gd name="T17" fmla="*/ 49 h 58"/>
                <a:gd name="T18" fmla="*/ 0 w 18"/>
                <a:gd name="T19" fmla="*/ 49 h 58"/>
                <a:gd name="T20" fmla="*/ 4 w 18"/>
                <a:gd name="T21" fmla="*/ 44 h 58"/>
                <a:gd name="T22" fmla="*/ 6 w 18"/>
                <a:gd name="T23" fmla="*/ 41 h 58"/>
                <a:gd name="T24" fmla="*/ 6 w 18"/>
                <a:gd name="T25" fmla="*/ 41 h 58"/>
                <a:gd name="T26" fmla="*/ 9 w 18"/>
                <a:gd name="T27" fmla="*/ 39 h 58"/>
                <a:gd name="T28" fmla="*/ 9 w 18"/>
                <a:gd name="T29" fmla="*/ 35 h 58"/>
                <a:gd name="T30" fmla="*/ 7 w 18"/>
                <a:gd name="T31" fmla="*/ 33 h 58"/>
                <a:gd name="T32" fmla="*/ 7 w 18"/>
                <a:gd name="T33" fmla="*/ 33 h 58"/>
                <a:gd name="T34" fmla="*/ 4 w 18"/>
                <a:gd name="T35" fmla="*/ 25 h 58"/>
                <a:gd name="T36" fmla="*/ 0 w 18"/>
                <a:gd name="T37" fmla="*/ 21 h 58"/>
                <a:gd name="T38" fmla="*/ 0 w 18"/>
                <a:gd name="T39" fmla="*/ 19 h 58"/>
                <a:gd name="T40" fmla="*/ 0 w 18"/>
                <a:gd name="T41" fmla="*/ 19 h 58"/>
                <a:gd name="T42" fmla="*/ 6 w 18"/>
                <a:gd name="T43" fmla="*/ 14 h 58"/>
                <a:gd name="T44" fmla="*/ 6 w 18"/>
                <a:gd name="T45" fmla="*/ 9 h 58"/>
                <a:gd name="T46" fmla="*/ 7 w 18"/>
                <a:gd name="T47" fmla="*/ 7 h 58"/>
                <a:gd name="T48" fmla="*/ 7 w 18"/>
                <a:gd name="T49" fmla="*/ 7 h 58"/>
                <a:gd name="T50" fmla="*/ 7 w 18"/>
                <a:gd name="T51" fmla="*/ 1 h 58"/>
                <a:gd name="T52" fmla="*/ 7 w 18"/>
                <a:gd name="T53" fmla="*/ 0 h 58"/>
                <a:gd name="T54" fmla="*/ 9 w 18"/>
                <a:gd name="T55" fmla="*/ 0 h 58"/>
                <a:gd name="T56" fmla="*/ 9 w 18"/>
                <a:gd name="T57" fmla="*/ 0 h 58"/>
                <a:gd name="T58" fmla="*/ 11 w 18"/>
                <a:gd name="T59" fmla="*/ 1 h 58"/>
                <a:gd name="T60" fmla="*/ 13 w 18"/>
                <a:gd name="T61" fmla="*/ 5 h 58"/>
                <a:gd name="T62" fmla="*/ 15 w 18"/>
                <a:gd name="T63" fmla="*/ 9 h 58"/>
                <a:gd name="T64" fmla="*/ 15 w 18"/>
                <a:gd name="T65" fmla="*/ 14 h 58"/>
                <a:gd name="T66" fmla="*/ 15 w 18"/>
                <a:gd name="T67" fmla="*/ 14 h 58"/>
                <a:gd name="T68" fmla="*/ 13 w 18"/>
                <a:gd name="T69" fmla="*/ 16 h 58"/>
                <a:gd name="T70" fmla="*/ 13 w 18"/>
                <a:gd name="T71" fmla="*/ 17 h 58"/>
                <a:gd name="T72" fmla="*/ 15 w 18"/>
                <a:gd name="T73" fmla="*/ 25 h 58"/>
                <a:gd name="T74" fmla="*/ 15 w 18"/>
                <a:gd name="T75" fmla="*/ 25 h 58"/>
                <a:gd name="T76" fmla="*/ 16 w 18"/>
                <a:gd name="T77" fmla="*/ 33 h 58"/>
                <a:gd name="T78" fmla="*/ 18 w 18"/>
                <a:gd name="T79" fmla="*/ 39 h 58"/>
                <a:gd name="T80" fmla="*/ 16 w 18"/>
                <a:gd name="T81" fmla="*/ 42 h 58"/>
                <a:gd name="T82" fmla="*/ 16 w 18"/>
                <a:gd name="T83" fmla="*/ 42 h 58"/>
                <a:gd name="T84" fmla="*/ 16 w 18"/>
                <a:gd name="T85" fmla="*/ 44 h 58"/>
                <a:gd name="T86" fmla="*/ 16 w 18"/>
                <a:gd name="T87" fmla="*/ 49 h 58"/>
                <a:gd name="T88" fmla="*/ 16 w 18"/>
                <a:gd name="T89" fmla="*/ 55 h 58"/>
                <a:gd name="T90" fmla="*/ 16 w 18"/>
                <a:gd name="T91" fmla="*/ 55 h 58"/>
                <a:gd name="T92" fmla="*/ 16 w 18"/>
                <a:gd name="T93" fmla="*/ 58 h 58"/>
                <a:gd name="T94" fmla="*/ 15 w 18"/>
                <a:gd name="T95" fmla="*/ 58 h 58"/>
                <a:gd name="T96" fmla="*/ 11 w 18"/>
                <a:gd name="T97" fmla="*/ 58 h 58"/>
                <a:gd name="T98" fmla="*/ 11 w 18"/>
                <a:gd name="T99" fmla="*/ 58 h 58"/>
                <a:gd name="T100" fmla="*/ 11 w 18"/>
                <a:gd name="T101" fmla="*/ 58 h 58"/>
                <a:gd name="T102" fmla="*/ 11 w 18"/>
                <a:gd name="T103" fmla="*/ 58 h 58"/>
                <a:gd name="T104" fmla="*/ 11 w 18"/>
                <a:gd name="T10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" h="58">
                  <a:moveTo>
                    <a:pt x="11" y="58"/>
                  </a:moveTo>
                  <a:lnTo>
                    <a:pt x="11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7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4" y="51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4" y="44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9" y="39"/>
                  </a:lnTo>
                  <a:lnTo>
                    <a:pt x="9" y="35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4" y="25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6" y="14"/>
                  </a:lnTo>
                  <a:lnTo>
                    <a:pt x="6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1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3" y="5"/>
                  </a:lnTo>
                  <a:lnTo>
                    <a:pt x="15" y="9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6" y="33"/>
                  </a:lnTo>
                  <a:lnTo>
                    <a:pt x="18" y="39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4"/>
                  </a:lnTo>
                  <a:lnTo>
                    <a:pt x="16" y="4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8"/>
                  </a:lnTo>
                  <a:lnTo>
                    <a:pt x="15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Freeform 99"/>
            <p:cNvSpPr>
              <a:spLocks/>
            </p:cNvSpPr>
            <p:nvPr/>
          </p:nvSpPr>
          <p:spPr bwMode="auto">
            <a:xfrm>
              <a:off x="705783" y="2048985"/>
              <a:ext cx="40503" cy="58187"/>
            </a:xfrm>
            <a:custGeom>
              <a:avLst/>
              <a:gdLst>
                <a:gd name="T0" fmla="*/ 0 w 71"/>
                <a:gd name="T1" fmla="*/ 6 h 102"/>
                <a:gd name="T2" fmla="*/ 0 w 71"/>
                <a:gd name="T3" fmla="*/ 6 h 102"/>
                <a:gd name="T4" fmla="*/ 0 w 71"/>
                <a:gd name="T5" fmla="*/ 13 h 102"/>
                <a:gd name="T6" fmla="*/ 3 w 71"/>
                <a:gd name="T7" fmla="*/ 32 h 102"/>
                <a:gd name="T8" fmla="*/ 5 w 71"/>
                <a:gd name="T9" fmla="*/ 41 h 102"/>
                <a:gd name="T10" fmla="*/ 7 w 71"/>
                <a:gd name="T11" fmla="*/ 50 h 102"/>
                <a:gd name="T12" fmla="*/ 10 w 71"/>
                <a:gd name="T13" fmla="*/ 63 h 102"/>
                <a:gd name="T14" fmla="*/ 16 w 71"/>
                <a:gd name="T15" fmla="*/ 70 h 102"/>
                <a:gd name="T16" fmla="*/ 16 w 71"/>
                <a:gd name="T17" fmla="*/ 70 h 102"/>
                <a:gd name="T18" fmla="*/ 25 w 71"/>
                <a:gd name="T19" fmla="*/ 84 h 102"/>
                <a:gd name="T20" fmla="*/ 30 w 71"/>
                <a:gd name="T21" fmla="*/ 96 h 102"/>
                <a:gd name="T22" fmla="*/ 35 w 71"/>
                <a:gd name="T23" fmla="*/ 102 h 102"/>
                <a:gd name="T24" fmla="*/ 37 w 71"/>
                <a:gd name="T25" fmla="*/ 102 h 102"/>
                <a:gd name="T26" fmla="*/ 37 w 71"/>
                <a:gd name="T27" fmla="*/ 102 h 102"/>
                <a:gd name="T28" fmla="*/ 37 w 71"/>
                <a:gd name="T29" fmla="*/ 102 h 102"/>
                <a:gd name="T30" fmla="*/ 44 w 71"/>
                <a:gd name="T31" fmla="*/ 100 h 102"/>
                <a:gd name="T32" fmla="*/ 50 w 71"/>
                <a:gd name="T33" fmla="*/ 98 h 102"/>
                <a:gd name="T34" fmla="*/ 60 w 71"/>
                <a:gd name="T35" fmla="*/ 96 h 102"/>
                <a:gd name="T36" fmla="*/ 60 w 71"/>
                <a:gd name="T37" fmla="*/ 96 h 102"/>
                <a:gd name="T38" fmla="*/ 66 w 71"/>
                <a:gd name="T39" fmla="*/ 95 h 102"/>
                <a:gd name="T40" fmla="*/ 69 w 71"/>
                <a:gd name="T41" fmla="*/ 91 h 102"/>
                <a:gd name="T42" fmla="*/ 71 w 71"/>
                <a:gd name="T43" fmla="*/ 86 h 102"/>
                <a:gd name="T44" fmla="*/ 71 w 71"/>
                <a:gd name="T45" fmla="*/ 80 h 102"/>
                <a:gd name="T46" fmla="*/ 71 w 71"/>
                <a:gd name="T47" fmla="*/ 80 h 102"/>
                <a:gd name="T48" fmla="*/ 67 w 71"/>
                <a:gd name="T49" fmla="*/ 63 h 102"/>
                <a:gd name="T50" fmla="*/ 64 w 71"/>
                <a:gd name="T51" fmla="*/ 54 h 102"/>
                <a:gd name="T52" fmla="*/ 64 w 71"/>
                <a:gd name="T53" fmla="*/ 48 h 102"/>
                <a:gd name="T54" fmla="*/ 66 w 71"/>
                <a:gd name="T55" fmla="*/ 45 h 102"/>
                <a:gd name="T56" fmla="*/ 66 w 71"/>
                <a:gd name="T57" fmla="*/ 45 h 102"/>
                <a:gd name="T58" fmla="*/ 67 w 71"/>
                <a:gd name="T59" fmla="*/ 39 h 102"/>
                <a:gd name="T60" fmla="*/ 67 w 71"/>
                <a:gd name="T61" fmla="*/ 36 h 102"/>
                <a:gd name="T62" fmla="*/ 67 w 71"/>
                <a:gd name="T63" fmla="*/ 34 h 102"/>
                <a:gd name="T64" fmla="*/ 67 w 71"/>
                <a:gd name="T65" fmla="*/ 34 h 102"/>
                <a:gd name="T66" fmla="*/ 48 w 71"/>
                <a:gd name="T67" fmla="*/ 36 h 102"/>
                <a:gd name="T68" fmla="*/ 48 w 71"/>
                <a:gd name="T69" fmla="*/ 36 h 102"/>
                <a:gd name="T70" fmla="*/ 41 w 71"/>
                <a:gd name="T71" fmla="*/ 36 h 102"/>
                <a:gd name="T72" fmla="*/ 37 w 71"/>
                <a:gd name="T73" fmla="*/ 36 h 102"/>
                <a:gd name="T74" fmla="*/ 37 w 71"/>
                <a:gd name="T75" fmla="*/ 36 h 102"/>
                <a:gd name="T76" fmla="*/ 37 w 71"/>
                <a:gd name="T77" fmla="*/ 34 h 102"/>
                <a:gd name="T78" fmla="*/ 37 w 71"/>
                <a:gd name="T79" fmla="*/ 34 h 102"/>
                <a:gd name="T80" fmla="*/ 37 w 71"/>
                <a:gd name="T81" fmla="*/ 27 h 102"/>
                <a:gd name="T82" fmla="*/ 37 w 71"/>
                <a:gd name="T83" fmla="*/ 15 h 102"/>
                <a:gd name="T84" fmla="*/ 37 w 71"/>
                <a:gd name="T85" fmla="*/ 9 h 102"/>
                <a:gd name="T86" fmla="*/ 35 w 71"/>
                <a:gd name="T87" fmla="*/ 4 h 102"/>
                <a:gd name="T88" fmla="*/ 32 w 71"/>
                <a:gd name="T89" fmla="*/ 0 h 102"/>
                <a:gd name="T90" fmla="*/ 30 w 71"/>
                <a:gd name="T91" fmla="*/ 0 h 102"/>
                <a:gd name="T92" fmla="*/ 30 w 71"/>
                <a:gd name="T93" fmla="*/ 0 h 102"/>
                <a:gd name="T94" fmla="*/ 26 w 71"/>
                <a:gd name="T95" fmla="*/ 0 h 102"/>
                <a:gd name="T96" fmla="*/ 23 w 71"/>
                <a:gd name="T97" fmla="*/ 4 h 102"/>
                <a:gd name="T98" fmla="*/ 21 w 71"/>
                <a:gd name="T99" fmla="*/ 7 h 102"/>
                <a:gd name="T100" fmla="*/ 19 w 71"/>
                <a:gd name="T101" fmla="*/ 9 h 102"/>
                <a:gd name="T102" fmla="*/ 16 w 71"/>
                <a:gd name="T103" fmla="*/ 18 h 102"/>
                <a:gd name="T104" fmla="*/ 16 w 71"/>
                <a:gd name="T105" fmla="*/ 22 h 102"/>
                <a:gd name="T106" fmla="*/ 0 w 71"/>
                <a:gd name="T107" fmla="*/ 6 h 102"/>
                <a:gd name="T108" fmla="*/ 0 w 71"/>
                <a:gd name="T109" fmla="*/ 6 h 102"/>
                <a:gd name="T110" fmla="*/ 0 w 71"/>
                <a:gd name="T111" fmla="*/ 6 h 102"/>
                <a:gd name="T112" fmla="*/ 0 w 71"/>
                <a:gd name="T113" fmla="*/ 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" h="102">
                  <a:moveTo>
                    <a:pt x="0" y="6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3" y="32"/>
                  </a:lnTo>
                  <a:lnTo>
                    <a:pt x="5" y="41"/>
                  </a:lnTo>
                  <a:lnTo>
                    <a:pt x="7" y="50"/>
                  </a:lnTo>
                  <a:lnTo>
                    <a:pt x="10" y="63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25" y="84"/>
                  </a:lnTo>
                  <a:lnTo>
                    <a:pt x="30" y="96"/>
                  </a:lnTo>
                  <a:lnTo>
                    <a:pt x="35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44" y="100"/>
                  </a:lnTo>
                  <a:lnTo>
                    <a:pt x="50" y="98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6" y="95"/>
                  </a:lnTo>
                  <a:lnTo>
                    <a:pt x="69" y="91"/>
                  </a:lnTo>
                  <a:lnTo>
                    <a:pt x="71" y="86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67" y="63"/>
                  </a:lnTo>
                  <a:lnTo>
                    <a:pt x="64" y="54"/>
                  </a:lnTo>
                  <a:lnTo>
                    <a:pt x="64" y="48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7" y="39"/>
                  </a:lnTo>
                  <a:lnTo>
                    <a:pt x="67" y="36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1" y="36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27"/>
                  </a:lnTo>
                  <a:lnTo>
                    <a:pt x="37" y="15"/>
                  </a:lnTo>
                  <a:lnTo>
                    <a:pt x="37" y="9"/>
                  </a:lnTo>
                  <a:lnTo>
                    <a:pt x="35" y="4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3" y="4"/>
                  </a:lnTo>
                  <a:lnTo>
                    <a:pt x="21" y="7"/>
                  </a:lnTo>
                  <a:lnTo>
                    <a:pt x="19" y="9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Freeform 100"/>
            <p:cNvSpPr>
              <a:spLocks/>
            </p:cNvSpPr>
            <p:nvPr/>
          </p:nvSpPr>
          <p:spPr bwMode="auto">
            <a:xfrm>
              <a:off x="1242020" y="2509350"/>
              <a:ext cx="185971" cy="144327"/>
            </a:xfrm>
            <a:custGeom>
              <a:avLst/>
              <a:gdLst>
                <a:gd name="T0" fmla="*/ 302 w 326"/>
                <a:gd name="T1" fmla="*/ 119 h 253"/>
                <a:gd name="T2" fmla="*/ 299 w 326"/>
                <a:gd name="T3" fmla="*/ 111 h 253"/>
                <a:gd name="T4" fmla="*/ 290 w 326"/>
                <a:gd name="T5" fmla="*/ 102 h 253"/>
                <a:gd name="T6" fmla="*/ 290 w 326"/>
                <a:gd name="T7" fmla="*/ 86 h 253"/>
                <a:gd name="T8" fmla="*/ 256 w 326"/>
                <a:gd name="T9" fmla="*/ 66 h 253"/>
                <a:gd name="T10" fmla="*/ 244 w 326"/>
                <a:gd name="T11" fmla="*/ 50 h 253"/>
                <a:gd name="T12" fmla="*/ 242 w 326"/>
                <a:gd name="T13" fmla="*/ 20 h 253"/>
                <a:gd name="T14" fmla="*/ 192 w 326"/>
                <a:gd name="T15" fmla="*/ 4 h 253"/>
                <a:gd name="T16" fmla="*/ 178 w 326"/>
                <a:gd name="T17" fmla="*/ 15 h 253"/>
                <a:gd name="T18" fmla="*/ 150 w 326"/>
                <a:gd name="T19" fmla="*/ 22 h 253"/>
                <a:gd name="T20" fmla="*/ 109 w 326"/>
                <a:gd name="T21" fmla="*/ 31 h 253"/>
                <a:gd name="T22" fmla="*/ 86 w 326"/>
                <a:gd name="T23" fmla="*/ 36 h 253"/>
                <a:gd name="T24" fmla="*/ 77 w 326"/>
                <a:gd name="T25" fmla="*/ 48 h 253"/>
                <a:gd name="T26" fmla="*/ 70 w 326"/>
                <a:gd name="T27" fmla="*/ 66 h 253"/>
                <a:gd name="T28" fmla="*/ 46 w 326"/>
                <a:gd name="T29" fmla="*/ 70 h 253"/>
                <a:gd name="T30" fmla="*/ 23 w 326"/>
                <a:gd name="T31" fmla="*/ 77 h 253"/>
                <a:gd name="T32" fmla="*/ 18 w 326"/>
                <a:gd name="T33" fmla="*/ 107 h 253"/>
                <a:gd name="T34" fmla="*/ 6 w 326"/>
                <a:gd name="T35" fmla="*/ 109 h 253"/>
                <a:gd name="T36" fmla="*/ 14 w 326"/>
                <a:gd name="T37" fmla="*/ 159 h 253"/>
                <a:gd name="T38" fmla="*/ 34 w 326"/>
                <a:gd name="T39" fmla="*/ 167 h 253"/>
                <a:gd name="T40" fmla="*/ 46 w 326"/>
                <a:gd name="T41" fmla="*/ 191 h 253"/>
                <a:gd name="T42" fmla="*/ 59 w 326"/>
                <a:gd name="T43" fmla="*/ 201 h 253"/>
                <a:gd name="T44" fmla="*/ 64 w 326"/>
                <a:gd name="T45" fmla="*/ 208 h 253"/>
                <a:gd name="T46" fmla="*/ 70 w 326"/>
                <a:gd name="T47" fmla="*/ 228 h 253"/>
                <a:gd name="T48" fmla="*/ 77 w 326"/>
                <a:gd name="T49" fmla="*/ 230 h 253"/>
                <a:gd name="T50" fmla="*/ 86 w 326"/>
                <a:gd name="T51" fmla="*/ 231 h 253"/>
                <a:gd name="T52" fmla="*/ 93 w 326"/>
                <a:gd name="T53" fmla="*/ 239 h 253"/>
                <a:gd name="T54" fmla="*/ 103 w 326"/>
                <a:gd name="T55" fmla="*/ 251 h 253"/>
                <a:gd name="T56" fmla="*/ 114 w 326"/>
                <a:gd name="T57" fmla="*/ 253 h 253"/>
                <a:gd name="T58" fmla="*/ 125 w 326"/>
                <a:gd name="T59" fmla="*/ 242 h 253"/>
                <a:gd name="T60" fmla="*/ 130 w 326"/>
                <a:gd name="T61" fmla="*/ 226 h 253"/>
                <a:gd name="T62" fmla="*/ 146 w 326"/>
                <a:gd name="T63" fmla="*/ 208 h 253"/>
                <a:gd name="T64" fmla="*/ 151 w 326"/>
                <a:gd name="T65" fmla="*/ 201 h 253"/>
                <a:gd name="T66" fmla="*/ 158 w 326"/>
                <a:gd name="T67" fmla="*/ 196 h 253"/>
                <a:gd name="T68" fmla="*/ 164 w 326"/>
                <a:gd name="T69" fmla="*/ 196 h 253"/>
                <a:gd name="T70" fmla="*/ 178 w 326"/>
                <a:gd name="T71" fmla="*/ 187 h 253"/>
                <a:gd name="T72" fmla="*/ 174 w 326"/>
                <a:gd name="T73" fmla="*/ 159 h 253"/>
                <a:gd name="T74" fmla="*/ 166 w 326"/>
                <a:gd name="T75" fmla="*/ 164 h 253"/>
                <a:gd name="T76" fmla="*/ 158 w 326"/>
                <a:gd name="T77" fmla="*/ 151 h 253"/>
                <a:gd name="T78" fmla="*/ 198 w 326"/>
                <a:gd name="T79" fmla="*/ 103 h 253"/>
                <a:gd name="T80" fmla="*/ 215 w 326"/>
                <a:gd name="T81" fmla="*/ 135 h 253"/>
                <a:gd name="T82" fmla="*/ 242 w 326"/>
                <a:gd name="T83" fmla="*/ 146 h 253"/>
                <a:gd name="T84" fmla="*/ 304 w 326"/>
                <a:gd name="T85" fmla="*/ 146 h 253"/>
                <a:gd name="T86" fmla="*/ 324 w 326"/>
                <a:gd name="T87" fmla="*/ 132 h 253"/>
                <a:gd name="T88" fmla="*/ 315 w 326"/>
                <a:gd name="T89" fmla="*/ 12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6" h="253">
                  <a:moveTo>
                    <a:pt x="315" y="128"/>
                  </a:moveTo>
                  <a:lnTo>
                    <a:pt x="306" y="123"/>
                  </a:lnTo>
                  <a:lnTo>
                    <a:pt x="302" y="119"/>
                  </a:lnTo>
                  <a:lnTo>
                    <a:pt x="302" y="116"/>
                  </a:lnTo>
                  <a:lnTo>
                    <a:pt x="302" y="114"/>
                  </a:lnTo>
                  <a:lnTo>
                    <a:pt x="299" y="111"/>
                  </a:lnTo>
                  <a:lnTo>
                    <a:pt x="294" y="109"/>
                  </a:lnTo>
                  <a:lnTo>
                    <a:pt x="292" y="105"/>
                  </a:lnTo>
                  <a:lnTo>
                    <a:pt x="290" y="102"/>
                  </a:lnTo>
                  <a:lnTo>
                    <a:pt x="290" y="95"/>
                  </a:lnTo>
                  <a:lnTo>
                    <a:pt x="290" y="87"/>
                  </a:lnTo>
                  <a:lnTo>
                    <a:pt x="290" y="86"/>
                  </a:lnTo>
                  <a:lnTo>
                    <a:pt x="274" y="86"/>
                  </a:lnTo>
                  <a:lnTo>
                    <a:pt x="267" y="75"/>
                  </a:lnTo>
                  <a:lnTo>
                    <a:pt x="256" y="66"/>
                  </a:lnTo>
                  <a:lnTo>
                    <a:pt x="251" y="63"/>
                  </a:lnTo>
                  <a:lnTo>
                    <a:pt x="247" y="57"/>
                  </a:lnTo>
                  <a:lnTo>
                    <a:pt x="244" y="50"/>
                  </a:lnTo>
                  <a:lnTo>
                    <a:pt x="242" y="48"/>
                  </a:lnTo>
                  <a:lnTo>
                    <a:pt x="242" y="45"/>
                  </a:lnTo>
                  <a:lnTo>
                    <a:pt x="242" y="20"/>
                  </a:lnTo>
                  <a:lnTo>
                    <a:pt x="219" y="20"/>
                  </a:lnTo>
                  <a:lnTo>
                    <a:pt x="203" y="0"/>
                  </a:lnTo>
                  <a:lnTo>
                    <a:pt x="192" y="4"/>
                  </a:lnTo>
                  <a:lnTo>
                    <a:pt x="187" y="7"/>
                  </a:lnTo>
                  <a:lnTo>
                    <a:pt x="183" y="11"/>
                  </a:lnTo>
                  <a:lnTo>
                    <a:pt x="178" y="15"/>
                  </a:lnTo>
                  <a:lnTo>
                    <a:pt x="167" y="16"/>
                  </a:lnTo>
                  <a:lnTo>
                    <a:pt x="158" y="20"/>
                  </a:lnTo>
                  <a:lnTo>
                    <a:pt x="150" y="22"/>
                  </a:lnTo>
                  <a:lnTo>
                    <a:pt x="119" y="22"/>
                  </a:lnTo>
                  <a:lnTo>
                    <a:pt x="119" y="27"/>
                  </a:lnTo>
                  <a:lnTo>
                    <a:pt x="109" y="31"/>
                  </a:lnTo>
                  <a:lnTo>
                    <a:pt x="98" y="36"/>
                  </a:lnTo>
                  <a:lnTo>
                    <a:pt x="93" y="36"/>
                  </a:lnTo>
                  <a:lnTo>
                    <a:pt x="86" y="36"/>
                  </a:lnTo>
                  <a:lnTo>
                    <a:pt x="75" y="34"/>
                  </a:lnTo>
                  <a:lnTo>
                    <a:pt x="82" y="38"/>
                  </a:lnTo>
                  <a:lnTo>
                    <a:pt x="77" y="48"/>
                  </a:lnTo>
                  <a:lnTo>
                    <a:pt x="73" y="54"/>
                  </a:lnTo>
                  <a:lnTo>
                    <a:pt x="70" y="61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59" y="68"/>
                  </a:lnTo>
                  <a:lnTo>
                    <a:pt x="46" y="70"/>
                  </a:lnTo>
                  <a:lnTo>
                    <a:pt x="45" y="66"/>
                  </a:lnTo>
                  <a:lnTo>
                    <a:pt x="29" y="68"/>
                  </a:lnTo>
                  <a:lnTo>
                    <a:pt x="23" y="77"/>
                  </a:lnTo>
                  <a:lnTo>
                    <a:pt x="22" y="86"/>
                  </a:lnTo>
                  <a:lnTo>
                    <a:pt x="16" y="98"/>
                  </a:lnTo>
                  <a:lnTo>
                    <a:pt x="18" y="107"/>
                  </a:lnTo>
                  <a:lnTo>
                    <a:pt x="14" y="111"/>
                  </a:lnTo>
                  <a:lnTo>
                    <a:pt x="13" y="111"/>
                  </a:lnTo>
                  <a:lnTo>
                    <a:pt x="6" y="109"/>
                  </a:lnTo>
                  <a:lnTo>
                    <a:pt x="0" y="132"/>
                  </a:lnTo>
                  <a:lnTo>
                    <a:pt x="9" y="143"/>
                  </a:lnTo>
                  <a:lnTo>
                    <a:pt x="14" y="159"/>
                  </a:lnTo>
                  <a:lnTo>
                    <a:pt x="23" y="159"/>
                  </a:lnTo>
                  <a:lnTo>
                    <a:pt x="25" y="166"/>
                  </a:lnTo>
                  <a:lnTo>
                    <a:pt x="34" y="167"/>
                  </a:lnTo>
                  <a:lnTo>
                    <a:pt x="36" y="173"/>
                  </a:lnTo>
                  <a:lnTo>
                    <a:pt x="46" y="180"/>
                  </a:lnTo>
                  <a:lnTo>
                    <a:pt x="46" y="191"/>
                  </a:lnTo>
                  <a:lnTo>
                    <a:pt x="54" y="196"/>
                  </a:lnTo>
                  <a:lnTo>
                    <a:pt x="55" y="199"/>
                  </a:lnTo>
                  <a:lnTo>
                    <a:pt x="59" y="201"/>
                  </a:lnTo>
                  <a:lnTo>
                    <a:pt x="62" y="201"/>
                  </a:lnTo>
                  <a:lnTo>
                    <a:pt x="62" y="205"/>
                  </a:lnTo>
                  <a:lnTo>
                    <a:pt x="64" y="208"/>
                  </a:lnTo>
                  <a:lnTo>
                    <a:pt x="62" y="212"/>
                  </a:lnTo>
                  <a:lnTo>
                    <a:pt x="68" y="228"/>
                  </a:lnTo>
                  <a:lnTo>
                    <a:pt x="70" y="228"/>
                  </a:lnTo>
                  <a:lnTo>
                    <a:pt x="73" y="228"/>
                  </a:lnTo>
                  <a:lnTo>
                    <a:pt x="75" y="230"/>
                  </a:lnTo>
                  <a:lnTo>
                    <a:pt x="77" y="230"/>
                  </a:lnTo>
                  <a:lnTo>
                    <a:pt x="80" y="230"/>
                  </a:lnTo>
                  <a:lnTo>
                    <a:pt x="82" y="231"/>
                  </a:lnTo>
                  <a:lnTo>
                    <a:pt x="86" y="231"/>
                  </a:lnTo>
                  <a:lnTo>
                    <a:pt x="86" y="235"/>
                  </a:lnTo>
                  <a:lnTo>
                    <a:pt x="89" y="237"/>
                  </a:lnTo>
                  <a:lnTo>
                    <a:pt x="93" y="239"/>
                  </a:lnTo>
                  <a:lnTo>
                    <a:pt x="94" y="240"/>
                  </a:lnTo>
                  <a:lnTo>
                    <a:pt x="98" y="246"/>
                  </a:lnTo>
                  <a:lnTo>
                    <a:pt x="103" y="251"/>
                  </a:lnTo>
                  <a:lnTo>
                    <a:pt x="103" y="253"/>
                  </a:lnTo>
                  <a:lnTo>
                    <a:pt x="107" y="253"/>
                  </a:lnTo>
                  <a:lnTo>
                    <a:pt x="114" y="253"/>
                  </a:lnTo>
                  <a:lnTo>
                    <a:pt x="118" y="251"/>
                  </a:lnTo>
                  <a:lnTo>
                    <a:pt x="121" y="242"/>
                  </a:lnTo>
                  <a:lnTo>
                    <a:pt x="125" y="242"/>
                  </a:lnTo>
                  <a:lnTo>
                    <a:pt x="126" y="240"/>
                  </a:lnTo>
                  <a:lnTo>
                    <a:pt x="125" y="235"/>
                  </a:lnTo>
                  <a:lnTo>
                    <a:pt x="130" y="226"/>
                  </a:lnTo>
                  <a:lnTo>
                    <a:pt x="141" y="224"/>
                  </a:lnTo>
                  <a:lnTo>
                    <a:pt x="142" y="214"/>
                  </a:lnTo>
                  <a:lnTo>
                    <a:pt x="146" y="208"/>
                  </a:lnTo>
                  <a:lnTo>
                    <a:pt x="148" y="205"/>
                  </a:lnTo>
                  <a:lnTo>
                    <a:pt x="150" y="205"/>
                  </a:lnTo>
                  <a:lnTo>
                    <a:pt x="151" y="201"/>
                  </a:lnTo>
                  <a:lnTo>
                    <a:pt x="157" y="201"/>
                  </a:lnTo>
                  <a:lnTo>
                    <a:pt x="157" y="199"/>
                  </a:lnTo>
                  <a:lnTo>
                    <a:pt x="158" y="196"/>
                  </a:lnTo>
                  <a:lnTo>
                    <a:pt x="158" y="194"/>
                  </a:lnTo>
                  <a:lnTo>
                    <a:pt x="160" y="194"/>
                  </a:lnTo>
                  <a:lnTo>
                    <a:pt x="164" y="196"/>
                  </a:lnTo>
                  <a:lnTo>
                    <a:pt x="176" y="198"/>
                  </a:lnTo>
                  <a:lnTo>
                    <a:pt x="178" y="196"/>
                  </a:lnTo>
                  <a:lnTo>
                    <a:pt x="178" y="187"/>
                  </a:lnTo>
                  <a:lnTo>
                    <a:pt x="178" y="175"/>
                  </a:lnTo>
                  <a:lnTo>
                    <a:pt x="176" y="164"/>
                  </a:lnTo>
                  <a:lnTo>
                    <a:pt x="174" y="159"/>
                  </a:lnTo>
                  <a:lnTo>
                    <a:pt x="171" y="159"/>
                  </a:lnTo>
                  <a:lnTo>
                    <a:pt x="169" y="159"/>
                  </a:lnTo>
                  <a:lnTo>
                    <a:pt x="166" y="164"/>
                  </a:lnTo>
                  <a:lnTo>
                    <a:pt x="164" y="164"/>
                  </a:lnTo>
                  <a:lnTo>
                    <a:pt x="160" y="155"/>
                  </a:lnTo>
                  <a:lnTo>
                    <a:pt x="158" y="151"/>
                  </a:lnTo>
                  <a:lnTo>
                    <a:pt x="169" y="146"/>
                  </a:lnTo>
                  <a:lnTo>
                    <a:pt x="167" y="132"/>
                  </a:lnTo>
                  <a:lnTo>
                    <a:pt x="198" y="103"/>
                  </a:lnTo>
                  <a:lnTo>
                    <a:pt x="203" y="111"/>
                  </a:lnTo>
                  <a:lnTo>
                    <a:pt x="199" y="130"/>
                  </a:lnTo>
                  <a:lnTo>
                    <a:pt x="215" y="135"/>
                  </a:lnTo>
                  <a:lnTo>
                    <a:pt x="226" y="146"/>
                  </a:lnTo>
                  <a:lnTo>
                    <a:pt x="238" y="151"/>
                  </a:lnTo>
                  <a:lnTo>
                    <a:pt x="242" y="146"/>
                  </a:lnTo>
                  <a:lnTo>
                    <a:pt x="256" y="150"/>
                  </a:lnTo>
                  <a:lnTo>
                    <a:pt x="270" y="157"/>
                  </a:lnTo>
                  <a:lnTo>
                    <a:pt x="304" y="146"/>
                  </a:lnTo>
                  <a:lnTo>
                    <a:pt x="306" y="146"/>
                  </a:lnTo>
                  <a:lnTo>
                    <a:pt x="315" y="135"/>
                  </a:lnTo>
                  <a:lnTo>
                    <a:pt x="324" y="132"/>
                  </a:lnTo>
                  <a:lnTo>
                    <a:pt x="326" y="128"/>
                  </a:lnTo>
                  <a:lnTo>
                    <a:pt x="322" y="132"/>
                  </a:lnTo>
                  <a:lnTo>
                    <a:pt x="315" y="128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Freeform 101"/>
            <p:cNvSpPr>
              <a:spLocks/>
            </p:cNvSpPr>
            <p:nvPr/>
          </p:nvSpPr>
          <p:spPr bwMode="auto">
            <a:xfrm>
              <a:off x="1261416" y="2319956"/>
              <a:ext cx="336574" cy="264695"/>
            </a:xfrm>
            <a:custGeom>
              <a:avLst/>
              <a:gdLst>
                <a:gd name="T0" fmla="*/ 560 w 590"/>
                <a:gd name="T1" fmla="*/ 387 h 464"/>
                <a:gd name="T2" fmla="*/ 558 w 590"/>
                <a:gd name="T3" fmla="*/ 359 h 464"/>
                <a:gd name="T4" fmla="*/ 532 w 590"/>
                <a:gd name="T5" fmla="*/ 343 h 464"/>
                <a:gd name="T6" fmla="*/ 517 w 590"/>
                <a:gd name="T7" fmla="*/ 323 h 464"/>
                <a:gd name="T8" fmla="*/ 496 w 590"/>
                <a:gd name="T9" fmla="*/ 313 h 464"/>
                <a:gd name="T10" fmla="*/ 480 w 590"/>
                <a:gd name="T11" fmla="*/ 302 h 464"/>
                <a:gd name="T12" fmla="*/ 436 w 590"/>
                <a:gd name="T13" fmla="*/ 307 h 464"/>
                <a:gd name="T14" fmla="*/ 393 w 590"/>
                <a:gd name="T15" fmla="*/ 272 h 464"/>
                <a:gd name="T16" fmla="*/ 347 w 590"/>
                <a:gd name="T17" fmla="*/ 254 h 464"/>
                <a:gd name="T18" fmla="*/ 325 w 590"/>
                <a:gd name="T19" fmla="*/ 236 h 464"/>
                <a:gd name="T20" fmla="*/ 299 w 590"/>
                <a:gd name="T21" fmla="*/ 219 h 464"/>
                <a:gd name="T22" fmla="*/ 281 w 590"/>
                <a:gd name="T23" fmla="*/ 187 h 464"/>
                <a:gd name="T24" fmla="*/ 281 w 590"/>
                <a:gd name="T25" fmla="*/ 151 h 464"/>
                <a:gd name="T26" fmla="*/ 256 w 590"/>
                <a:gd name="T27" fmla="*/ 135 h 464"/>
                <a:gd name="T28" fmla="*/ 217 w 590"/>
                <a:gd name="T29" fmla="*/ 133 h 464"/>
                <a:gd name="T30" fmla="*/ 206 w 590"/>
                <a:gd name="T31" fmla="*/ 103 h 464"/>
                <a:gd name="T32" fmla="*/ 176 w 590"/>
                <a:gd name="T33" fmla="*/ 91 h 464"/>
                <a:gd name="T34" fmla="*/ 151 w 590"/>
                <a:gd name="T35" fmla="*/ 83 h 464"/>
                <a:gd name="T36" fmla="*/ 133 w 590"/>
                <a:gd name="T37" fmla="*/ 57 h 464"/>
                <a:gd name="T38" fmla="*/ 156 w 590"/>
                <a:gd name="T39" fmla="*/ 34 h 464"/>
                <a:gd name="T40" fmla="*/ 156 w 590"/>
                <a:gd name="T41" fmla="*/ 12 h 464"/>
                <a:gd name="T42" fmla="*/ 110 w 590"/>
                <a:gd name="T43" fmla="*/ 19 h 464"/>
                <a:gd name="T44" fmla="*/ 96 w 590"/>
                <a:gd name="T45" fmla="*/ 11 h 464"/>
                <a:gd name="T46" fmla="*/ 69 w 590"/>
                <a:gd name="T47" fmla="*/ 34 h 464"/>
                <a:gd name="T48" fmla="*/ 62 w 590"/>
                <a:gd name="T49" fmla="*/ 51 h 464"/>
                <a:gd name="T50" fmla="*/ 27 w 590"/>
                <a:gd name="T51" fmla="*/ 80 h 464"/>
                <a:gd name="T52" fmla="*/ 16 w 590"/>
                <a:gd name="T53" fmla="*/ 108 h 464"/>
                <a:gd name="T54" fmla="*/ 11 w 590"/>
                <a:gd name="T55" fmla="*/ 117 h 464"/>
                <a:gd name="T56" fmla="*/ 0 w 590"/>
                <a:gd name="T57" fmla="*/ 135 h 464"/>
                <a:gd name="T58" fmla="*/ 9 w 590"/>
                <a:gd name="T59" fmla="*/ 155 h 464"/>
                <a:gd name="T60" fmla="*/ 34 w 590"/>
                <a:gd name="T61" fmla="*/ 195 h 464"/>
                <a:gd name="T62" fmla="*/ 36 w 590"/>
                <a:gd name="T63" fmla="*/ 224 h 464"/>
                <a:gd name="T64" fmla="*/ 28 w 590"/>
                <a:gd name="T65" fmla="*/ 259 h 464"/>
                <a:gd name="T66" fmla="*/ 44 w 590"/>
                <a:gd name="T67" fmla="*/ 323 h 464"/>
                <a:gd name="T68" fmla="*/ 52 w 590"/>
                <a:gd name="T69" fmla="*/ 368 h 464"/>
                <a:gd name="T70" fmla="*/ 85 w 590"/>
                <a:gd name="T71" fmla="*/ 354 h 464"/>
                <a:gd name="T72" fmla="*/ 149 w 590"/>
                <a:gd name="T73" fmla="*/ 343 h 464"/>
                <a:gd name="T74" fmla="*/ 208 w 590"/>
                <a:gd name="T75" fmla="*/ 352 h 464"/>
                <a:gd name="T76" fmla="*/ 217 w 590"/>
                <a:gd name="T77" fmla="*/ 395 h 464"/>
                <a:gd name="T78" fmla="*/ 256 w 590"/>
                <a:gd name="T79" fmla="*/ 419 h 464"/>
                <a:gd name="T80" fmla="*/ 265 w 590"/>
                <a:gd name="T81" fmla="*/ 443 h 464"/>
                <a:gd name="T82" fmla="*/ 281 w 590"/>
                <a:gd name="T83" fmla="*/ 460 h 464"/>
                <a:gd name="T84" fmla="*/ 304 w 590"/>
                <a:gd name="T85" fmla="*/ 448 h 464"/>
                <a:gd name="T86" fmla="*/ 331 w 590"/>
                <a:gd name="T87" fmla="*/ 437 h 464"/>
                <a:gd name="T88" fmla="*/ 357 w 590"/>
                <a:gd name="T89" fmla="*/ 395 h 464"/>
                <a:gd name="T90" fmla="*/ 366 w 590"/>
                <a:gd name="T91" fmla="*/ 387 h 464"/>
                <a:gd name="T92" fmla="*/ 409 w 590"/>
                <a:gd name="T93" fmla="*/ 402 h 464"/>
                <a:gd name="T94" fmla="*/ 418 w 590"/>
                <a:gd name="T95" fmla="*/ 414 h 464"/>
                <a:gd name="T96" fmla="*/ 453 w 590"/>
                <a:gd name="T97" fmla="*/ 419 h 464"/>
                <a:gd name="T98" fmla="*/ 469 w 590"/>
                <a:gd name="T99" fmla="*/ 430 h 464"/>
                <a:gd name="T100" fmla="*/ 487 w 590"/>
                <a:gd name="T101" fmla="*/ 434 h 464"/>
                <a:gd name="T102" fmla="*/ 517 w 590"/>
                <a:gd name="T103" fmla="*/ 423 h 464"/>
                <a:gd name="T104" fmla="*/ 580 w 590"/>
                <a:gd name="T105" fmla="*/ 418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90" h="464">
                  <a:moveTo>
                    <a:pt x="587" y="409"/>
                  </a:moveTo>
                  <a:lnTo>
                    <a:pt x="581" y="405"/>
                  </a:lnTo>
                  <a:lnTo>
                    <a:pt x="571" y="396"/>
                  </a:lnTo>
                  <a:lnTo>
                    <a:pt x="562" y="393"/>
                  </a:lnTo>
                  <a:lnTo>
                    <a:pt x="560" y="387"/>
                  </a:lnTo>
                  <a:lnTo>
                    <a:pt x="558" y="380"/>
                  </a:lnTo>
                  <a:lnTo>
                    <a:pt x="560" y="375"/>
                  </a:lnTo>
                  <a:lnTo>
                    <a:pt x="562" y="368"/>
                  </a:lnTo>
                  <a:lnTo>
                    <a:pt x="558" y="363"/>
                  </a:lnTo>
                  <a:lnTo>
                    <a:pt x="558" y="359"/>
                  </a:lnTo>
                  <a:lnTo>
                    <a:pt x="555" y="355"/>
                  </a:lnTo>
                  <a:lnTo>
                    <a:pt x="551" y="343"/>
                  </a:lnTo>
                  <a:lnTo>
                    <a:pt x="540" y="345"/>
                  </a:lnTo>
                  <a:lnTo>
                    <a:pt x="537" y="345"/>
                  </a:lnTo>
                  <a:lnTo>
                    <a:pt x="532" y="343"/>
                  </a:lnTo>
                  <a:lnTo>
                    <a:pt x="533" y="339"/>
                  </a:lnTo>
                  <a:lnTo>
                    <a:pt x="528" y="334"/>
                  </a:lnTo>
                  <a:lnTo>
                    <a:pt x="528" y="327"/>
                  </a:lnTo>
                  <a:lnTo>
                    <a:pt x="521" y="323"/>
                  </a:lnTo>
                  <a:lnTo>
                    <a:pt x="517" y="323"/>
                  </a:lnTo>
                  <a:lnTo>
                    <a:pt x="514" y="323"/>
                  </a:lnTo>
                  <a:lnTo>
                    <a:pt x="503" y="323"/>
                  </a:lnTo>
                  <a:lnTo>
                    <a:pt x="501" y="322"/>
                  </a:lnTo>
                  <a:lnTo>
                    <a:pt x="494" y="316"/>
                  </a:lnTo>
                  <a:lnTo>
                    <a:pt x="496" y="313"/>
                  </a:lnTo>
                  <a:lnTo>
                    <a:pt x="492" y="304"/>
                  </a:lnTo>
                  <a:lnTo>
                    <a:pt x="492" y="300"/>
                  </a:lnTo>
                  <a:lnTo>
                    <a:pt x="491" y="297"/>
                  </a:lnTo>
                  <a:lnTo>
                    <a:pt x="482" y="299"/>
                  </a:lnTo>
                  <a:lnTo>
                    <a:pt x="480" y="302"/>
                  </a:lnTo>
                  <a:lnTo>
                    <a:pt x="468" y="306"/>
                  </a:lnTo>
                  <a:lnTo>
                    <a:pt x="460" y="309"/>
                  </a:lnTo>
                  <a:lnTo>
                    <a:pt x="457" y="318"/>
                  </a:lnTo>
                  <a:lnTo>
                    <a:pt x="441" y="315"/>
                  </a:lnTo>
                  <a:lnTo>
                    <a:pt x="436" y="307"/>
                  </a:lnTo>
                  <a:lnTo>
                    <a:pt x="418" y="307"/>
                  </a:lnTo>
                  <a:lnTo>
                    <a:pt x="414" y="307"/>
                  </a:lnTo>
                  <a:lnTo>
                    <a:pt x="400" y="286"/>
                  </a:lnTo>
                  <a:lnTo>
                    <a:pt x="400" y="277"/>
                  </a:lnTo>
                  <a:lnTo>
                    <a:pt x="393" y="272"/>
                  </a:lnTo>
                  <a:lnTo>
                    <a:pt x="382" y="274"/>
                  </a:lnTo>
                  <a:lnTo>
                    <a:pt x="382" y="267"/>
                  </a:lnTo>
                  <a:lnTo>
                    <a:pt x="372" y="259"/>
                  </a:lnTo>
                  <a:lnTo>
                    <a:pt x="357" y="258"/>
                  </a:lnTo>
                  <a:lnTo>
                    <a:pt x="347" y="254"/>
                  </a:lnTo>
                  <a:lnTo>
                    <a:pt x="345" y="247"/>
                  </a:lnTo>
                  <a:lnTo>
                    <a:pt x="340" y="243"/>
                  </a:lnTo>
                  <a:lnTo>
                    <a:pt x="336" y="240"/>
                  </a:lnTo>
                  <a:lnTo>
                    <a:pt x="329" y="238"/>
                  </a:lnTo>
                  <a:lnTo>
                    <a:pt x="325" y="236"/>
                  </a:lnTo>
                  <a:lnTo>
                    <a:pt x="322" y="235"/>
                  </a:lnTo>
                  <a:lnTo>
                    <a:pt x="320" y="220"/>
                  </a:lnTo>
                  <a:lnTo>
                    <a:pt x="316" y="220"/>
                  </a:lnTo>
                  <a:lnTo>
                    <a:pt x="311" y="224"/>
                  </a:lnTo>
                  <a:lnTo>
                    <a:pt x="299" y="219"/>
                  </a:lnTo>
                  <a:lnTo>
                    <a:pt x="290" y="219"/>
                  </a:lnTo>
                  <a:lnTo>
                    <a:pt x="286" y="220"/>
                  </a:lnTo>
                  <a:lnTo>
                    <a:pt x="292" y="197"/>
                  </a:lnTo>
                  <a:lnTo>
                    <a:pt x="292" y="192"/>
                  </a:lnTo>
                  <a:lnTo>
                    <a:pt x="281" y="187"/>
                  </a:lnTo>
                  <a:lnTo>
                    <a:pt x="281" y="176"/>
                  </a:lnTo>
                  <a:lnTo>
                    <a:pt x="281" y="169"/>
                  </a:lnTo>
                  <a:lnTo>
                    <a:pt x="290" y="163"/>
                  </a:lnTo>
                  <a:lnTo>
                    <a:pt x="286" y="158"/>
                  </a:lnTo>
                  <a:lnTo>
                    <a:pt x="281" y="151"/>
                  </a:lnTo>
                  <a:lnTo>
                    <a:pt x="276" y="149"/>
                  </a:lnTo>
                  <a:lnTo>
                    <a:pt x="272" y="144"/>
                  </a:lnTo>
                  <a:lnTo>
                    <a:pt x="267" y="139"/>
                  </a:lnTo>
                  <a:lnTo>
                    <a:pt x="265" y="137"/>
                  </a:lnTo>
                  <a:lnTo>
                    <a:pt x="256" y="135"/>
                  </a:lnTo>
                  <a:lnTo>
                    <a:pt x="256" y="139"/>
                  </a:lnTo>
                  <a:lnTo>
                    <a:pt x="252" y="142"/>
                  </a:lnTo>
                  <a:lnTo>
                    <a:pt x="245" y="135"/>
                  </a:lnTo>
                  <a:lnTo>
                    <a:pt x="226" y="139"/>
                  </a:lnTo>
                  <a:lnTo>
                    <a:pt x="217" y="133"/>
                  </a:lnTo>
                  <a:lnTo>
                    <a:pt x="210" y="123"/>
                  </a:lnTo>
                  <a:lnTo>
                    <a:pt x="213" y="115"/>
                  </a:lnTo>
                  <a:lnTo>
                    <a:pt x="219" y="112"/>
                  </a:lnTo>
                  <a:lnTo>
                    <a:pt x="215" y="105"/>
                  </a:lnTo>
                  <a:lnTo>
                    <a:pt x="206" y="103"/>
                  </a:lnTo>
                  <a:lnTo>
                    <a:pt x="204" y="98"/>
                  </a:lnTo>
                  <a:lnTo>
                    <a:pt x="197" y="96"/>
                  </a:lnTo>
                  <a:lnTo>
                    <a:pt x="190" y="92"/>
                  </a:lnTo>
                  <a:lnTo>
                    <a:pt x="185" y="92"/>
                  </a:lnTo>
                  <a:lnTo>
                    <a:pt x="176" y="91"/>
                  </a:lnTo>
                  <a:lnTo>
                    <a:pt x="172" y="91"/>
                  </a:lnTo>
                  <a:lnTo>
                    <a:pt x="171" y="89"/>
                  </a:lnTo>
                  <a:lnTo>
                    <a:pt x="165" y="89"/>
                  </a:lnTo>
                  <a:lnTo>
                    <a:pt x="156" y="83"/>
                  </a:lnTo>
                  <a:lnTo>
                    <a:pt x="151" y="83"/>
                  </a:lnTo>
                  <a:lnTo>
                    <a:pt x="146" y="76"/>
                  </a:lnTo>
                  <a:lnTo>
                    <a:pt x="149" y="75"/>
                  </a:lnTo>
                  <a:lnTo>
                    <a:pt x="148" y="67"/>
                  </a:lnTo>
                  <a:lnTo>
                    <a:pt x="137" y="64"/>
                  </a:lnTo>
                  <a:lnTo>
                    <a:pt x="133" y="57"/>
                  </a:lnTo>
                  <a:lnTo>
                    <a:pt x="137" y="53"/>
                  </a:lnTo>
                  <a:lnTo>
                    <a:pt x="142" y="53"/>
                  </a:lnTo>
                  <a:lnTo>
                    <a:pt x="146" y="48"/>
                  </a:lnTo>
                  <a:lnTo>
                    <a:pt x="146" y="43"/>
                  </a:lnTo>
                  <a:lnTo>
                    <a:pt x="156" y="34"/>
                  </a:lnTo>
                  <a:lnTo>
                    <a:pt x="162" y="28"/>
                  </a:lnTo>
                  <a:lnTo>
                    <a:pt x="156" y="23"/>
                  </a:lnTo>
                  <a:lnTo>
                    <a:pt x="155" y="19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8" y="11"/>
                  </a:lnTo>
                  <a:lnTo>
                    <a:pt x="156" y="0"/>
                  </a:lnTo>
                  <a:lnTo>
                    <a:pt x="149" y="2"/>
                  </a:lnTo>
                  <a:lnTo>
                    <a:pt x="121" y="16"/>
                  </a:lnTo>
                  <a:lnTo>
                    <a:pt x="110" y="19"/>
                  </a:lnTo>
                  <a:lnTo>
                    <a:pt x="108" y="18"/>
                  </a:lnTo>
                  <a:lnTo>
                    <a:pt x="108" y="14"/>
                  </a:lnTo>
                  <a:lnTo>
                    <a:pt x="107" y="11"/>
                  </a:lnTo>
                  <a:lnTo>
                    <a:pt x="105" y="9"/>
                  </a:lnTo>
                  <a:lnTo>
                    <a:pt x="96" y="11"/>
                  </a:lnTo>
                  <a:lnTo>
                    <a:pt x="91" y="12"/>
                  </a:lnTo>
                  <a:lnTo>
                    <a:pt x="87" y="12"/>
                  </a:lnTo>
                  <a:lnTo>
                    <a:pt x="82" y="19"/>
                  </a:lnTo>
                  <a:lnTo>
                    <a:pt x="73" y="27"/>
                  </a:lnTo>
                  <a:lnTo>
                    <a:pt x="69" y="34"/>
                  </a:lnTo>
                  <a:lnTo>
                    <a:pt x="69" y="43"/>
                  </a:lnTo>
                  <a:lnTo>
                    <a:pt x="69" y="46"/>
                  </a:lnTo>
                  <a:lnTo>
                    <a:pt x="68" y="48"/>
                  </a:lnTo>
                  <a:lnTo>
                    <a:pt x="64" y="50"/>
                  </a:lnTo>
                  <a:lnTo>
                    <a:pt x="62" y="51"/>
                  </a:lnTo>
                  <a:lnTo>
                    <a:pt x="59" y="53"/>
                  </a:lnTo>
                  <a:lnTo>
                    <a:pt x="53" y="57"/>
                  </a:lnTo>
                  <a:lnTo>
                    <a:pt x="43" y="64"/>
                  </a:lnTo>
                  <a:lnTo>
                    <a:pt x="32" y="76"/>
                  </a:lnTo>
                  <a:lnTo>
                    <a:pt x="27" y="80"/>
                  </a:lnTo>
                  <a:lnTo>
                    <a:pt x="25" y="83"/>
                  </a:lnTo>
                  <a:lnTo>
                    <a:pt x="25" y="91"/>
                  </a:lnTo>
                  <a:lnTo>
                    <a:pt x="25" y="92"/>
                  </a:lnTo>
                  <a:lnTo>
                    <a:pt x="25" y="96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6" y="114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1" y="117"/>
                  </a:lnTo>
                  <a:lnTo>
                    <a:pt x="7" y="123"/>
                  </a:lnTo>
                  <a:lnTo>
                    <a:pt x="4" y="130"/>
                  </a:lnTo>
                  <a:lnTo>
                    <a:pt x="2" y="133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137"/>
                  </a:lnTo>
                  <a:lnTo>
                    <a:pt x="5" y="140"/>
                  </a:lnTo>
                  <a:lnTo>
                    <a:pt x="4" y="149"/>
                  </a:lnTo>
                  <a:lnTo>
                    <a:pt x="4" y="151"/>
                  </a:lnTo>
                  <a:lnTo>
                    <a:pt x="9" y="155"/>
                  </a:lnTo>
                  <a:lnTo>
                    <a:pt x="16" y="160"/>
                  </a:lnTo>
                  <a:lnTo>
                    <a:pt x="20" y="162"/>
                  </a:lnTo>
                  <a:lnTo>
                    <a:pt x="21" y="169"/>
                  </a:lnTo>
                  <a:lnTo>
                    <a:pt x="27" y="176"/>
                  </a:lnTo>
                  <a:lnTo>
                    <a:pt x="34" y="195"/>
                  </a:lnTo>
                  <a:lnTo>
                    <a:pt x="39" y="204"/>
                  </a:lnTo>
                  <a:lnTo>
                    <a:pt x="41" y="210"/>
                  </a:lnTo>
                  <a:lnTo>
                    <a:pt x="41" y="211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34" y="227"/>
                  </a:lnTo>
                  <a:lnTo>
                    <a:pt x="32" y="233"/>
                  </a:lnTo>
                  <a:lnTo>
                    <a:pt x="30" y="240"/>
                  </a:lnTo>
                  <a:lnTo>
                    <a:pt x="28" y="256"/>
                  </a:lnTo>
                  <a:lnTo>
                    <a:pt x="28" y="259"/>
                  </a:lnTo>
                  <a:lnTo>
                    <a:pt x="27" y="259"/>
                  </a:lnTo>
                  <a:lnTo>
                    <a:pt x="32" y="272"/>
                  </a:lnTo>
                  <a:lnTo>
                    <a:pt x="21" y="300"/>
                  </a:lnTo>
                  <a:lnTo>
                    <a:pt x="21" y="306"/>
                  </a:lnTo>
                  <a:lnTo>
                    <a:pt x="44" y="323"/>
                  </a:lnTo>
                  <a:lnTo>
                    <a:pt x="44" y="332"/>
                  </a:lnTo>
                  <a:lnTo>
                    <a:pt x="44" y="338"/>
                  </a:lnTo>
                  <a:lnTo>
                    <a:pt x="39" y="352"/>
                  </a:lnTo>
                  <a:lnTo>
                    <a:pt x="41" y="366"/>
                  </a:lnTo>
                  <a:lnTo>
                    <a:pt x="52" y="368"/>
                  </a:lnTo>
                  <a:lnTo>
                    <a:pt x="59" y="368"/>
                  </a:lnTo>
                  <a:lnTo>
                    <a:pt x="64" y="368"/>
                  </a:lnTo>
                  <a:lnTo>
                    <a:pt x="75" y="363"/>
                  </a:lnTo>
                  <a:lnTo>
                    <a:pt x="85" y="359"/>
                  </a:lnTo>
                  <a:lnTo>
                    <a:pt x="85" y="354"/>
                  </a:lnTo>
                  <a:lnTo>
                    <a:pt x="116" y="354"/>
                  </a:lnTo>
                  <a:lnTo>
                    <a:pt x="124" y="352"/>
                  </a:lnTo>
                  <a:lnTo>
                    <a:pt x="133" y="348"/>
                  </a:lnTo>
                  <a:lnTo>
                    <a:pt x="144" y="347"/>
                  </a:lnTo>
                  <a:lnTo>
                    <a:pt x="149" y="343"/>
                  </a:lnTo>
                  <a:lnTo>
                    <a:pt x="153" y="339"/>
                  </a:lnTo>
                  <a:lnTo>
                    <a:pt x="158" y="336"/>
                  </a:lnTo>
                  <a:lnTo>
                    <a:pt x="169" y="332"/>
                  </a:lnTo>
                  <a:lnTo>
                    <a:pt x="185" y="352"/>
                  </a:lnTo>
                  <a:lnTo>
                    <a:pt x="208" y="352"/>
                  </a:lnTo>
                  <a:lnTo>
                    <a:pt x="208" y="377"/>
                  </a:lnTo>
                  <a:lnTo>
                    <a:pt x="208" y="380"/>
                  </a:lnTo>
                  <a:lnTo>
                    <a:pt x="210" y="382"/>
                  </a:lnTo>
                  <a:lnTo>
                    <a:pt x="213" y="389"/>
                  </a:lnTo>
                  <a:lnTo>
                    <a:pt x="217" y="395"/>
                  </a:lnTo>
                  <a:lnTo>
                    <a:pt x="222" y="398"/>
                  </a:lnTo>
                  <a:lnTo>
                    <a:pt x="233" y="407"/>
                  </a:lnTo>
                  <a:lnTo>
                    <a:pt x="240" y="418"/>
                  </a:lnTo>
                  <a:lnTo>
                    <a:pt x="256" y="418"/>
                  </a:lnTo>
                  <a:lnTo>
                    <a:pt x="256" y="419"/>
                  </a:lnTo>
                  <a:lnTo>
                    <a:pt x="256" y="427"/>
                  </a:lnTo>
                  <a:lnTo>
                    <a:pt x="256" y="434"/>
                  </a:lnTo>
                  <a:lnTo>
                    <a:pt x="258" y="437"/>
                  </a:lnTo>
                  <a:lnTo>
                    <a:pt x="260" y="441"/>
                  </a:lnTo>
                  <a:lnTo>
                    <a:pt x="265" y="443"/>
                  </a:lnTo>
                  <a:lnTo>
                    <a:pt x="268" y="446"/>
                  </a:lnTo>
                  <a:lnTo>
                    <a:pt x="268" y="448"/>
                  </a:lnTo>
                  <a:lnTo>
                    <a:pt x="268" y="451"/>
                  </a:lnTo>
                  <a:lnTo>
                    <a:pt x="272" y="455"/>
                  </a:lnTo>
                  <a:lnTo>
                    <a:pt x="281" y="460"/>
                  </a:lnTo>
                  <a:lnTo>
                    <a:pt x="288" y="464"/>
                  </a:lnTo>
                  <a:lnTo>
                    <a:pt x="292" y="460"/>
                  </a:lnTo>
                  <a:lnTo>
                    <a:pt x="293" y="457"/>
                  </a:lnTo>
                  <a:lnTo>
                    <a:pt x="295" y="451"/>
                  </a:lnTo>
                  <a:lnTo>
                    <a:pt x="304" y="448"/>
                  </a:lnTo>
                  <a:lnTo>
                    <a:pt x="308" y="446"/>
                  </a:lnTo>
                  <a:lnTo>
                    <a:pt x="313" y="443"/>
                  </a:lnTo>
                  <a:lnTo>
                    <a:pt x="325" y="441"/>
                  </a:lnTo>
                  <a:lnTo>
                    <a:pt x="329" y="439"/>
                  </a:lnTo>
                  <a:lnTo>
                    <a:pt x="331" y="437"/>
                  </a:lnTo>
                  <a:lnTo>
                    <a:pt x="334" y="428"/>
                  </a:lnTo>
                  <a:lnTo>
                    <a:pt x="338" y="419"/>
                  </a:lnTo>
                  <a:lnTo>
                    <a:pt x="347" y="411"/>
                  </a:lnTo>
                  <a:lnTo>
                    <a:pt x="356" y="398"/>
                  </a:lnTo>
                  <a:lnTo>
                    <a:pt x="357" y="395"/>
                  </a:lnTo>
                  <a:lnTo>
                    <a:pt x="359" y="389"/>
                  </a:lnTo>
                  <a:lnTo>
                    <a:pt x="359" y="387"/>
                  </a:lnTo>
                  <a:lnTo>
                    <a:pt x="361" y="386"/>
                  </a:lnTo>
                  <a:lnTo>
                    <a:pt x="364" y="386"/>
                  </a:lnTo>
                  <a:lnTo>
                    <a:pt x="366" y="387"/>
                  </a:lnTo>
                  <a:lnTo>
                    <a:pt x="373" y="393"/>
                  </a:lnTo>
                  <a:lnTo>
                    <a:pt x="380" y="395"/>
                  </a:lnTo>
                  <a:lnTo>
                    <a:pt x="386" y="396"/>
                  </a:lnTo>
                  <a:lnTo>
                    <a:pt x="402" y="400"/>
                  </a:lnTo>
                  <a:lnTo>
                    <a:pt x="409" y="402"/>
                  </a:lnTo>
                  <a:lnTo>
                    <a:pt x="411" y="403"/>
                  </a:lnTo>
                  <a:lnTo>
                    <a:pt x="412" y="403"/>
                  </a:lnTo>
                  <a:lnTo>
                    <a:pt x="412" y="407"/>
                  </a:lnTo>
                  <a:lnTo>
                    <a:pt x="414" y="411"/>
                  </a:lnTo>
                  <a:lnTo>
                    <a:pt x="418" y="414"/>
                  </a:lnTo>
                  <a:lnTo>
                    <a:pt x="423" y="416"/>
                  </a:lnTo>
                  <a:lnTo>
                    <a:pt x="437" y="416"/>
                  </a:lnTo>
                  <a:lnTo>
                    <a:pt x="450" y="418"/>
                  </a:lnTo>
                  <a:lnTo>
                    <a:pt x="453" y="418"/>
                  </a:lnTo>
                  <a:lnTo>
                    <a:pt x="453" y="419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7" y="425"/>
                  </a:lnTo>
                  <a:lnTo>
                    <a:pt x="464" y="428"/>
                  </a:lnTo>
                  <a:lnTo>
                    <a:pt x="469" y="430"/>
                  </a:lnTo>
                  <a:lnTo>
                    <a:pt x="473" y="434"/>
                  </a:lnTo>
                  <a:lnTo>
                    <a:pt x="476" y="437"/>
                  </a:lnTo>
                  <a:lnTo>
                    <a:pt x="478" y="437"/>
                  </a:lnTo>
                  <a:lnTo>
                    <a:pt x="482" y="437"/>
                  </a:lnTo>
                  <a:lnTo>
                    <a:pt x="487" y="434"/>
                  </a:lnTo>
                  <a:lnTo>
                    <a:pt x="492" y="430"/>
                  </a:lnTo>
                  <a:lnTo>
                    <a:pt x="500" y="425"/>
                  </a:lnTo>
                  <a:lnTo>
                    <a:pt x="510" y="421"/>
                  </a:lnTo>
                  <a:lnTo>
                    <a:pt x="516" y="421"/>
                  </a:lnTo>
                  <a:lnTo>
                    <a:pt x="517" y="423"/>
                  </a:lnTo>
                  <a:lnTo>
                    <a:pt x="523" y="427"/>
                  </a:lnTo>
                  <a:lnTo>
                    <a:pt x="528" y="430"/>
                  </a:lnTo>
                  <a:lnTo>
                    <a:pt x="533" y="435"/>
                  </a:lnTo>
                  <a:lnTo>
                    <a:pt x="580" y="423"/>
                  </a:lnTo>
                  <a:lnTo>
                    <a:pt x="580" y="418"/>
                  </a:lnTo>
                  <a:lnTo>
                    <a:pt x="585" y="416"/>
                  </a:lnTo>
                  <a:lnTo>
                    <a:pt x="590" y="414"/>
                  </a:lnTo>
                  <a:lnTo>
                    <a:pt x="590" y="411"/>
                  </a:lnTo>
                  <a:lnTo>
                    <a:pt x="587" y="409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Freeform 102"/>
            <p:cNvSpPr>
              <a:spLocks/>
            </p:cNvSpPr>
            <p:nvPr/>
          </p:nvSpPr>
          <p:spPr bwMode="auto">
            <a:xfrm>
              <a:off x="1021821" y="2120294"/>
              <a:ext cx="209360" cy="203656"/>
            </a:xfrm>
            <a:custGeom>
              <a:avLst/>
              <a:gdLst>
                <a:gd name="T0" fmla="*/ 299 w 367"/>
                <a:gd name="T1" fmla="*/ 112 h 357"/>
                <a:gd name="T2" fmla="*/ 297 w 367"/>
                <a:gd name="T3" fmla="*/ 92 h 357"/>
                <a:gd name="T4" fmla="*/ 297 w 367"/>
                <a:gd name="T5" fmla="*/ 76 h 357"/>
                <a:gd name="T6" fmla="*/ 292 w 367"/>
                <a:gd name="T7" fmla="*/ 57 h 357"/>
                <a:gd name="T8" fmla="*/ 288 w 367"/>
                <a:gd name="T9" fmla="*/ 46 h 357"/>
                <a:gd name="T10" fmla="*/ 262 w 367"/>
                <a:gd name="T11" fmla="*/ 46 h 357"/>
                <a:gd name="T12" fmla="*/ 235 w 367"/>
                <a:gd name="T13" fmla="*/ 41 h 357"/>
                <a:gd name="T14" fmla="*/ 210 w 367"/>
                <a:gd name="T15" fmla="*/ 41 h 357"/>
                <a:gd name="T16" fmla="*/ 200 w 367"/>
                <a:gd name="T17" fmla="*/ 62 h 357"/>
                <a:gd name="T18" fmla="*/ 176 w 367"/>
                <a:gd name="T19" fmla="*/ 64 h 357"/>
                <a:gd name="T20" fmla="*/ 168 w 367"/>
                <a:gd name="T21" fmla="*/ 42 h 357"/>
                <a:gd name="T22" fmla="*/ 168 w 367"/>
                <a:gd name="T23" fmla="*/ 12 h 357"/>
                <a:gd name="T24" fmla="*/ 160 w 367"/>
                <a:gd name="T25" fmla="*/ 1 h 357"/>
                <a:gd name="T26" fmla="*/ 153 w 367"/>
                <a:gd name="T27" fmla="*/ 3 h 357"/>
                <a:gd name="T28" fmla="*/ 143 w 367"/>
                <a:gd name="T29" fmla="*/ 1 h 357"/>
                <a:gd name="T30" fmla="*/ 137 w 367"/>
                <a:gd name="T31" fmla="*/ 33 h 357"/>
                <a:gd name="T32" fmla="*/ 143 w 367"/>
                <a:gd name="T33" fmla="*/ 41 h 357"/>
                <a:gd name="T34" fmla="*/ 132 w 367"/>
                <a:gd name="T35" fmla="*/ 57 h 357"/>
                <a:gd name="T36" fmla="*/ 116 w 367"/>
                <a:gd name="T37" fmla="*/ 58 h 357"/>
                <a:gd name="T38" fmla="*/ 107 w 367"/>
                <a:gd name="T39" fmla="*/ 46 h 357"/>
                <a:gd name="T40" fmla="*/ 96 w 367"/>
                <a:gd name="T41" fmla="*/ 37 h 357"/>
                <a:gd name="T42" fmla="*/ 59 w 367"/>
                <a:gd name="T43" fmla="*/ 58 h 357"/>
                <a:gd name="T44" fmla="*/ 56 w 367"/>
                <a:gd name="T45" fmla="*/ 78 h 357"/>
                <a:gd name="T46" fmla="*/ 63 w 367"/>
                <a:gd name="T47" fmla="*/ 94 h 357"/>
                <a:gd name="T48" fmla="*/ 47 w 367"/>
                <a:gd name="T49" fmla="*/ 101 h 357"/>
                <a:gd name="T50" fmla="*/ 36 w 367"/>
                <a:gd name="T51" fmla="*/ 122 h 357"/>
                <a:gd name="T52" fmla="*/ 18 w 367"/>
                <a:gd name="T53" fmla="*/ 131 h 357"/>
                <a:gd name="T54" fmla="*/ 6 w 367"/>
                <a:gd name="T55" fmla="*/ 153 h 357"/>
                <a:gd name="T56" fmla="*/ 2 w 367"/>
                <a:gd name="T57" fmla="*/ 177 h 357"/>
                <a:gd name="T58" fmla="*/ 13 w 367"/>
                <a:gd name="T59" fmla="*/ 188 h 357"/>
                <a:gd name="T60" fmla="*/ 27 w 367"/>
                <a:gd name="T61" fmla="*/ 209 h 357"/>
                <a:gd name="T62" fmla="*/ 36 w 367"/>
                <a:gd name="T63" fmla="*/ 229 h 357"/>
                <a:gd name="T64" fmla="*/ 52 w 367"/>
                <a:gd name="T65" fmla="*/ 229 h 357"/>
                <a:gd name="T66" fmla="*/ 73 w 367"/>
                <a:gd name="T67" fmla="*/ 256 h 357"/>
                <a:gd name="T68" fmla="*/ 80 w 367"/>
                <a:gd name="T69" fmla="*/ 266 h 357"/>
                <a:gd name="T70" fmla="*/ 96 w 367"/>
                <a:gd name="T71" fmla="*/ 266 h 357"/>
                <a:gd name="T72" fmla="*/ 107 w 367"/>
                <a:gd name="T73" fmla="*/ 288 h 357"/>
                <a:gd name="T74" fmla="*/ 127 w 367"/>
                <a:gd name="T75" fmla="*/ 302 h 357"/>
                <a:gd name="T76" fmla="*/ 143 w 367"/>
                <a:gd name="T77" fmla="*/ 329 h 357"/>
                <a:gd name="T78" fmla="*/ 160 w 367"/>
                <a:gd name="T79" fmla="*/ 346 h 357"/>
                <a:gd name="T80" fmla="*/ 198 w 367"/>
                <a:gd name="T81" fmla="*/ 357 h 357"/>
                <a:gd name="T82" fmla="*/ 237 w 367"/>
                <a:gd name="T83" fmla="*/ 320 h 357"/>
                <a:gd name="T84" fmla="*/ 237 w 367"/>
                <a:gd name="T85" fmla="*/ 282 h 357"/>
                <a:gd name="T86" fmla="*/ 216 w 367"/>
                <a:gd name="T87" fmla="*/ 291 h 357"/>
                <a:gd name="T88" fmla="*/ 200 w 367"/>
                <a:gd name="T89" fmla="*/ 284 h 357"/>
                <a:gd name="T90" fmla="*/ 203 w 367"/>
                <a:gd name="T91" fmla="*/ 277 h 357"/>
                <a:gd name="T92" fmla="*/ 228 w 367"/>
                <a:gd name="T93" fmla="*/ 256 h 357"/>
                <a:gd name="T94" fmla="*/ 244 w 367"/>
                <a:gd name="T95" fmla="*/ 231 h 357"/>
                <a:gd name="T96" fmla="*/ 246 w 367"/>
                <a:gd name="T97" fmla="*/ 208 h 357"/>
                <a:gd name="T98" fmla="*/ 240 w 367"/>
                <a:gd name="T99" fmla="*/ 185 h 357"/>
                <a:gd name="T100" fmla="*/ 272 w 367"/>
                <a:gd name="T101" fmla="*/ 201 h 357"/>
                <a:gd name="T102" fmla="*/ 288 w 367"/>
                <a:gd name="T103" fmla="*/ 220 h 357"/>
                <a:gd name="T104" fmla="*/ 308 w 367"/>
                <a:gd name="T105" fmla="*/ 225 h 357"/>
                <a:gd name="T106" fmla="*/ 347 w 367"/>
                <a:gd name="T107" fmla="*/ 234 h 357"/>
                <a:gd name="T108" fmla="*/ 367 w 367"/>
                <a:gd name="T109" fmla="*/ 165 h 357"/>
                <a:gd name="T110" fmla="*/ 338 w 367"/>
                <a:gd name="T111" fmla="*/ 161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7" h="357">
                  <a:moveTo>
                    <a:pt x="338" y="161"/>
                  </a:moveTo>
                  <a:lnTo>
                    <a:pt x="319" y="153"/>
                  </a:lnTo>
                  <a:lnTo>
                    <a:pt x="306" y="133"/>
                  </a:lnTo>
                  <a:lnTo>
                    <a:pt x="299" y="112"/>
                  </a:lnTo>
                  <a:lnTo>
                    <a:pt x="297" y="97"/>
                  </a:lnTo>
                  <a:lnTo>
                    <a:pt x="297" y="90"/>
                  </a:lnTo>
                  <a:lnTo>
                    <a:pt x="297" y="90"/>
                  </a:lnTo>
                  <a:lnTo>
                    <a:pt x="297" y="92"/>
                  </a:lnTo>
                  <a:lnTo>
                    <a:pt x="296" y="90"/>
                  </a:lnTo>
                  <a:lnTo>
                    <a:pt x="296" y="90"/>
                  </a:lnTo>
                  <a:lnTo>
                    <a:pt x="296" y="83"/>
                  </a:lnTo>
                  <a:lnTo>
                    <a:pt x="297" y="76"/>
                  </a:lnTo>
                  <a:lnTo>
                    <a:pt x="297" y="67"/>
                  </a:lnTo>
                  <a:lnTo>
                    <a:pt x="297" y="64"/>
                  </a:lnTo>
                  <a:lnTo>
                    <a:pt x="296" y="60"/>
                  </a:lnTo>
                  <a:lnTo>
                    <a:pt x="292" y="57"/>
                  </a:lnTo>
                  <a:lnTo>
                    <a:pt x="288" y="53"/>
                  </a:lnTo>
                  <a:lnTo>
                    <a:pt x="288" y="49"/>
                  </a:lnTo>
                  <a:lnTo>
                    <a:pt x="288" y="46"/>
                  </a:lnTo>
                  <a:lnTo>
                    <a:pt x="288" y="46"/>
                  </a:lnTo>
                  <a:lnTo>
                    <a:pt x="278" y="46"/>
                  </a:lnTo>
                  <a:lnTo>
                    <a:pt x="269" y="49"/>
                  </a:lnTo>
                  <a:lnTo>
                    <a:pt x="265" y="49"/>
                  </a:lnTo>
                  <a:lnTo>
                    <a:pt x="262" y="46"/>
                  </a:lnTo>
                  <a:lnTo>
                    <a:pt x="255" y="42"/>
                  </a:lnTo>
                  <a:lnTo>
                    <a:pt x="248" y="42"/>
                  </a:lnTo>
                  <a:lnTo>
                    <a:pt x="242" y="42"/>
                  </a:lnTo>
                  <a:lnTo>
                    <a:pt x="235" y="41"/>
                  </a:lnTo>
                  <a:lnTo>
                    <a:pt x="228" y="39"/>
                  </a:lnTo>
                  <a:lnTo>
                    <a:pt x="223" y="39"/>
                  </a:lnTo>
                  <a:lnTo>
                    <a:pt x="219" y="39"/>
                  </a:lnTo>
                  <a:lnTo>
                    <a:pt x="210" y="41"/>
                  </a:lnTo>
                  <a:lnTo>
                    <a:pt x="207" y="46"/>
                  </a:lnTo>
                  <a:lnTo>
                    <a:pt x="203" y="51"/>
                  </a:lnTo>
                  <a:lnTo>
                    <a:pt x="201" y="57"/>
                  </a:lnTo>
                  <a:lnTo>
                    <a:pt x="200" y="62"/>
                  </a:lnTo>
                  <a:lnTo>
                    <a:pt x="198" y="67"/>
                  </a:lnTo>
                  <a:lnTo>
                    <a:pt x="194" y="73"/>
                  </a:lnTo>
                  <a:lnTo>
                    <a:pt x="180" y="71"/>
                  </a:lnTo>
                  <a:lnTo>
                    <a:pt x="176" y="64"/>
                  </a:lnTo>
                  <a:lnTo>
                    <a:pt x="173" y="58"/>
                  </a:lnTo>
                  <a:lnTo>
                    <a:pt x="169" y="55"/>
                  </a:lnTo>
                  <a:lnTo>
                    <a:pt x="169" y="51"/>
                  </a:lnTo>
                  <a:lnTo>
                    <a:pt x="168" y="42"/>
                  </a:lnTo>
                  <a:lnTo>
                    <a:pt x="166" y="35"/>
                  </a:lnTo>
                  <a:lnTo>
                    <a:pt x="164" y="30"/>
                  </a:lnTo>
                  <a:lnTo>
                    <a:pt x="164" y="23"/>
                  </a:lnTo>
                  <a:lnTo>
                    <a:pt x="168" y="12"/>
                  </a:lnTo>
                  <a:lnTo>
                    <a:pt x="168" y="5"/>
                  </a:lnTo>
                  <a:lnTo>
                    <a:pt x="164" y="3"/>
                  </a:lnTo>
                  <a:lnTo>
                    <a:pt x="162" y="1"/>
                  </a:lnTo>
                  <a:lnTo>
                    <a:pt x="160" y="1"/>
                  </a:lnTo>
                  <a:lnTo>
                    <a:pt x="159" y="1"/>
                  </a:lnTo>
                  <a:lnTo>
                    <a:pt x="157" y="5"/>
                  </a:lnTo>
                  <a:lnTo>
                    <a:pt x="155" y="5"/>
                  </a:lnTo>
                  <a:lnTo>
                    <a:pt x="153" y="3"/>
                  </a:lnTo>
                  <a:lnTo>
                    <a:pt x="148" y="1"/>
                  </a:lnTo>
                  <a:lnTo>
                    <a:pt x="146" y="0"/>
                  </a:lnTo>
                  <a:lnTo>
                    <a:pt x="144" y="0"/>
                  </a:lnTo>
                  <a:lnTo>
                    <a:pt x="143" y="1"/>
                  </a:lnTo>
                  <a:lnTo>
                    <a:pt x="139" y="14"/>
                  </a:lnTo>
                  <a:lnTo>
                    <a:pt x="137" y="19"/>
                  </a:lnTo>
                  <a:lnTo>
                    <a:pt x="137" y="25"/>
                  </a:lnTo>
                  <a:lnTo>
                    <a:pt x="137" y="33"/>
                  </a:lnTo>
                  <a:lnTo>
                    <a:pt x="139" y="37"/>
                  </a:lnTo>
                  <a:lnTo>
                    <a:pt x="139" y="39"/>
                  </a:lnTo>
                  <a:lnTo>
                    <a:pt x="143" y="39"/>
                  </a:lnTo>
                  <a:lnTo>
                    <a:pt x="143" y="41"/>
                  </a:lnTo>
                  <a:lnTo>
                    <a:pt x="143" y="42"/>
                  </a:lnTo>
                  <a:lnTo>
                    <a:pt x="141" y="46"/>
                  </a:lnTo>
                  <a:lnTo>
                    <a:pt x="137" y="53"/>
                  </a:lnTo>
                  <a:lnTo>
                    <a:pt x="132" y="57"/>
                  </a:lnTo>
                  <a:lnTo>
                    <a:pt x="128" y="58"/>
                  </a:lnTo>
                  <a:lnTo>
                    <a:pt x="127" y="58"/>
                  </a:lnTo>
                  <a:lnTo>
                    <a:pt x="120" y="57"/>
                  </a:lnTo>
                  <a:lnTo>
                    <a:pt x="116" y="58"/>
                  </a:lnTo>
                  <a:lnTo>
                    <a:pt x="112" y="57"/>
                  </a:lnTo>
                  <a:lnTo>
                    <a:pt x="109" y="57"/>
                  </a:lnTo>
                  <a:lnTo>
                    <a:pt x="109" y="55"/>
                  </a:lnTo>
                  <a:lnTo>
                    <a:pt x="107" y="46"/>
                  </a:lnTo>
                  <a:lnTo>
                    <a:pt x="105" y="37"/>
                  </a:lnTo>
                  <a:lnTo>
                    <a:pt x="105" y="30"/>
                  </a:lnTo>
                  <a:lnTo>
                    <a:pt x="100" y="35"/>
                  </a:lnTo>
                  <a:lnTo>
                    <a:pt x="96" y="37"/>
                  </a:lnTo>
                  <a:lnTo>
                    <a:pt x="88" y="37"/>
                  </a:lnTo>
                  <a:lnTo>
                    <a:pt x="82" y="32"/>
                  </a:lnTo>
                  <a:lnTo>
                    <a:pt x="73" y="46"/>
                  </a:lnTo>
                  <a:lnTo>
                    <a:pt x="59" y="58"/>
                  </a:lnTo>
                  <a:lnTo>
                    <a:pt x="57" y="67"/>
                  </a:lnTo>
                  <a:lnTo>
                    <a:pt x="56" y="74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61" y="85"/>
                  </a:lnTo>
                  <a:lnTo>
                    <a:pt x="63" y="90"/>
                  </a:lnTo>
                  <a:lnTo>
                    <a:pt x="63" y="92"/>
                  </a:lnTo>
                  <a:lnTo>
                    <a:pt x="63" y="94"/>
                  </a:lnTo>
                  <a:lnTo>
                    <a:pt x="61" y="94"/>
                  </a:lnTo>
                  <a:lnTo>
                    <a:pt x="56" y="97"/>
                  </a:lnTo>
                  <a:lnTo>
                    <a:pt x="52" y="99"/>
                  </a:lnTo>
                  <a:lnTo>
                    <a:pt x="47" y="101"/>
                  </a:lnTo>
                  <a:lnTo>
                    <a:pt x="45" y="103"/>
                  </a:lnTo>
                  <a:lnTo>
                    <a:pt x="43" y="112"/>
                  </a:lnTo>
                  <a:lnTo>
                    <a:pt x="40" y="117"/>
                  </a:lnTo>
                  <a:lnTo>
                    <a:pt x="36" y="122"/>
                  </a:lnTo>
                  <a:lnTo>
                    <a:pt x="32" y="126"/>
                  </a:lnTo>
                  <a:lnTo>
                    <a:pt x="31" y="126"/>
                  </a:lnTo>
                  <a:lnTo>
                    <a:pt x="22" y="131"/>
                  </a:lnTo>
                  <a:lnTo>
                    <a:pt x="18" y="131"/>
                  </a:lnTo>
                  <a:lnTo>
                    <a:pt x="15" y="137"/>
                  </a:lnTo>
                  <a:lnTo>
                    <a:pt x="11" y="140"/>
                  </a:lnTo>
                  <a:lnTo>
                    <a:pt x="8" y="145"/>
                  </a:lnTo>
                  <a:lnTo>
                    <a:pt x="6" y="153"/>
                  </a:lnTo>
                  <a:lnTo>
                    <a:pt x="2" y="158"/>
                  </a:lnTo>
                  <a:lnTo>
                    <a:pt x="0" y="163"/>
                  </a:lnTo>
                  <a:lnTo>
                    <a:pt x="0" y="169"/>
                  </a:lnTo>
                  <a:lnTo>
                    <a:pt x="2" y="177"/>
                  </a:lnTo>
                  <a:lnTo>
                    <a:pt x="2" y="181"/>
                  </a:lnTo>
                  <a:lnTo>
                    <a:pt x="6" y="183"/>
                  </a:lnTo>
                  <a:lnTo>
                    <a:pt x="11" y="186"/>
                  </a:lnTo>
                  <a:lnTo>
                    <a:pt x="13" y="188"/>
                  </a:lnTo>
                  <a:lnTo>
                    <a:pt x="16" y="199"/>
                  </a:lnTo>
                  <a:lnTo>
                    <a:pt x="18" y="202"/>
                  </a:lnTo>
                  <a:lnTo>
                    <a:pt x="22" y="206"/>
                  </a:lnTo>
                  <a:lnTo>
                    <a:pt x="27" y="209"/>
                  </a:lnTo>
                  <a:lnTo>
                    <a:pt x="32" y="217"/>
                  </a:lnTo>
                  <a:lnTo>
                    <a:pt x="32" y="222"/>
                  </a:lnTo>
                  <a:lnTo>
                    <a:pt x="34" y="225"/>
                  </a:lnTo>
                  <a:lnTo>
                    <a:pt x="36" y="229"/>
                  </a:lnTo>
                  <a:lnTo>
                    <a:pt x="38" y="229"/>
                  </a:lnTo>
                  <a:lnTo>
                    <a:pt x="47" y="227"/>
                  </a:lnTo>
                  <a:lnTo>
                    <a:pt x="48" y="227"/>
                  </a:lnTo>
                  <a:lnTo>
                    <a:pt x="52" y="229"/>
                  </a:lnTo>
                  <a:lnTo>
                    <a:pt x="61" y="241"/>
                  </a:lnTo>
                  <a:lnTo>
                    <a:pt x="64" y="247"/>
                  </a:lnTo>
                  <a:lnTo>
                    <a:pt x="68" y="250"/>
                  </a:lnTo>
                  <a:lnTo>
                    <a:pt x="73" y="256"/>
                  </a:lnTo>
                  <a:lnTo>
                    <a:pt x="75" y="259"/>
                  </a:lnTo>
                  <a:lnTo>
                    <a:pt x="79" y="263"/>
                  </a:lnTo>
                  <a:lnTo>
                    <a:pt x="79" y="266"/>
                  </a:lnTo>
                  <a:lnTo>
                    <a:pt x="80" y="266"/>
                  </a:lnTo>
                  <a:lnTo>
                    <a:pt x="86" y="265"/>
                  </a:lnTo>
                  <a:lnTo>
                    <a:pt x="89" y="265"/>
                  </a:lnTo>
                  <a:lnTo>
                    <a:pt x="93" y="265"/>
                  </a:lnTo>
                  <a:lnTo>
                    <a:pt x="96" y="266"/>
                  </a:lnTo>
                  <a:lnTo>
                    <a:pt x="100" y="272"/>
                  </a:lnTo>
                  <a:lnTo>
                    <a:pt x="102" y="279"/>
                  </a:lnTo>
                  <a:lnTo>
                    <a:pt x="105" y="284"/>
                  </a:lnTo>
                  <a:lnTo>
                    <a:pt x="107" y="288"/>
                  </a:lnTo>
                  <a:lnTo>
                    <a:pt x="116" y="295"/>
                  </a:lnTo>
                  <a:lnTo>
                    <a:pt x="127" y="288"/>
                  </a:lnTo>
                  <a:lnTo>
                    <a:pt x="134" y="298"/>
                  </a:lnTo>
                  <a:lnTo>
                    <a:pt x="127" y="302"/>
                  </a:lnTo>
                  <a:lnTo>
                    <a:pt x="136" y="313"/>
                  </a:lnTo>
                  <a:lnTo>
                    <a:pt x="143" y="318"/>
                  </a:lnTo>
                  <a:lnTo>
                    <a:pt x="143" y="327"/>
                  </a:lnTo>
                  <a:lnTo>
                    <a:pt x="143" y="329"/>
                  </a:lnTo>
                  <a:lnTo>
                    <a:pt x="143" y="329"/>
                  </a:lnTo>
                  <a:lnTo>
                    <a:pt x="153" y="327"/>
                  </a:lnTo>
                  <a:lnTo>
                    <a:pt x="164" y="339"/>
                  </a:lnTo>
                  <a:lnTo>
                    <a:pt x="160" y="346"/>
                  </a:lnTo>
                  <a:lnTo>
                    <a:pt x="164" y="352"/>
                  </a:lnTo>
                  <a:lnTo>
                    <a:pt x="168" y="350"/>
                  </a:lnTo>
                  <a:lnTo>
                    <a:pt x="176" y="348"/>
                  </a:lnTo>
                  <a:lnTo>
                    <a:pt x="198" y="357"/>
                  </a:lnTo>
                  <a:lnTo>
                    <a:pt x="216" y="345"/>
                  </a:lnTo>
                  <a:lnTo>
                    <a:pt x="210" y="332"/>
                  </a:lnTo>
                  <a:lnTo>
                    <a:pt x="230" y="320"/>
                  </a:lnTo>
                  <a:lnTo>
                    <a:pt x="237" y="320"/>
                  </a:lnTo>
                  <a:lnTo>
                    <a:pt x="260" y="302"/>
                  </a:lnTo>
                  <a:lnTo>
                    <a:pt x="246" y="284"/>
                  </a:lnTo>
                  <a:lnTo>
                    <a:pt x="240" y="288"/>
                  </a:lnTo>
                  <a:lnTo>
                    <a:pt x="237" y="282"/>
                  </a:lnTo>
                  <a:lnTo>
                    <a:pt x="223" y="289"/>
                  </a:lnTo>
                  <a:lnTo>
                    <a:pt x="224" y="295"/>
                  </a:lnTo>
                  <a:lnTo>
                    <a:pt x="219" y="298"/>
                  </a:lnTo>
                  <a:lnTo>
                    <a:pt x="216" y="291"/>
                  </a:lnTo>
                  <a:lnTo>
                    <a:pt x="208" y="288"/>
                  </a:lnTo>
                  <a:lnTo>
                    <a:pt x="203" y="289"/>
                  </a:lnTo>
                  <a:lnTo>
                    <a:pt x="201" y="286"/>
                  </a:lnTo>
                  <a:lnTo>
                    <a:pt x="200" y="284"/>
                  </a:lnTo>
                  <a:lnTo>
                    <a:pt x="205" y="282"/>
                  </a:lnTo>
                  <a:lnTo>
                    <a:pt x="203" y="281"/>
                  </a:lnTo>
                  <a:lnTo>
                    <a:pt x="203" y="279"/>
                  </a:lnTo>
                  <a:lnTo>
                    <a:pt x="203" y="277"/>
                  </a:lnTo>
                  <a:lnTo>
                    <a:pt x="207" y="272"/>
                  </a:lnTo>
                  <a:lnTo>
                    <a:pt x="214" y="266"/>
                  </a:lnTo>
                  <a:lnTo>
                    <a:pt x="219" y="257"/>
                  </a:lnTo>
                  <a:lnTo>
                    <a:pt x="228" y="256"/>
                  </a:lnTo>
                  <a:lnTo>
                    <a:pt x="237" y="256"/>
                  </a:lnTo>
                  <a:lnTo>
                    <a:pt x="239" y="256"/>
                  </a:lnTo>
                  <a:lnTo>
                    <a:pt x="235" y="241"/>
                  </a:lnTo>
                  <a:lnTo>
                    <a:pt x="244" y="231"/>
                  </a:lnTo>
                  <a:lnTo>
                    <a:pt x="246" y="224"/>
                  </a:lnTo>
                  <a:lnTo>
                    <a:pt x="248" y="218"/>
                  </a:lnTo>
                  <a:lnTo>
                    <a:pt x="248" y="215"/>
                  </a:lnTo>
                  <a:lnTo>
                    <a:pt x="246" y="208"/>
                  </a:lnTo>
                  <a:lnTo>
                    <a:pt x="244" y="202"/>
                  </a:lnTo>
                  <a:lnTo>
                    <a:pt x="240" y="195"/>
                  </a:lnTo>
                  <a:lnTo>
                    <a:pt x="240" y="186"/>
                  </a:lnTo>
                  <a:lnTo>
                    <a:pt x="240" y="185"/>
                  </a:lnTo>
                  <a:lnTo>
                    <a:pt x="242" y="183"/>
                  </a:lnTo>
                  <a:lnTo>
                    <a:pt x="244" y="179"/>
                  </a:lnTo>
                  <a:lnTo>
                    <a:pt x="264" y="190"/>
                  </a:lnTo>
                  <a:lnTo>
                    <a:pt x="272" y="201"/>
                  </a:lnTo>
                  <a:lnTo>
                    <a:pt x="288" y="209"/>
                  </a:lnTo>
                  <a:lnTo>
                    <a:pt x="288" y="215"/>
                  </a:lnTo>
                  <a:lnTo>
                    <a:pt x="288" y="218"/>
                  </a:lnTo>
                  <a:lnTo>
                    <a:pt x="288" y="220"/>
                  </a:lnTo>
                  <a:lnTo>
                    <a:pt x="290" y="227"/>
                  </a:lnTo>
                  <a:lnTo>
                    <a:pt x="297" y="224"/>
                  </a:lnTo>
                  <a:lnTo>
                    <a:pt x="303" y="229"/>
                  </a:lnTo>
                  <a:lnTo>
                    <a:pt x="308" y="225"/>
                  </a:lnTo>
                  <a:lnTo>
                    <a:pt x="317" y="236"/>
                  </a:lnTo>
                  <a:lnTo>
                    <a:pt x="324" y="234"/>
                  </a:lnTo>
                  <a:lnTo>
                    <a:pt x="336" y="245"/>
                  </a:lnTo>
                  <a:lnTo>
                    <a:pt x="347" y="234"/>
                  </a:lnTo>
                  <a:lnTo>
                    <a:pt x="344" y="225"/>
                  </a:lnTo>
                  <a:lnTo>
                    <a:pt x="349" y="206"/>
                  </a:lnTo>
                  <a:lnTo>
                    <a:pt x="340" y="197"/>
                  </a:lnTo>
                  <a:lnTo>
                    <a:pt x="367" y="165"/>
                  </a:lnTo>
                  <a:lnTo>
                    <a:pt x="352" y="161"/>
                  </a:lnTo>
                  <a:lnTo>
                    <a:pt x="338" y="161"/>
                  </a:lnTo>
                  <a:lnTo>
                    <a:pt x="338" y="161"/>
                  </a:lnTo>
                  <a:lnTo>
                    <a:pt x="338" y="16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Freeform 103"/>
            <p:cNvSpPr>
              <a:spLocks/>
            </p:cNvSpPr>
            <p:nvPr/>
          </p:nvSpPr>
          <p:spPr bwMode="auto">
            <a:xfrm>
              <a:off x="1191248" y="2111737"/>
              <a:ext cx="248722" cy="172851"/>
            </a:xfrm>
            <a:custGeom>
              <a:avLst/>
              <a:gdLst>
                <a:gd name="T0" fmla="*/ 429 w 436"/>
                <a:gd name="T1" fmla="*/ 240 h 303"/>
                <a:gd name="T2" fmla="*/ 420 w 436"/>
                <a:gd name="T3" fmla="*/ 210 h 303"/>
                <a:gd name="T4" fmla="*/ 393 w 436"/>
                <a:gd name="T5" fmla="*/ 182 h 303"/>
                <a:gd name="T6" fmla="*/ 381 w 436"/>
                <a:gd name="T7" fmla="*/ 169 h 303"/>
                <a:gd name="T8" fmla="*/ 368 w 436"/>
                <a:gd name="T9" fmla="*/ 175 h 303"/>
                <a:gd name="T10" fmla="*/ 361 w 436"/>
                <a:gd name="T11" fmla="*/ 184 h 303"/>
                <a:gd name="T12" fmla="*/ 356 w 436"/>
                <a:gd name="T13" fmla="*/ 208 h 303"/>
                <a:gd name="T14" fmla="*/ 333 w 436"/>
                <a:gd name="T15" fmla="*/ 214 h 303"/>
                <a:gd name="T16" fmla="*/ 320 w 436"/>
                <a:gd name="T17" fmla="*/ 223 h 303"/>
                <a:gd name="T18" fmla="*/ 311 w 436"/>
                <a:gd name="T19" fmla="*/ 212 h 303"/>
                <a:gd name="T20" fmla="*/ 320 w 436"/>
                <a:gd name="T21" fmla="*/ 201 h 303"/>
                <a:gd name="T22" fmla="*/ 327 w 436"/>
                <a:gd name="T23" fmla="*/ 192 h 303"/>
                <a:gd name="T24" fmla="*/ 304 w 436"/>
                <a:gd name="T25" fmla="*/ 184 h 303"/>
                <a:gd name="T26" fmla="*/ 279 w 436"/>
                <a:gd name="T27" fmla="*/ 180 h 303"/>
                <a:gd name="T28" fmla="*/ 258 w 436"/>
                <a:gd name="T29" fmla="*/ 169 h 303"/>
                <a:gd name="T30" fmla="*/ 237 w 436"/>
                <a:gd name="T31" fmla="*/ 169 h 303"/>
                <a:gd name="T32" fmla="*/ 215 w 436"/>
                <a:gd name="T33" fmla="*/ 155 h 303"/>
                <a:gd name="T34" fmla="*/ 219 w 436"/>
                <a:gd name="T35" fmla="*/ 152 h 303"/>
                <a:gd name="T36" fmla="*/ 231 w 436"/>
                <a:gd name="T37" fmla="*/ 153 h 303"/>
                <a:gd name="T38" fmla="*/ 244 w 436"/>
                <a:gd name="T39" fmla="*/ 136 h 303"/>
                <a:gd name="T40" fmla="*/ 231 w 436"/>
                <a:gd name="T41" fmla="*/ 127 h 303"/>
                <a:gd name="T42" fmla="*/ 135 w 436"/>
                <a:gd name="T43" fmla="*/ 112 h 303"/>
                <a:gd name="T44" fmla="*/ 112 w 436"/>
                <a:gd name="T45" fmla="*/ 107 h 303"/>
                <a:gd name="T46" fmla="*/ 96 w 436"/>
                <a:gd name="T47" fmla="*/ 121 h 303"/>
                <a:gd name="T48" fmla="*/ 82 w 436"/>
                <a:gd name="T49" fmla="*/ 127 h 303"/>
                <a:gd name="T50" fmla="*/ 64 w 436"/>
                <a:gd name="T51" fmla="*/ 114 h 303"/>
                <a:gd name="T52" fmla="*/ 61 w 436"/>
                <a:gd name="T53" fmla="*/ 93 h 303"/>
                <a:gd name="T54" fmla="*/ 64 w 436"/>
                <a:gd name="T55" fmla="*/ 70 h 303"/>
                <a:gd name="T56" fmla="*/ 84 w 436"/>
                <a:gd name="T57" fmla="*/ 66 h 303"/>
                <a:gd name="T58" fmla="*/ 103 w 436"/>
                <a:gd name="T59" fmla="*/ 80 h 303"/>
                <a:gd name="T60" fmla="*/ 116 w 436"/>
                <a:gd name="T61" fmla="*/ 61 h 303"/>
                <a:gd name="T62" fmla="*/ 112 w 436"/>
                <a:gd name="T63" fmla="*/ 38 h 303"/>
                <a:gd name="T64" fmla="*/ 98 w 436"/>
                <a:gd name="T65" fmla="*/ 16 h 303"/>
                <a:gd name="T66" fmla="*/ 91 w 436"/>
                <a:gd name="T67" fmla="*/ 9 h 303"/>
                <a:gd name="T68" fmla="*/ 87 w 436"/>
                <a:gd name="T69" fmla="*/ 34 h 303"/>
                <a:gd name="T70" fmla="*/ 43 w 436"/>
                <a:gd name="T71" fmla="*/ 59 h 303"/>
                <a:gd name="T72" fmla="*/ 34 w 436"/>
                <a:gd name="T73" fmla="*/ 82 h 303"/>
                <a:gd name="T74" fmla="*/ 7 w 436"/>
                <a:gd name="T75" fmla="*/ 96 h 303"/>
                <a:gd name="T76" fmla="*/ 0 w 436"/>
                <a:gd name="T77" fmla="*/ 112 h 303"/>
                <a:gd name="T78" fmla="*/ 41 w 436"/>
                <a:gd name="T79" fmla="*/ 176 h 303"/>
                <a:gd name="T80" fmla="*/ 135 w 436"/>
                <a:gd name="T81" fmla="*/ 189 h 303"/>
                <a:gd name="T82" fmla="*/ 148 w 436"/>
                <a:gd name="T83" fmla="*/ 184 h 303"/>
                <a:gd name="T84" fmla="*/ 182 w 436"/>
                <a:gd name="T85" fmla="*/ 210 h 303"/>
                <a:gd name="T86" fmla="*/ 311 w 436"/>
                <a:gd name="T87" fmla="*/ 303 h 303"/>
                <a:gd name="T88" fmla="*/ 340 w 436"/>
                <a:gd name="T89" fmla="*/ 303 h 303"/>
                <a:gd name="T90" fmla="*/ 352 w 436"/>
                <a:gd name="T91" fmla="*/ 294 h 303"/>
                <a:gd name="T92" fmla="*/ 375 w 436"/>
                <a:gd name="T93" fmla="*/ 290 h 303"/>
                <a:gd name="T94" fmla="*/ 383 w 436"/>
                <a:gd name="T95" fmla="*/ 283 h 303"/>
                <a:gd name="T96" fmla="*/ 402 w 436"/>
                <a:gd name="T97" fmla="*/ 276 h 303"/>
                <a:gd name="T98" fmla="*/ 420 w 436"/>
                <a:gd name="T99" fmla="*/ 280 h 303"/>
                <a:gd name="T100" fmla="*/ 420 w 436"/>
                <a:gd name="T101" fmla="*/ 260 h 303"/>
                <a:gd name="T102" fmla="*/ 413 w 436"/>
                <a:gd name="T103" fmla="*/ 249 h 303"/>
                <a:gd name="T104" fmla="*/ 413 w 436"/>
                <a:gd name="T105" fmla="*/ 249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6" h="303">
                  <a:moveTo>
                    <a:pt x="413" y="249"/>
                  </a:moveTo>
                  <a:lnTo>
                    <a:pt x="413" y="246"/>
                  </a:lnTo>
                  <a:lnTo>
                    <a:pt x="415" y="244"/>
                  </a:lnTo>
                  <a:lnTo>
                    <a:pt x="429" y="240"/>
                  </a:lnTo>
                  <a:lnTo>
                    <a:pt x="436" y="237"/>
                  </a:lnTo>
                  <a:lnTo>
                    <a:pt x="429" y="223"/>
                  </a:lnTo>
                  <a:lnTo>
                    <a:pt x="423" y="217"/>
                  </a:lnTo>
                  <a:lnTo>
                    <a:pt x="420" y="210"/>
                  </a:lnTo>
                  <a:lnTo>
                    <a:pt x="409" y="200"/>
                  </a:lnTo>
                  <a:lnTo>
                    <a:pt x="399" y="191"/>
                  </a:lnTo>
                  <a:lnTo>
                    <a:pt x="395" y="187"/>
                  </a:lnTo>
                  <a:lnTo>
                    <a:pt x="393" y="182"/>
                  </a:lnTo>
                  <a:lnTo>
                    <a:pt x="390" y="176"/>
                  </a:lnTo>
                  <a:lnTo>
                    <a:pt x="388" y="171"/>
                  </a:lnTo>
                  <a:lnTo>
                    <a:pt x="383" y="169"/>
                  </a:lnTo>
                  <a:lnTo>
                    <a:pt x="381" y="169"/>
                  </a:lnTo>
                  <a:lnTo>
                    <a:pt x="379" y="171"/>
                  </a:lnTo>
                  <a:lnTo>
                    <a:pt x="377" y="173"/>
                  </a:lnTo>
                  <a:lnTo>
                    <a:pt x="375" y="175"/>
                  </a:lnTo>
                  <a:lnTo>
                    <a:pt x="368" y="175"/>
                  </a:lnTo>
                  <a:lnTo>
                    <a:pt x="368" y="175"/>
                  </a:lnTo>
                  <a:lnTo>
                    <a:pt x="363" y="176"/>
                  </a:lnTo>
                  <a:lnTo>
                    <a:pt x="363" y="178"/>
                  </a:lnTo>
                  <a:lnTo>
                    <a:pt x="361" y="184"/>
                  </a:lnTo>
                  <a:lnTo>
                    <a:pt x="359" y="194"/>
                  </a:lnTo>
                  <a:lnTo>
                    <a:pt x="359" y="201"/>
                  </a:lnTo>
                  <a:lnTo>
                    <a:pt x="358" y="205"/>
                  </a:lnTo>
                  <a:lnTo>
                    <a:pt x="356" y="208"/>
                  </a:lnTo>
                  <a:lnTo>
                    <a:pt x="351" y="210"/>
                  </a:lnTo>
                  <a:lnTo>
                    <a:pt x="345" y="214"/>
                  </a:lnTo>
                  <a:lnTo>
                    <a:pt x="336" y="214"/>
                  </a:lnTo>
                  <a:lnTo>
                    <a:pt x="333" y="214"/>
                  </a:lnTo>
                  <a:lnTo>
                    <a:pt x="331" y="214"/>
                  </a:lnTo>
                  <a:lnTo>
                    <a:pt x="329" y="216"/>
                  </a:lnTo>
                  <a:lnTo>
                    <a:pt x="327" y="219"/>
                  </a:lnTo>
                  <a:lnTo>
                    <a:pt x="320" y="223"/>
                  </a:lnTo>
                  <a:lnTo>
                    <a:pt x="319" y="223"/>
                  </a:lnTo>
                  <a:lnTo>
                    <a:pt x="317" y="221"/>
                  </a:lnTo>
                  <a:lnTo>
                    <a:pt x="313" y="217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3" y="205"/>
                  </a:lnTo>
                  <a:lnTo>
                    <a:pt x="315" y="203"/>
                  </a:lnTo>
                  <a:lnTo>
                    <a:pt x="320" y="201"/>
                  </a:lnTo>
                  <a:lnTo>
                    <a:pt x="326" y="200"/>
                  </a:lnTo>
                  <a:lnTo>
                    <a:pt x="327" y="196"/>
                  </a:lnTo>
                  <a:lnTo>
                    <a:pt x="327" y="194"/>
                  </a:lnTo>
                  <a:lnTo>
                    <a:pt x="327" y="192"/>
                  </a:lnTo>
                  <a:lnTo>
                    <a:pt x="322" y="191"/>
                  </a:lnTo>
                  <a:lnTo>
                    <a:pt x="319" y="189"/>
                  </a:lnTo>
                  <a:lnTo>
                    <a:pt x="311" y="187"/>
                  </a:lnTo>
                  <a:lnTo>
                    <a:pt x="304" y="184"/>
                  </a:lnTo>
                  <a:lnTo>
                    <a:pt x="290" y="184"/>
                  </a:lnTo>
                  <a:lnTo>
                    <a:pt x="285" y="184"/>
                  </a:lnTo>
                  <a:lnTo>
                    <a:pt x="281" y="184"/>
                  </a:lnTo>
                  <a:lnTo>
                    <a:pt x="279" y="180"/>
                  </a:lnTo>
                  <a:lnTo>
                    <a:pt x="278" y="176"/>
                  </a:lnTo>
                  <a:lnTo>
                    <a:pt x="272" y="173"/>
                  </a:lnTo>
                  <a:lnTo>
                    <a:pt x="265" y="171"/>
                  </a:lnTo>
                  <a:lnTo>
                    <a:pt x="258" y="169"/>
                  </a:lnTo>
                  <a:lnTo>
                    <a:pt x="251" y="169"/>
                  </a:lnTo>
                  <a:lnTo>
                    <a:pt x="246" y="169"/>
                  </a:lnTo>
                  <a:lnTo>
                    <a:pt x="239" y="171"/>
                  </a:lnTo>
                  <a:lnTo>
                    <a:pt x="237" y="169"/>
                  </a:lnTo>
                  <a:lnTo>
                    <a:pt x="235" y="169"/>
                  </a:lnTo>
                  <a:lnTo>
                    <a:pt x="230" y="162"/>
                  </a:lnTo>
                  <a:lnTo>
                    <a:pt x="224" y="157"/>
                  </a:lnTo>
                  <a:lnTo>
                    <a:pt x="215" y="155"/>
                  </a:lnTo>
                  <a:lnTo>
                    <a:pt x="215" y="153"/>
                  </a:lnTo>
                  <a:lnTo>
                    <a:pt x="215" y="152"/>
                  </a:lnTo>
                  <a:lnTo>
                    <a:pt x="219" y="152"/>
                  </a:lnTo>
                  <a:lnTo>
                    <a:pt x="219" y="152"/>
                  </a:lnTo>
                  <a:lnTo>
                    <a:pt x="226" y="153"/>
                  </a:lnTo>
                  <a:lnTo>
                    <a:pt x="228" y="155"/>
                  </a:lnTo>
                  <a:lnTo>
                    <a:pt x="230" y="153"/>
                  </a:lnTo>
                  <a:lnTo>
                    <a:pt x="231" y="153"/>
                  </a:lnTo>
                  <a:lnTo>
                    <a:pt x="233" y="150"/>
                  </a:lnTo>
                  <a:lnTo>
                    <a:pt x="235" y="146"/>
                  </a:lnTo>
                  <a:lnTo>
                    <a:pt x="244" y="137"/>
                  </a:lnTo>
                  <a:lnTo>
                    <a:pt x="244" y="136"/>
                  </a:lnTo>
                  <a:lnTo>
                    <a:pt x="246" y="134"/>
                  </a:lnTo>
                  <a:lnTo>
                    <a:pt x="244" y="132"/>
                  </a:lnTo>
                  <a:lnTo>
                    <a:pt x="239" y="128"/>
                  </a:lnTo>
                  <a:lnTo>
                    <a:pt x="231" y="127"/>
                  </a:lnTo>
                  <a:lnTo>
                    <a:pt x="219" y="127"/>
                  </a:lnTo>
                  <a:lnTo>
                    <a:pt x="207" y="121"/>
                  </a:lnTo>
                  <a:lnTo>
                    <a:pt x="187" y="118"/>
                  </a:lnTo>
                  <a:lnTo>
                    <a:pt x="135" y="112"/>
                  </a:lnTo>
                  <a:lnTo>
                    <a:pt x="130" y="112"/>
                  </a:lnTo>
                  <a:lnTo>
                    <a:pt x="123" y="109"/>
                  </a:lnTo>
                  <a:lnTo>
                    <a:pt x="114" y="107"/>
                  </a:lnTo>
                  <a:lnTo>
                    <a:pt x="112" y="107"/>
                  </a:lnTo>
                  <a:lnTo>
                    <a:pt x="111" y="109"/>
                  </a:lnTo>
                  <a:lnTo>
                    <a:pt x="107" y="111"/>
                  </a:lnTo>
                  <a:lnTo>
                    <a:pt x="105" y="114"/>
                  </a:lnTo>
                  <a:lnTo>
                    <a:pt x="96" y="121"/>
                  </a:lnTo>
                  <a:lnTo>
                    <a:pt x="93" y="127"/>
                  </a:lnTo>
                  <a:lnTo>
                    <a:pt x="89" y="128"/>
                  </a:lnTo>
                  <a:lnTo>
                    <a:pt x="87" y="128"/>
                  </a:lnTo>
                  <a:lnTo>
                    <a:pt x="82" y="127"/>
                  </a:lnTo>
                  <a:lnTo>
                    <a:pt x="73" y="120"/>
                  </a:lnTo>
                  <a:lnTo>
                    <a:pt x="70" y="118"/>
                  </a:lnTo>
                  <a:lnTo>
                    <a:pt x="66" y="118"/>
                  </a:lnTo>
                  <a:lnTo>
                    <a:pt x="64" y="114"/>
                  </a:lnTo>
                  <a:lnTo>
                    <a:pt x="61" y="109"/>
                  </a:lnTo>
                  <a:lnTo>
                    <a:pt x="61" y="105"/>
                  </a:lnTo>
                  <a:lnTo>
                    <a:pt x="61" y="100"/>
                  </a:lnTo>
                  <a:lnTo>
                    <a:pt x="61" y="93"/>
                  </a:lnTo>
                  <a:lnTo>
                    <a:pt x="63" y="86"/>
                  </a:lnTo>
                  <a:lnTo>
                    <a:pt x="63" y="77"/>
                  </a:lnTo>
                  <a:lnTo>
                    <a:pt x="64" y="72"/>
                  </a:lnTo>
                  <a:lnTo>
                    <a:pt x="64" y="70"/>
                  </a:lnTo>
                  <a:lnTo>
                    <a:pt x="66" y="68"/>
                  </a:lnTo>
                  <a:lnTo>
                    <a:pt x="71" y="66"/>
                  </a:lnTo>
                  <a:lnTo>
                    <a:pt x="77" y="66"/>
                  </a:lnTo>
                  <a:lnTo>
                    <a:pt x="84" y="66"/>
                  </a:lnTo>
                  <a:lnTo>
                    <a:pt x="91" y="72"/>
                  </a:lnTo>
                  <a:lnTo>
                    <a:pt x="96" y="77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7" y="79"/>
                  </a:lnTo>
                  <a:lnTo>
                    <a:pt x="111" y="75"/>
                  </a:lnTo>
                  <a:lnTo>
                    <a:pt x="112" y="70"/>
                  </a:lnTo>
                  <a:lnTo>
                    <a:pt x="116" y="61"/>
                  </a:lnTo>
                  <a:lnTo>
                    <a:pt x="118" y="54"/>
                  </a:lnTo>
                  <a:lnTo>
                    <a:pt x="116" y="47"/>
                  </a:lnTo>
                  <a:lnTo>
                    <a:pt x="114" y="40"/>
                  </a:lnTo>
                  <a:lnTo>
                    <a:pt x="112" y="38"/>
                  </a:lnTo>
                  <a:lnTo>
                    <a:pt x="107" y="29"/>
                  </a:lnTo>
                  <a:lnTo>
                    <a:pt x="102" y="22"/>
                  </a:lnTo>
                  <a:lnTo>
                    <a:pt x="98" y="18"/>
                  </a:lnTo>
                  <a:lnTo>
                    <a:pt x="98" y="16"/>
                  </a:lnTo>
                  <a:lnTo>
                    <a:pt x="95" y="6"/>
                  </a:lnTo>
                  <a:lnTo>
                    <a:pt x="95" y="0"/>
                  </a:lnTo>
                  <a:lnTo>
                    <a:pt x="93" y="0"/>
                  </a:lnTo>
                  <a:lnTo>
                    <a:pt x="91" y="9"/>
                  </a:lnTo>
                  <a:lnTo>
                    <a:pt x="91" y="16"/>
                  </a:lnTo>
                  <a:lnTo>
                    <a:pt x="89" y="27"/>
                  </a:lnTo>
                  <a:lnTo>
                    <a:pt x="89" y="31"/>
                  </a:lnTo>
                  <a:lnTo>
                    <a:pt x="87" y="34"/>
                  </a:lnTo>
                  <a:lnTo>
                    <a:pt x="75" y="40"/>
                  </a:lnTo>
                  <a:lnTo>
                    <a:pt x="61" y="48"/>
                  </a:lnTo>
                  <a:lnTo>
                    <a:pt x="47" y="56"/>
                  </a:lnTo>
                  <a:lnTo>
                    <a:pt x="43" y="59"/>
                  </a:lnTo>
                  <a:lnTo>
                    <a:pt x="41" y="61"/>
                  </a:lnTo>
                  <a:lnTo>
                    <a:pt x="39" y="73"/>
                  </a:lnTo>
                  <a:lnTo>
                    <a:pt x="39" y="79"/>
                  </a:lnTo>
                  <a:lnTo>
                    <a:pt x="34" y="82"/>
                  </a:lnTo>
                  <a:lnTo>
                    <a:pt x="31" y="86"/>
                  </a:lnTo>
                  <a:lnTo>
                    <a:pt x="27" y="89"/>
                  </a:lnTo>
                  <a:lnTo>
                    <a:pt x="20" y="93"/>
                  </a:lnTo>
                  <a:lnTo>
                    <a:pt x="7" y="96"/>
                  </a:lnTo>
                  <a:lnTo>
                    <a:pt x="4" y="100"/>
                  </a:lnTo>
                  <a:lnTo>
                    <a:pt x="2" y="105"/>
                  </a:lnTo>
                  <a:lnTo>
                    <a:pt x="0" y="105"/>
                  </a:lnTo>
                  <a:lnTo>
                    <a:pt x="0" y="112"/>
                  </a:lnTo>
                  <a:lnTo>
                    <a:pt x="2" y="127"/>
                  </a:lnTo>
                  <a:lnTo>
                    <a:pt x="9" y="148"/>
                  </a:lnTo>
                  <a:lnTo>
                    <a:pt x="22" y="168"/>
                  </a:lnTo>
                  <a:lnTo>
                    <a:pt x="41" y="176"/>
                  </a:lnTo>
                  <a:lnTo>
                    <a:pt x="55" y="176"/>
                  </a:lnTo>
                  <a:lnTo>
                    <a:pt x="70" y="180"/>
                  </a:lnTo>
                  <a:lnTo>
                    <a:pt x="71" y="178"/>
                  </a:lnTo>
                  <a:lnTo>
                    <a:pt x="135" y="189"/>
                  </a:lnTo>
                  <a:lnTo>
                    <a:pt x="139" y="184"/>
                  </a:lnTo>
                  <a:lnTo>
                    <a:pt x="144" y="184"/>
                  </a:lnTo>
                  <a:lnTo>
                    <a:pt x="144" y="184"/>
                  </a:lnTo>
                  <a:lnTo>
                    <a:pt x="148" y="184"/>
                  </a:lnTo>
                  <a:lnTo>
                    <a:pt x="151" y="187"/>
                  </a:lnTo>
                  <a:lnTo>
                    <a:pt x="157" y="187"/>
                  </a:lnTo>
                  <a:lnTo>
                    <a:pt x="169" y="198"/>
                  </a:lnTo>
                  <a:lnTo>
                    <a:pt x="182" y="210"/>
                  </a:lnTo>
                  <a:lnTo>
                    <a:pt x="192" y="221"/>
                  </a:lnTo>
                  <a:lnTo>
                    <a:pt x="251" y="264"/>
                  </a:lnTo>
                  <a:lnTo>
                    <a:pt x="288" y="290"/>
                  </a:lnTo>
                  <a:lnTo>
                    <a:pt x="311" y="303"/>
                  </a:lnTo>
                  <a:lnTo>
                    <a:pt x="319" y="301"/>
                  </a:lnTo>
                  <a:lnTo>
                    <a:pt x="326" y="301"/>
                  </a:lnTo>
                  <a:lnTo>
                    <a:pt x="333" y="303"/>
                  </a:lnTo>
                  <a:lnTo>
                    <a:pt x="340" y="303"/>
                  </a:lnTo>
                  <a:lnTo>
                    <a:pt x="345" y="301"/>
                  </a:lnTo>
                  <a:lnTo>
                    <a:pt x="345" y="301"/>
                  </a:lnTo>
                  <a:lnTo>
                    <a:pt x="351" y="296"/>
                  </a:lnTo>
                  <a:lnTo>
                    <a:pt x="352" y="294"/>
                  </a:lnTo>
                  <a:lnTo>
                    <a:pt x="356" y="292"/>
                  </a:lnTo>
                  <a:lnTo>
                    <a:pt x="368" y="290"/>
                  </a:lnTo>
                  <a:lnTo>
                    <a:pt x="374" y="290"/>
                  </a:lnTo>
                  <a:lnTo>
                    <a:pt x="375" y="290"/>
                  </a:lnTo>
                  <a:lnTo>
                    <a:pt x="375" y="285"/>
                  </a:lnTo>
                  <a:lnTo>
                    <a:pt x="379" y="285"/>
                  </a:lnTo>
                  <a:lnTo>
                    <a:pt x="381" y="283"/>
                  </a:lnTo>
                  <a:lnTo>
                    <a:pt x="383" y="283"/>
                  </a:lnTo>
                  <a:lnTo>
                    <a:pt x="390" y="281"/>
                  </a:lnTo>
                  <a:lnTo>
                    <a:pt x="395" y="278"/>
                  </a:lnTo>
                  <a:lnTo>
                    <a:pt x="400" y="276"/>
                  </a:lnTo>
                  <a:lnTo>
                    <a:pt x="402" y="276"/>
                  </a:lnTo>
                  <a:lnTo>
                    <a:pt x="409" y="278"/>
                  </a:lnTo>
                  <a:lnTo>
                    <a:pt x="416" y="280"/>
                  </a:lnTo>
                  <a:lnTo>
                    <a:pt x="418" y="280"/>
                  </a:lnTo>
                  <a:lnTo>
                    <a:pt x="420" y="280"/>
                  </a:lnTo>
                  <a:lnTo>
                    <a:pt x="420" y="276"/>
                  </a:lnTo>
                  <a:lnTo>
                    <a:pt x="422" y="274"/>
                  </a:lnTo>
                  <a:lnTo>
                    <a:pt x="420" y="265"/>
                  </a:lnTo>
                  <a:lnTo>
                    <a:pt x="420" y="260"/>
                  </a:lnTo>
                  <a:lnTo>
                    <a:pt x="420" y="258"/>
                  </a:lnTo>
                  <a:lnTo>
                    <a:pt x="418" y="256"/>
                  </a:lnTo>
                  <a:lnTo>
                    <a:pt x="415" y="253"/>
                  </a:lnTo>
                  <a:lnTo>
                    <a:pt x="413" y="249"/>
                  </a:lnTo>
                  <a:lnTo>
                    <a:pt x="413" y="249"/>
                  </a:lnTo>
                  <a:lnTo>
                    <a:pt x="413" y="249"/>
                  </a:lnTo>
                  <a:lnTo>
                    <a:pt x="413" y="249"/>
                  </a:lnTo>
                  <a:lnTo>
                    <a:pt x="413" y="24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Freeform 104"/>
            <p:cNvSpPr>
              <a:spLocks/>
            </p:cNvSpPr>
            <p:nvPr/>
          </p:nvSpPr>
          <p:spPr bwMode="auto">
            <a:xfrm>
              <a:off x="681253" y="2632000"/>
              <a:ext cx="42785" cy="30805"/>
            </a:xfrm>
            <a:custGeom>
              <a:avLst/>
              <a:gdLst>
                <a:gd name="T0" fmla="*/ 52 w 75"/>
                <a:gd name="T1" fmla="*/ 36 h 54"/>
                <a:gd name="T2" fmla="*/ 66 w 75"/>
                <a:gd name="T3" fmla="*/ 31 h 54"/>
                <a:gd name="T4" fmla="*/ 75 w 75"/>
                <a:gd name="T5" fmla="*/ 24 h 54"/>
                <a:gd name="T6" fmla="*/ 73 w 75"/>
                <a:gd name="T7" fmla="*/ 20 h 54"/>
                <a:gd name="T8" fmla="*/ 71 w 75"/>
                <a:gd name="T9" fmla="*/ 13 h 54"/>
                <a:gd name="T10" fmla="*/ 68 w 75"/>
                <a:gd name="T11" fmla="*/ 13 h 54"/>
                <a:gd name="T12" fmla="*/ 64 w 75"/>
                <a:gd name="T13" fmla="*/ 15 h 54"/>
                <a:gd name="T14" fmla="*/ 59 w 75"/>
                <a:gd name="T15" fmla="*/ 11 h 54"/>
                <a:gd name="T16" fmla="*/ 59 w 75"/>
                <a:gd name="T17" fmla="*/ 9 h 54"/>
                <a:gd name="T18" fmla="*/ 61 w 75"/>
                <a:gd name="T19" fmla="*/ 6 h 54"/>
                <a:gd name="T20" fmla="*/ 59 w 75"/>
                <a:gd name="T21" fmla="*/ 4 h 54"/>
                <a:gd name="T22" fmla="*/ 57 w 75"/>
                <a:gd name="T23" fmla="*/ 2 h 54"/>
                <a:gd name="T24" fmla="*/ 53 w 75"/>
                <a:gd name="T25" fmla="*/ 4 h 54"/>
                <a:gd name="T26" fmla="*/ 52 w 75"/>
                <a:gd name="T27" fmla="*/ 4 h 54"/>
                <a:gd name="T28" fmla="*/ 50 w 75"/>
                <a:gd name="T29" fmla="*/ 9 h 54"/>
                <a:gd name="T30" fmla="*/ 50 w 75"/>
                <a:gd name="T31" fmla="*/ 11 h 54"/>
                <a:gd name="T32" fmla="*/ 48 w 75"/>
                <a:gd name="T33" fmla="*/ 11 h 54"/>
                <a:gd name="T34" fmla="*/ 46 w 75"/>
                <a:gd name="T35" fmla="*/ 9 h 54"/>
                <a:gd name="T36" fmla="*/ 45 w 75"/>
                <a:gd name="T37" fmla="*/ 4 h 54"/>
                <a:gd name="T38" fmla="*/ 43 w 75"/>
                <a:gd name="T39" fmla="*/ 0 h 54"/>
                <a:gd name="T40" fmla="*/ 43 w 75"/>
                <a:gd name="T41" fmla="*/ 0 h 54"/>
                <a:gd name="T42" fmla="*/ 39 w 75"/>
                <a:gd name="T43" fmla="*/ 4 h 54"/>
                <a:gd name="T44" fmla="*/ 34 w 75"/>
                <a:gd name="T45" fmla="*/ 9 h 54"/>
                <a:gd name="T46" fmla="*/ 32 w 75"/>
                <a:gd name="T47" fmla="*/ 9 h 54"/>
                <a:gd name="T48" fmla="*/ 30 w 75"/>
                <a:gd name="T49" fmla="*/ 9 h 54"/>
                <a:gd name="T50" fmla="*/ 29 w 75"/>
                <a:gd name="T51" fmla="*/ 9 h 54"/>
                <a:gd name="T52" fmla="*/ 25 w 75"/>
                <a:gd name="T53" fmla="*/ 9 h 54"/>
                <a:gd name="T54" fmla="*/ 21 w 75"/>
                <a:gd name="T55" fmla="*/ 9 h 54"/>
                <a:gd name="T56" fmla="*/ 18 w 75"/>
                <a:gd name="T57" fmla="*/ 11 h 54"/>
                <a:gd name="T58" fmla="*/ 16 w 75"/>
                <a:gd name="T59" fmla="*/ 13 h 54"/>
                <a:gd name="T60" fmla="*/ 16 w 75"/>
                <a:gd name="T61" fmla="*/ 15 h 54"/>
                <a:gd name="T62" fmla="*/ 18 w 75"/>
                <a:gd name="T63" fmla="*/ 24 h 54"/>
                <a:gd name="T64" fmla="*/ 18 w 75"/>
                <a:gd name="T65" fmla="*/ 27 h 54"/>
                <a:gd name="T66" fmla="*/ 18 w 75"/>
                <a:gd name="T67" fmla="*/ 32 h 54"/>
                <a:gd name="T68" fmla="*/ 16 w 75"/>
                <a:gd name="T69" fmla="*/ 34 h 54"/>
                <a:gd name="T70" fmla="*/ 11 w 75"/>
                <a:gd name="T71" fmla="*/ 36 h 54"/>
                <a:gd name="T72" fmla="*/ 7 w 75"/>
                <a:gd name="T73" fmla="*/ 34 h 54"/>
                <a:gd name="T74" fmla="*/ 4 w 75"/>
                <a:gd name="T75" fmla="*/ 34 h 54"/>
                <a:gd name="T76" fmla="*/ 0 w 75"/>
                <a:gd name="T77" fmla="*/ 34 h 54"/>
                <a:gd name="T78" fmla="*/ 0 w 75"/>
                <a:gd name="T79" fmla="*/ 36 h 54"/>
                <a:gd name="T80" fmla="*/ 0 w 75"/>
                <a:gd name="T81" fmla="*/ 40 h 54"/>
                <a:gd name="T82" fmla="*/ 0 w 75"/>
                <a:gd name="T83" fmla="*/ 40 h 54"/>
                <a:gd name="T84" fmla="*/ 4 w 75"/>
                <a:gd name="T85" fmla="*/ 41 h 54"/>
                <a:gd name="T86" fmla="*/ 7 w 75"/>
                <a:gd name="T87" fmla="*/ 43 h 54"/>
                <a:gd name="T88" fmla="*/ 7 w 75"/>
                <a:gd name="T89" fmla="*/ 45 h 54"/>
                <a:gd name="T90" fmla="*/ 7 w 75"/>
                <a:gd name="T91" fmla="*/ 47 h 54"/>
                <a:gd name="T92" fmla="*/ 7 w 75"/>
                <a:gd name="T93" fmla="*/ 50 h 54"/>
                <a:gd name="T94" fmla="*/ 9 w 75"/>
                <a:gd name="T95" fmla="*/ 52 h 54"/>
                <a:gd name="T96" fmla="*/ 9 w 75"/>
                <a:gd name="T97" fmla="*/ 54 h 54"/>
                <a:gd name="T98" fmla="*/ 27 w 75"/>
                <a:gd name="T99" fmla="*/ 47 h 54"/>
                <a:gd name="T100" fmla="*/ 52 w 75"/>
                <a:gd name="T101" fmla="*/ 36 h 54"/>
                <a:gd name="T102" fmla="*/ 52 w 75"/>
                <a:gd name="T103" fmla="*/ 36 h 54"/>
                <a:gd name="T104" fmla="*/ 52 w 75"/>
                <a:gd name="T105" fmla="*/ 3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" h="54">
                  <a:moveTo>
                    <a:pt x="52" y="36"/>
                  </a:moveTo>
                  <a:lnTo>
                    <a:pt x="66" y="31"/>
                  </a:lnTo>
                  <a:lnTo>
                    <a:pt x="75" y="24"/>
                  </a:lnTo>
                  <a:lnTo>
                    <a:pt x="73" y="20"/>
                  </a:lnTo>
                  <a:lnTo>
                    <a:pt x="71" y="13"/>
                  </a:lnTo>
                  <a:lnTo>
                    <a:pt x="68" y="13"/>
                  </a:lnTo>
                  <a:lnTo>
                    <a:pt x="64" y="15"/>
                  </a:lnTo>
                  <a:lnTo>
                    <a:pt x="59" y="11"/>
                  </a:lnTo>
                  <a:lnTo>
                    <a:pt x="59" y="9"/>
                  </a:lnTo>
                  <a:lnTo>
                    <a:pt x="61" y="6"/>
                  </a:lnTo>
                  <a:lnTo>
                    <a:pt x="59" y="4"/>
                  </a:lnTo>
                  <a:lnTo>
                    <a:pt x="57" y="2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0" y="9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6" y="9"/>
                  </a:lnTo>
                  <a:lnTo>
                    <a:pt x="45" y="4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4"/>
                  </a:lnTo>
                  <a:lnTo>
                    <a:pt x="34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5" y="9"/>
                  </a:lnTo>
                  <a:lnTo>
                    <a:pt x="21" y="9"/>
                  </a:lnTo>
                  <a:lnTo>
                    <a:pt x="18" y="11"/>
                  </a:lnTo>
                  <a:lnTo>
                    <a:pt x="16" y="13"/>
                  </a:lnTo>
                  <a:lnTo>
                    <a:pt x="16" y="15"/>
                  </a:lnTo>
                  <a:lnTo>
                    <a:pt x="18" y="24"/>
                  </a:lnTo>
                  <a:lnTo>
                    <a:pt x="18" y="27"/>
                  </a:lnTo>
                  <a:lnTo>
                    <a:pt x="18" y="32"/>
                  </a:lnTo>
                  <a:lnTo>
                    <a:pt x="16" y="34"/>
                  </a:lnTo>
                  <a:lnTo>
                    <a:pt x="11" y="36"/>
                  </a:lnTo>
                  <a:lnTo>
                    <a:pt x="7" y="34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1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7" y="47"/>
                  </a:lnTo>
                  <a:lnTo>
                    <a:pt x="7" y="50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27" y="47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Freeform 105"/>
            <p:cNvSpPr>
              <a:spLocks/>
            </p:cNvSpPr>
            <p:nvPr/>
          </p:nvSpPr>
          <p:spPr bwMode="auto">
            <a:xfrm>
              <a:off x="686388" y="2645691"/>
              <a:ext cx="48489" cy="31376"/>
            </a:xfrm>
            <a:custGeom>
              <a:avLst/>
              <a:gdLst>
                <a:gd name="T0" fmla="*/ 82 w 85"/>
                <a:gd name="T1" fmla="*/ 12 h 55"/>
                <a:gd name="T2" fmla="*/ 78 w 85"/>
                <a:gd name="T3" fmla="*/ 14 h 55"/>
                <a:gd name="T4" fmla="*/ 71 w 85"/>
                <a:gd name="T5" fmla="*/ 12 h 55"/>
                <a:gd name="T6" fmla="*/ 69 w 85"/>
                <a:gd name="T7" fmla="*/ 10 h 55"/>
                <a:gd name="T8" fmla="*/ 69 w 85"/>
                <a:gd name="T9" fmla="*/ 8 h 55"/>
                <a:gd name="T10" fmla="*/ 71 w 85"/>
                <a:gd name="T11" fmla="*/ 3 h 55"/>
                <a:gd name="T12" fmla="*/ 66 w 85"/>
                <a:gd name="T13" fmla="*/ 0 h 55"/>
                <a:gd name="T14" fmla="*/ 57 w 85"/>
                <a:gd name="T15" fmla="*/ 7 h 55"/>
                <a:gd name="T16" fmla="*/ 43 w 85"/>
                <a:gd name="T17" fmla="*/ 12 h 55"/>
                <a:gd name="T18" fmla="*/ 18 w 85"/>
                <a:gd name="T19" fmla="*/ 23 h 55"/>
                <a:gd name="T20" fmla="*/ 0 w 85"/>
                <a:gd name="T21" fmla="*/ 30 h 55"/>
                <a:gd name="T22" fmla="*/ 2 w 85"/>
                <a:gd name="T23" fmla="*/ 33 h 55"/>
                <a:gd name="T24" fmla="*/ 2 w 85"/>
                <a:gd name="T25" fmla="*/ 35 h 55"/>
                <a:gd name="T26" fmla="*/ 4 w 85"/>
                <a:gd name="T27" fmla="*/ 39 h 55"/>
                <a:gd name="T28" fmla="*/ 7 w 85"/>
                <a:gd name="T29" fmla="*/ 44 h 55"/>
                <a:gd name="T30" fmla="*/ 7 w 85"/>
                <a:gd name="T31" fmla="*/ 49 h 55"/>
                <a:gd name="T32" fmla="*/ 7 w 85"/>
                <a:gd name="T33" fmla="*/ 55 h 55"/>
                <a:gd name="T34" fmla="*/ 14 w 85"/>
                <a:gd name="T35" fmla="*/ 55 h 55"/>
                <a:gd name="T36" fmla="*/ 21 w 85"/>
                <a:gd name="T37" fmla="*/ 53 h 55"/>
                <a:gd name="T38" fmla="*/ 28 w 85"/>
                <a:gd name="T39" fmla="*/ 53 h 55"/>
                <a:gd name="T40" fmla="*/ 32 w 85"/>
                <a:gd name="T41" fmla="*/ 51 h 55"/>
                <a:gd name="T42" fmla="*/ 36 w 85"/>
                <a:gd name="T43" fmla="*/ 49 h 55"/>
                <a:gd name="T44" fmla="*/ 37 w 85"/>
                <a:gd name="T45" fmla="*/ 49 h 55"/>
                <a:gd name="T46" fmla="*/ 41 w 85"/>
                <a:gd name="T47" fmla="*/ 49 h 55"/>
                <a:gd name="T48" fmla="*/ 43 w 85"/>
                <a:gd name="T49" fmla="*/ 49 h 55"/>
                <a:gd name="T50" fmla="*/ 44 w 85"/>
                <a:gd name="T51" fmla="*/ 53 h 55"/>
                <a:gd name="T52" fmla="*/ 50 w 85"/>
                <a:gd name="T53" fmla="*/ 53 h 55"/>
                <a:gd name="T54" fmla="*/ 52 w 85"/>
                <a:gd name="T55" fmla="*/ 51 h 55"/>
                <a:gd name="T56" fmla="*/ 53 w 85"/>
                <a:gd name="T57" fmla="*/ 48 h 55"/>
                <a:gd name="T58" fmla="*/ 55 w 85"/>
                <a:gd name="T59" fmla="*/ 42 h 55"/>
                <a:gd name="T60" fmla="*/ 59 w 85"/>
                <a:gd name="T61" fmla="*/ 37 h 55"/>
                <a:gd name="T62" fmla="*/ 69 w 85"/>
                <a:gd name="T63" fmla="*/ 30 h 55"/>
                <a:gd name="T64" fmla="*/ 71 w 85"/>
                <a:gd name="T65" fmla="*/ 28 h 55"/>
                <a:gd name="T66" fmla="*/ 75 w 85"/>
                <a:gd name="T67" fmla="*/ 28 h 55"/>
                <a:gd name="T68" fmla="*/ 82 w 85"/>
                <a:gd name="T69" fmla="*/ 28 h 55"/>
                <a:gd name="T70" fmla="*/ 82 w 85"/>
                <a:gd name="T71" fmla="*/ 23 h 55"/>
                <a:gd name="T72" fmla="*/ 85 w 85"/>
                <a:gd name="T73" fmla="*/ 16 h 55"/>
                <a:gd name="T74" fmla="*/ 82 w 85"/>
                <a:gd name="T75" fmla="*/ 12 h 55"/>
                <a:gd name="T76" fmla="*/ 82 w 85"/>
                <a:gd name="T77" fmla="*/ 12 h 55"/>
                <a:gd name="T78" fmla="*/ 82 w 85"/>
                <a:gd name="T79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5" h="55">
                  <a:moveTo>
                    <a:pt x="82" y="12"/>
                  </a:moveTo>
                  <a:lnTo>
                    <a:pt x="78" y="14"/>
                  </a:lnTo>
                  <a:lnTo>
                    <a:pt x="71" y="12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71" y="3"/>
                  </a:lnTo>
                  <a:lnTo>
                    <a:pt x="66" y="0"/>
                  </a:lnTo>
                  <a:lnTo>
                    <a:pt x="57" y="7"/>
                  </a:lnTo>
                  <a:lnTo>
                    <a:pt x="43" y="12"/>
                  </a:lnTo>
                  <a:lnTo>
                    <a:pt x="18" y="23"/>
                  </a:lnTo>
                  <a:lnTo>
                    <a:pt x="0" y="30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4" y="39"/>
                  </a:lnTo>
                  <a:lnTo>
                    <a:pt x="7" y="44"/>
                  </a:lnTo>
                  <a:lnTo>
                    <a:pt x="7" y="49"/>
                  </a:lnTo>
                  <a:lnTo>
                    <a:pt x="7" y="55"/>
                  </a:lnTo>
                  <a:lnTo>
                    <a:pt x="14" y="55"/>
                  </a:lnTo>
                  <a:lnTo>
                    <a:pt x="21" y="53"/>
                  </a:lnTo>
                  <a:lnTo>
                    <a:pt x="28" y="53"/>
                  </a:lnTo>
                  <a:lnTo>
                    <a:pt x="32" y="51"/>
                  </a:lnTo>
                  <a:lnTo>
                    <a:pt x="36" y="49"/>
                  </a:lnTo>
                  <a:lnTo>
                    <a:pt x="37" y="49"/>
                  </a:lnTo>
                  <a:lnTo>
                    <a:pt x="41" y="49"/>
                  </a:lnTo>
                  <a:lnTo>
                    <a:pt x="43" y="49"/>
                  </a:lnTo>
                  <a:lnTo>
                    <a:pt x="44" y="53"/>
                  </a:lnTo>
                  <a:lnTo>
                    <a:pt x="50" y="53"/>
                  </a:lnTo>
                  <a:lnTo>
                    <a:pt x="52" y="51"/>
                  </a:lnTo>
                  <a:lnTo>
                    <a:pt x="53" y="48"/>
                  </a:lnTo>
                  <a:lnTo>
                    <a:pt x="55" y="42"/>
                  </a:lnTo>
                  <a:lnTo>
                    <a:pt x="59" y="37"/>
                  </a:lnTo>
                  <a:lnTo>
                    <a:pt x="69" y="30"/>
                  </a:lnTo>
                  <a:lnTo>
                    <a:pt x="71" y="28"/>
                  </a:lnTo>
                  <a:lnTo>
                    <a:pt x="75" y="28"/>
                  </a:lnTo>
                  <a:lnTo>
                    <a:pt x="82" y="28"/>
                  </a:lnTo>
                  <a:lnTo>
                    <a:pt x="82" y="23"/>
                  </a:lnTo>
                  <a:lnTo>
                    <a:pt x="85" y="16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Freeform 106"/>
            <p:cNvSpPr>
              <a:spLocks/>
            </p:cNvSpPr>
            <p:nvPr/>
          </p:nvSpPr>
          <p:spPr bwMode="auto">
            <a:xfrm>
              <a:off x="888332" y="2087777"/>
              <a:ext cx="117516" cy="116375"/>
            </a:xfrm>
            <a:custGeom>
              <a:avLst/>
              <a:gdLst>
                <a:gd name="T0" fmla="*/ 201 w 206"/>
                <a:gd name="T1" fmla="*/ 137 h 204"/>
                <a:gd name="T2" fmla="*/ 190 w 206"/>
                <a:gd name="T3" fmla="*/ 122 h 204"/>
                <a:gd name="T4" fmla="*/ 179 w 206"/>
                <a:gd name="T5" fmla="*/ 112 h 204"/>
                <a:gd name="T6" fmla="*/ 174 w 206"/>
                <a:gd name="T7" fmla="*/ 112 h 204"/>
                <a:gd name="T8" fmla="*/ 176 w 206"/>
                <a:gd name="T9" fmla="*/ 119 h 204"/>
                <a:gd name="T10" fmla="*/ 172 w 206"/>
                <a:gd name="T11" fmla="*/ 122 h 204"/>
                <a:gd name="T12" fmla="*/ 163 w 206"/>
                <a:gd name="T13" fmla="*/ 115 h 204"/>
                <a:gd name="T14" fmla="*/ 153 w 206"/>
                <a:gd name="T15" fmla="*/ 112 h 204"/>
                <a:gd name="T16" fmla="*/ 135 w 206"/>
                <a:gd name="T17" fmla="*/ 99 h 204"/>
                <a:gd name="T18" fmla="*/ 130 w 206"/>
                <a:gd name="T19" fmla="*/ 39 h 204"/>
                <a:gd name="T20" fmla="*/ 126 w 206"/>
                <a:gd name="T21" fmla="*/ 23 h 204"/>
                <a:gd name="T22" fmla="*/ 128 w 206"/>
                <a:gd name="T23" fmla="*/ 14 h 204"/>
                <a:gd name="T24" fmla="*/ 73 w 206"/>
                <a:gd name="T25" fmla="*/ 2 h 204"/>
                <a:gd name="T26" fmla="*/ 85 w 206"/>
                <a:gd name="T27" fmla="*/ 18 h 204"/>
                <a:gd name="T28" fmla="*/ 83 w 206"/>
                <a:gd name="T29" fmla="*/ 30 h 204"/>
                <a:gd name="T30" fmla="*/ 76 w 206"/>
                <a:gd name="T31" fmla="*/ 42 h 204"/>
                <a:gd name="T32" fmla="*/ 82 w 206"/>
                <a:gd name="T33" fmla="*/ 58 h 204"/>
                <a:gd name="T34" fmla="*/ 74 w 206"/>
                <a:gd name="T35" fmla="*/ 73 h 204"/>
                <a:gd name="T36" fmla="*/ 67 w 206"/>
                <a:gd name="T37" fmla="*/ 58 h 204"/>
                <a:gd name="T38" fmla="*/ 64 w 206"/>
                <a:gd name="T39" fmla="*/ 42 h 204"/>
                <a:gd name="T40" fmla="*/ 50 w 206"/>
                <a:gd name="T41" fmla="*/ 37 h 204"/>
                <a:gd name="T42" fmla="*/ 44 w 206"/>
                <a:gd name="T43" fmla="*/ 32 h 204"/>
                <a:gd name="T44" fmla="*/ 34 w 206"/>
                <a:gd name="T45" fmla="*/ 32 h 204"/>
                <a:gd name="T46" fmla="*/ 25 w 206"/>
                <a:gd name="T47" fmla="*/ 39 h 204"/>
                <a:gd name="T48" fmla="*/ 2 w 206"/>
                <a:gd name="T49" fmla="*/ 39 h 204"/>
                <a:gd name="T50" fmla="*/ 5 w 206"/>
                <a:gd name="T51" fmla="*/ 50 h 204"/>
                <a:gd name="T52" fmla="*/ 3 w 206"/>
                <a:gd name="T53" fmla="*/ 57 h 204"/>
                <a:gd name="T54" fmla="*/ 9 w 206"/>
                <a:gd name="T55" fmla="*/ 71 h 204"/>
                <a:gd name="T56" fmla="*/ 3 w 206"/>
                <a:gd name="T57" fmla="*/ 83 h 204"/>
                <a:gd name="T58" fmla="*/ 2 w 206"/>
                <a:gd name="T59" fmla="*/ 96 h 204"/>
                <a:gd name="T60" fmla="*/ 2 w 206"/>
                <a:gd name="T61" fmla="*/ 106 h 204"/>
                <a:gd name="T62" fmla="*/ 7 w 206"/>
                <a:gd name="T63" fmla="*/ 108 h 204"/>
                <a:gd name="T64" fmla="*/ 10 w 206"/>
                <a:gd name="T65" fmla="*/ 108 h 204"/>
                <a:gd name="T66" fmla="*/ 21 w 206"/>
                <a:gd name="T67" fmla="*/ 103 h 204"/>
                <a:gd name="T68" fmla="*/ 25 w 206"/>
                <a:gd name="T69" fmla="*/ 108 h 204"/>
                <a:gd name="T70" fmla="*/ 34 w 206"/>
                <a:gd name="T71" fmla="*/ 115 h 204"/>
                <a:gd name="T72" fmla="*/ 48 w 206"/>
                <a:gd name="T73" fmla="*/ 117 h 204"/>
                <a:gd name="T74" fmla="*/ 57 w 206"/>
                <a:gd name="T75" fmla="*/ 124 h 204"/>
                <a:gd name="T76" fmla="*/ 67 w 206"/>
                <a:gd name="T77" fmla="*/ 119 h 204"/>
                <a:gd name="T78" fmla="*/ 73 w 206"/>
                <a:gd name="T79" fmla="*/ 135 h 204"/>
                <a:gd name="T80" fmla="*/ 73 w 206"/>
                <a:gd name="T81" fmla="*/ 151 h 204"/>
                <a:gd name="T82" fmla="*/ 82 w 206"/>
                <a:gd name="T83" fmla="*/ 151 h 204"/>
                <a:gd name="T84" fmla="*/ 90 w 206"/>
                <a:gd name="T85" fmla="*/ 154 h 204"/>
                <a:gd name="T86" fmla="*/ 96 w 206"/>
                <a:gd name="T87" fmla="*/ 162 h 204"/>
                <a:gd name="T88" fmla="*/ 98 w 206"/>
                <a:gd name="T89" fmla="*/ 170 h 204"/>
                <a:gd name="T90" fmla="*/ 96 w 206"/>
                <a:gd name="T91" fmla="*/ 179 h 204"/>
                <a:gd name="T92" fmla="*/ 105 w 206"/>
                <a:gd name="T93" fmla="*/ 199 h 204"/>
                <a:gd name="T94" fmla="*/ 114 w 206"/>
                <a:gd name="T95" fmla="*/ 199 h 204"/>
                <a:gd name="T96" fmla="*/ 130 w 206"/>
                <a:gd name="T97" fmla="*/ 202 h 204"/>
                <a:gd name="T98" fmla="*/ 142 w 206"/>
                <a:gd name="T99" fmla="*/ 199 h 204"/>
                <a:gd name="T100" fmla="*/ 146 w 206"/>
                <a:gd name="T101" fmla="*/ 192 h 204"/>
                <a:gd name="T102" fmla="*/ 153 w 206"/>
                <a:gd name="T103" fmla="*/ 178 h 204"/>
                <a:gd name="T104" fmla="*/ 176 w 206"/>
                <a:gd name="T105" fmla="*/ 163 h 204"/>
                <a:gd name="T106" fmla="*/ 188 w 206"/>
                <a:gd name="T107" fmla="*/ 160 h 204"/>
                <a:gd name="T108" fmla="*/ 195 w 206"/>
                <a:gd name="T109" fmla="*/ 158 h 204"/>
                <a:gd name="T110" fmla="*/ 206 w 206"/>
                <a:gd name="T111" fmla="*/ 151 h 204"/>
                <a:gd name="T112" fmla="*/ 206 w 206"/>
                <a:gd name="T113" fmla="*/ 14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6" h="204">
                  <a:moveTo>
                    <a:pt x="206" y="144"/>
                  </a:moveTo>
                  <a:lnTo>
                    <a:pt x="201" y="140"/>
                  </a:lnTo>
                  <a:lnTo>
                    <a:pt x="201" y="137"/>
                  </a:lnTo>
                  <a:lnTo>
                    <a:pt x="194" y="130"/>
                  </a:lnTo>
                  <a:lnTo>
                    <a:pt x="192" y="124"/>
                  </a:lnTo>
                  <a:lnTo>
                    <a:pt x="190" y="122"/>
                  </a:lnTo>
                  <a:lnTo>
                    <a:pt x="190" y="119"/>
                  </a:lnTo>
                  <a:lnTo>
                    <a:pt x="185" y="115"/>
                  </a:lnTo>
                  <a:lnTo>
                    <a:pt x="179" y="112"/>
                  </a:lnTo>
                  <a:lnTo>
                    <a:pt x="176" y="110"/>
                  </a:lnTo>
                  <a:lnTo>
                    <a:pt x="174" y="110"/>
                  </a:lnTo>
                  <a:lnTo>
                    <a:pt x="174" y="112"/>
                  </a:lnTo>
                  <a:lnTo>
                    <a:pt x="174" y="114"/>
                  </a:lnTo>
                  <a:lnTo>
                    <a:pt x="176" y="115"/>
                  </a:lnTo>
                  <a:lnTo>
                    <a:pt x="176" y="119"/>
                  </a:lnTo>
                  <a:lnTo>
                    <a:pt x="174" y="122"/>
                  </a:lnTo>
                  <a:lnTo>
                    <a:pt x="174" y="122"/>
                  </a:lnTo>
                  <a:lnTo>
                    <a:pt x="172" y="122"/>
                  </a:lnTo>
                  <a:lnTo>
                    <a:pt x="169" y="119"/>
                  </a:lnTo>
                  <a:lnTo>
                    <a:pt x="165" y="115"/>
                  </a:lnTo>
                  <a:lnTo>
                    <a:pt x="163" y="115"/>
                  </a:lnTo>
                  <a:lnTo>
                    <a:pt x="160" y="114"/>
                  </a:lnTo>
                  <a:lnTo>
                    <a:pt x="154" y="114"/>
                  </a:lnTo>
                  <a:lnTo>
                    <a:pt x="153" y="112"/>
                  </a:lnTo>
                  <a:lnTo>
                    <a:pt x="147" y="114"/>
                  </a:lnTo>
                  <a:lnTo>
                    <a:pt x="142" y="110"/>
                  </a:lnTo>
                  <a:lnTo>
                    <a:pt x="135" y="99"/>
                  </a:lnTo>
                  <a:lnTo>
                    <a:pt x="131" y="82"/>
                  </a:lnTo>
                  <a:lnTo>
                    <a:pt x="130" y="50"/>
                  </a:lnTo>
                  <a:lnTo>
                    <a:pt x="130" y="39"/>
                  </a:lnTo>
                  <a:lnTo>
                    <a:pt x="130" y="32"/>
                  </a:lnTo>
                  <a:lnTo>
                    <a:pt x="128" y="28"/>
                  </a:lnTo>
                  <a:lnTo>
                    <a:pt x="126" y="23"/>
                  </a:lnTo>
                  <a:lnTo>
                    <a:pt x="126" y="21"/>
                  </a:lnTo>
                  <a:lnTo>
                    <a:pt x="126" y="18"/>
                  </a:lnTo>
                  <a:lnTo>
                    <a:pt x="128" y="14"/>
                  </a:lnTo>
                  <a:lnTo>
                    <a:pt x="82" y="2"/>
                  </a:lnTo>
                  <a:lnTo>
                    <a:pt x="76" y="0"/>
                  </a:lnTo>
                  <a:lnTo>
                    <a:pt x="73" y="2"/>
                  </a:lnTo>
                  <a:lnTo>
                    <a:pt x="82" y="12"/>
                  </a:lnTo>
                  <a:lnTo>
                    <a:pt x="82" y="14"/>
                  </a:lnTo>
                  <a:lnTo>
                    <a:pt x="85" y="18"/>
                  </a:lnTo>
                  <a:lnTo>
                    <a:pt x="85" y="23"/>
                  </a:lnTo>
                  <a:lnTo>
                    <a:pt x="85" y="28"/>
                  </a:lnTo>
                  <a:lnTo>
                    <a:pt x="83" y="30"/>
                  </a:lnTo>
                  <a:lnTo>
                    <a:pt x="78" y="34"/>
                  </a:lnTo>
                  <a:lnTo>
                    <a:pt x="76" y="37"/>
                  </a:lnTo>
                  <a:lnTo>
                    <a:pt x="76" y="42"/>
                  </a:lnTo>
                  <a:lnTo>
                    <a:pt x="78" y="48"/>
                  </a:lnTo>
                  <a:lnTo>
                    <a:pt x="82" y="55"/>
                  </a:lnTo>
                  <a:lnTo>
                    <a:pt x="82" y="58"/>
                  </a:lnTo>
                  <a:lnTo>
                    <a:pt x="82" y="62"/>
                  </a:lnTo>
                  <a:lnTo>
                    <a:pt x="78" y="69"/>
                  </a:lnTo>
                  <a:lnTo>
                    <a:pt x="74" y="73"/>
                  </a:lnTo>
                  <a:lnTo>
                    <a:pt x="71" y="76"/>
                  </a:lnTo>
                  <a:lnTo>
                    <a:pt x="69" y="69"/>
                  </a:lnTo>
                  <a:lnTo>
                    <a:pt x="67" y="58"/>
                  </a:lnTo>
                  <a:lnTo>
                    <a:pt x="66" y="51"/>
                  </a:lnTo>
                  <a:lnTo>
                    <a:pt x="66" y="48"/>
                  </a:lnTo>
                  <a:lnTo>
                    <a:pt x="64" y="42"/>
                  </a:lnTo>
                  <a:lnTo>
                    <a:pt x="62" y="41"/>
                  </a:lnTo>
                  <a:lnTo>
                    <a:pt x="57" y="39"/>
                  </a:lnTo>
                  <a:lnTo>
                    <a:pt x="50" y="37"/>
                  </a:lnTo>
                  <a:lnTo>
                    <a:pt x="48" y="35"/>
                  </a:lnTo>
                  <a:lnTo>
                    <a:pt x="46" y="34"/>
                  </a:lnTo>
                  <a:lnTo>
                    <a:pt x="44" y="32"/>
                  </a:lnTo>
                  <a:lnTo>
                    <a:pt x="41" y="30"/>
                  </a:lnTo>
                  <a:lnTo>
                    <a:pt x="34" y="28"/>
                  </a:lnTo>
                  <a:lnTo>
                    <a:pt x="34" y="32"/>
                  </a:lnTo>
                  <a:lnTo>
                    <a:pt x="32" y="34"/>
                  </a:lnTo>
                  <a:lnTo>
                    <a:pt x="28" y="37"/>
                  </a:lnTo>
                  <a:lnTo>
                    <a:pt x="25" y="39"/>
                  </a:lnTo>
                  <a:lnTo>
                    <a:pt x="21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42"/>
                  </a:lnTo>
                  <a:lnTo>
                    <a:pt x="5" y="46"/>
                  </a:lnTo>
                  <a:lnTo>
                    <a:pt x="5" y="50"/>
                  </a:lnTo>
                  <a:lnTo>
                    <a:pt x="3" y="53"/>
                  </a:lnTo>
                  <a:lnTo>
                    <a:pt x="2" y="55"/>
                  </a:lnTo>
                  <a:lnTo>
                    <a:pt x="3" y="57"/>
                  </a:lnTo>
                  <a:lnTo>
                    <a:pt x="5" y="60"/>
                  </a:lnTo>
                  <a:lnTo>
                    <a:pt x="9" y="64"/>
                  </a:lnTo>
                  <a:lnTo>
                    <a:pt x="9" y="71"/>
                  </a:lnTo>
                  <a:lnTo>
                    <a:pt x="9" y="74"/>
                  </a:lnTo>
                  <a:lnTo>
                    <a:pt x="5" y="82"/>
                  </a:lnTo>
                  <a:lnTo>
                    <a:pt x="3" y="83"/>
                  </a:lnTo>
                  <a:lnTo>
                    <a:pt x="2" y="89"/>
                  </a:lnTo>
                  <a:lnTo>
                    <a:pt x="2" y="92"/>
                  </a:lnTo>
                  <a:lnTo>
                    <a:pt x="2" y="96"/>
                  </a:lnTo>
                  <a:lnTo>
                    <a:pt x="0" y="99"/>
                  </a:lnTo>
                  <a:lnTo>
                    <a:pt x="2" y="103"/>
                  </a:lnTo>
                  <a:lnTo>
                    <a:pt x="2" y="106"/>
                  </a:lnTo>
                  <a:lnTo>
                    <a:pt x="3" y="106"/>
                  </a:lnTo>
                  <a:lnTo>
                    <a:pt x="5" y="108"/>
                  </a:lnTo>
                  <a:lnTo>
                    <a:pt x="7" y="108"/>
                  </a:lnTo>
                  <a:lnTo>
                    <a:pt x="9" y="110"/>
                  </a:lnTo>
                  <a:lnTo>
                    <a:pt x="10" y="110"/>
                  </a:lnTo>
                  <a:lnTo>
                    <a:pt x="10" y="108"/>
                  </a:lnTo>
                  <a:lnTo>
                    <a:pt x="14" y="106"/>
                  </a:lnTo>
                  <a:lnTo>
                    <a:pt x="16" y="103"/>
                  </a:lnTo>
                  <a:lnTo>
                    <a:pt x="21" y="103"/>
                  </a:lnTo>
                  <a:lnTo>
                    <a:pt x="23" y="103"/>
                  </a:lnTo>
                  <a:lnTo>
                    <a:pt x="25" y="103"/>
                  </a:lnTo>
                  <a:lnTo>
                    <a:pt x="25" y="108"/>
                  </a:lnTo>
                  <a:lnTo>
                    <a:pt x="26" y="112"/>
                  </a:lnTo>
                  <a:lnTo>
                    <a:pt x="30" y="115"/>
                  </a:lnTo>
                  <a:lnTo>
                    <a:pt x="34" y="115"/>
                  </a:lnTo>
                  <a:lnTo>
                    <a:pt x="37" y="115"/>
                  </a:lnTo>
                  <a:lnTo>
                    <a:pt x="44" y="115"/>
                  </a:lnTo>
                  <a:lnTo>
                    <a:pt x="48" y="117"/>
                  </a:lnTo>
                  <a:lnTo>
                    <a:pt x="50" y="119"/>
                  </a:lnTo>
                  <a:lnTo>
                    <a:pt x="53" y="122"/>
                  </a:lnTo>
                  <a:lnTo>
                    <a:pt x="57" y="124"/>
                  </a:lnTo>
                  <a:lnTo>
                    <a:pt x="60" y="122"/>
                  </a:lnTo>
                  <a:lnTo>
                    <a:pt x="66" y="119"/>
                  </a:lnTo>
                  <a:lnTo>
                    <a:pt x="67" y="119"/>
                  </a:lnTo>
                  <a:lnTo>
                    <a:pt x="69" y="121"/>
                  </a:lnTo>
                  <a:lnTo>
                    <a:pt x="73" y="130"/>
                  </a:lnTo>
                  <a:lnTo>
                    <a:pt x="73" y="135"/>
                  </a:lnTo>
                  <a:lnTo>
                    <a:pt x="73" y="138"/>
                  </a:lnTo>
                  <a:lnTo>
                    <a:pt x="73" y="149"/>
                  </a:lnTo>
                  <a:lnTo>
                    <a:pt x="73" y="151"/>
                  </a:lnTo>
                  <a:lnTo>
                    <a:pt x="73" y="153"/>
                  </a:lnTo>
                  <a:lnTo>
                    <a:pt x="74" y="153"/>
                  </a:lnTo>
                  <a:lnTo>
                    <a:pt x="82" y="151"/>
                  </a:lnTo>
                  <a:lnTo>
                    <a:pt x="87" y="149"/>
                  </a:lnTo>
                  <a:lnTo>
                    <a:pt x="89" y="151"/>
                  </a:lnTo>
                  <a:lnTo>
                    <a:pt x="90" y="154"/>
                  </a:lnTo>
                  <a:lnTo>
                    <a:pt x="92" y="158"/>
                  </a:lnTo>
                  <a:lnTo>
                    <a:pt x="92" y="160"/>
                  </a:lnTo>
                  <a:lnTo>
                    <a:pt x="96" y="162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70"/>
                  </a:lnTo>
                  <a:lnTo>
                    <a:pt x="96" y="176"/>
                  </a:lnTo>
                  <a:lnTo>
                    <a:pt x="94" y="178"/>
                  </a:lnTo>
                  <a:lnTo>
                    <a:pt x="96" y="179"/>
                  </a:lnTo>
                  <a:lnTo>
                    <a:pt x="101" y="183"/>
                  </a:lnTo>
                  <a:lnTo>
                    <a:pt x="103" y="192"/>
                  </a:lnTo>
                  <a:lnTo>
                    <a:pt x="105" y="199"/>
                  </a:lnTo>
                  <a:lnTo>
                    <a:pt x="106" y="199"/>
                  </a:lnTo>
                  <a:lnTo>
                    <a:pt x="110" y="199"/>
                  </a:lnTo>
                  <a:lnTo>
                    <a:pt x="114" y="199"/>
                  </a:lnTo>
                  <a:lnTo>
                    <a:pt x="122" y="202"/>
                  </a:lnTo>
                  <a:lnTo>
                    <a:pt x="126" y="204"/>
                  </a:lnTo>
                  <a:lnTo>
                    <a:pt x="130" y="202"/>
                  </a:lnTo>
                  <a:lnTo>
                    <a:pt x="133" y="201"/>
                  </a:lnTo>
                  <a:lnTo>
                    <a:pt x="137" y="199"/>
                  </a:lnTo>
                  <a:lnTo>
                    <a:pt x="142" y="199"/>
                  </a:lnTo>
                  <a:lnTo>
                    <a:pt x="144" y="197"/>
                  </a:lnTo>
                  <a:lnTo>
                    <a:pt x="144" y="195"/>
                  </a:lnTo>
                  <a:lnTo>
                    <a:pt x="146" y="192"/>
                  </a:lnTo>
                  <a:lnTo>
                    <a:pt x="149" y="185"/>
                  </a:lnTo>
                  <a:lnTo>
                    <a:pt x="151" y="179"/>
                  </a:lnTo>
                  <a:lnTo>
                    <a:pt x="153" y="178"/>
                  </a:lnTo>
                  <a:lnTo>
                    <a:pt x="154" y="176"/>
                  </a:lnTo>
                  <a:lnTo>
                    <a:pt x="160" y="172"/>
                  </a:lnTo>
                  <a:lnTo>
                    <a:pt x="176" y="163"/>
                  </a:lnTo>
                  <a:lnTo>
                    <a:pt x="183" y="160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94" y="162"/>
                  </a:lnTo>
                  <a:lnTo>
                    <a:pt x="194" y="160"/>
                  </a:lnTo>
                  <a:lnTo>
                    <a:pt x="195" y="158"/>
                  </a:lnTo>
                  <a:lnTo>
                    <a:pt x="199" y="156"/>
                  </a:lnTo>
                  <a:lnTo>
                    <a:pt x="204" y="154"/>
                  </a:lnTo>
                  <a:lnTo>
                    <a:pt x="206" y="151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8" name="Freeform 107"/>
            <p:cNvSpPr>
              <a:spLocks/>
            </p:cNvSpPr>
            <p:nvPr/>
          </p:nvSpPr>
          <p:spPr bwMode="auto">
            <a:xfrm>
              <a:off x="960210" y="2021033"/>
              <a:ext cx="162012" cy="173992"/>
            </a:xfrm>
            <a:custGeom>
              <a:avLst/>
              <a:gdLst>
                <a:gd name="T0" fmla="*/ 281 w 284"/>
                <a:gd name="T1" fmla="*/ 56 h 305"/>
                <a:gd name="T2" fmla="*/ 268 w 284"/>
                <a:gd name="T3" fmla="*/ 46 h 305"/>
                <a:gd name="T4" fmla="*/ 267 w 284"/>
                <a:gd name="T5" fmla="*/ 33 h 305"/>
                <a:gd name="T6" fmla="*/ 256 w 284"/>
                <a:gd name="T7" fmla="*/ 21 h 305"/>
                <a:gd name="T8" fmla="*/ 247 w 284"/>
                <a:gd name="T9" fmla="*/ 0 h 305"/>
                <a:gd name="T10" fmla="*/ 201 w 284"/>
                <a:gd name="T11" fmla="*/ 33 h 305"/>
                <a:gd name="T12" fmla="*/ 188 w 284"/>
                <a:gd name="T13" fmla="*/ 35 h 305"/>
                <a:gd name="T14" fmla="*/ 187 w 284"/>
                <a:gd name="T15" fmla="*/ 44 h 305"/>
                <a:gd name="T16" fmla="*/ 180 w 284"/>
                <a:gd name="T17" fmla="*/ 46 h 305"/>
                <a:gd name="T18" fmla="*/ 169 w 284"/>
                <a:gd name="T19" fmla="*/ 48 h 305"/>
                <a:gd name="T20" fmla="*/ 169 w 284"/>
                <a:gd name="T21" fmla="*/ 55 h 305"/>
                <a:gd name="T22" fmla="*/ 167 w 284"/>
                <a:gd name="T23" fmla="*/ 62 h 305"/>
                <a:gd name="T24" fmla="*/ 156 w 284"/>
                <a:gd name="T25" fmla="*/ 65 h 305"/>
                <a:gd name="T26" fmla="*/ 151 w 284"/>
                <a:gd name="T27" fmla="*/ 76 h 305"/>
                <a:gd name="T28" fmla="*/ 148 w 284"/>
                <a:gd name="T29" fmla="*/ 85 h 305"/>
                <a:gd name="T30" fmla="*/ 130 w 284"/>
                <a:gd name="T31" fmla="*/ 87 h 305"/>
                <a:gd name="T32" fmla="*/ 114 w 284"/>
                <a:gd name="T33" fmla="*/ 108 h 305"/>
                <a:gd name="T34" fmla="*/ 107 w 284"/>
                <a:gd name="T35" fmla="*/ 131 h 305"/>
                <a:gd name="T36" fmla="*/ 103 w 284"/>
                <a:gd name="T37" fmla="*/ 138 h 305"/>
                <a:gd name="T38" fmla="*/ 87 w 284"/>
                <a:gd name="T39" fmla="*/ 140 h 305"/>
                <a:gd name="T40" fmla="*/ 34 w 284"/>
                <a:gd name="T41" fmla="*/ 136 h 305"/>
                <a:gd name="T42" fmla="*/ 2 w 284"/>
                <a:gd name="T43" fmla="*/ 131 h 305"/>
                <a:gd name="T44" fmla="*/ 0 w 284"/>
                <a:gd name="T45" fmla="*/ 140 h 305"/>
                <a:gd name="T46" fmla="*/ 4 w 284"/>
                <a:gd name="T47" fmla="*/ 156 h 305"/>
                <a:gd name="T48" fmla="*/ 9 w 284"/>
                <a:gd name="T49" fmla="*/ 216 h 305"/>
                <a:gd name="T50" fmla="*/ 27 w 284"/>
                <a:gd name="T51" fmla="*/ 229 h 305"/>
                <a:gd name="T52" fmla="*/ 37 w 284"/>
                <a:gd name="T53" fmla="*/ 232 h 305"/>
                <a:gd name="T54" fmla="*/ 46 w 284"/>
                <a:gd name="T55" fmla="*/ 239 h 305"/>
                <a:gd name="T56" fmla="*/ 50 w 284"/>
                <a:gd name="T57" fmla="*/ 236 h 305"/>
                <a:gd name="T58" fmla="*/ 48 w 284"/>
                <a:gd name="T59" fmla="*/ 229 h 305"/>
                <a:gd name="T60" fmla="*/ 53 w 284"/>
                <a:gd name="T61" fmla="*/ 229 h 305"/>
                <a:gd name="T62" fmla="*/ 64 w 284"/>
                <a:gd name="T63" fmla="*/ 239 h 305"/>
                <a:gd name="T64" fmla="*/ 75 w 284"/>
                <a:gd name="T65" fmla="*/ 254 h 305"/>
                <a:gd name="T66" fmla="*/ 80 w 284"/>
                <a:gd name="T67" fmla="*/ 268 h 305"/>
                <a:gd name="T68" fmla="*/ 75 w 284"/>
                <a:gd name="T69" fmla="*/ 273 h 305"/>
                <a:gd name="T70" fmla="*/ 68 w 284"/>
                <a:gd name="T71" fmla="*/ 279 h 305"/>
                <a:gd name="T72" fmla="*/ 91 w 284"/>
                <a:gd name="T73" fmla="*/ 286 h 305"/>
                <a:gd name="T74" fmla="*/ 112 w 284"/>
                <a:gd name="T75" fmla="*/ 280 h 305"/>
                <a:gd name="T76" fmla="*/ 123 w 284"/>
                <a:gd name="T77" fmla="*/ 289 h 305"/>
                <a:gd name="T78" fmla="*/ 130 w 284"/>
                <a:gd name="T79" fmla="*/ 305 h 305"/>
                <a:gd name="T80" fmla="*/ 144 w 284"/>
                <a:gd name="T81" fmla="*/ 296 h 305"/>
                <a:gd name="T82" fmla="*/ 153 w 284"/>
                <a:gd name="T83" fmla="*/ 277 h 305"/>
                <a:gd name="T84" fmla="*/ 164 w 284"/>
                <a:gd name="T85" fmla="*/ 271 h 305"/>
                <a:gd name="T86" fmla="*/ 171 w 284"/>
                <a:gd name="T87" fmla="*/ 266 h 305"/>
                <a:gd name="T88" fmla="*/ 164 w 284"/>
                <a:gd name="T89" fmla="*/ 252 h 305"/>
                <a:gd name="T90" fmla="*/ 165 w 284"/>
                <a:gd name="T91" fmla="*/ 241 h 305"/>
                <a:gd name="T92" fmla="*/ 190 w 284"/>
                <a:gd name="T93" fmla="*/ 206 h 305"/>
                <a:gd name="T94" fmla="*/ 208 w 284"/>
                <a:gd name="T95" fmla="*/ 209 h 305"/>
                <a:gd name="T96" fmla="*/ 215 w 284"/>
                <a:gd name="T97" fmla="*/ 191 h 305"/>
                <a:gd name="T98" fmla="*/ 217 w 284"/>
                <a:gd name="T99" fmla="*/ 177 h 305"/>
                <a:gd name="T100" fmla="*/ 212 w 284"/>
                <a:gd name="T101" fmla="*/ 165 h 305"/>
                <a:gd name="T102" fmla="*/ 226 w 284"/>
                <a:gd name="T103" fmla="*/ 149 h 305"/>
                <a:gd name="T104" fmla="*/ 242 w 284"/>
                <a:gd name="T105" fmla="*/ 136 h 305"/>
                <a:gd name="T106" fmla="*/ 244 w 284"/>
                <a:gd name="T107" fmla="*/ 126 h 305"/>
                <a:gd name="T108" fmla="*/ 256 w 284"/>
                <a:gd name="T109" fmla="*/ 124 h 305"/>
                <a:gd name="T110" fmla="*/ 272 w 284"/>
                <a:gd name="T111" fmla="*/ 117 h 305"/>
                <a:gd name="T112" fmla="*/ 277 w 284"/>
                <a:gd name="T113" fmla="*/ 104 h 305"/>
                <a:gd name="T114" fmla="*/ 284 w 284"/>
                <a:gd name="T115" fmla="*/ 74 h 305"/>
                <a:gd name="T116" fmla="*/ 284 w 284"/>
                <a:gd name="T117" fmla="*/ 6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4" h="305">
                  <a:moveTo>
                    <a:pt x="284" y="64"/>
                  </a:moveTo>
                  <a:lnTo>
                    <a:pt x="281" y="58"/>
                  </a:lnTo>
                  <a:lnTo>
                    <a:pt x="281" y="56"/>
                  </a:lnTo>
                  <a:lnTo>
                    <a:pt x="276" y="53"/>
                  </a:lnTo>
                  <a:lnTo>
                    <a:pt x="272" y="49"/>
                  </a:lnTo>
                  <a:lnTo>
                    <a:pt x="268" y="46"/>
                  </a:lnTo>
                  <a:lnTo>
                    <a:pt x="268" y="44"/>
                  </a:lnTo>
                  <a:lnTo>
                    <a:pt x="268" y="40"/>
                  </a:lnTo>
                  <a:lnTo>
                    <a:pt x="267" y="33"/>
                  </a:lnTo>
                  <a:lnTo>
                    <a:pt x="265" y="26"/>
                  </a:lnTo>
                  <a:lnTo>
                    <a:pt x="261" y="23"/>
                  </a:lnTo>
                  <a:lnTo>
                    <a:pt x="256" y="21"/>
                  </a:lnTo>
                  <a:lnTo>
                    <a:pt x="254" y="16"/>
                  </a:lnTo>
                  <a:lnTo>
                    <a:pt x="252" y="10"/>
                  </a:lnTo>
                  <a:lnTo>
                    <a:pt x="247" y="0"/>
                  </a:lnTo>
                  <a:lnTo>
                    <a:pt x="215" y="35"/>
                  </a:lnTo>
                  <a:lnTo>
                    <a:pt x="206" y="28"/>
                  </a:lnTo>
                  <a:lnTo>
                    <a:pt x="201" y="33"/>
                  </a:lnTo>
                  <a:lnTo>
                    <a:pt x="194" y="35"/>
                  </a:lnTo>
                  <a:lnTo>
                    <a:pt x="192" y="37"/>
                  </a:lnTo>
                  <a:lnTo>
                    <a:pt x="188" y="35"/>
                  </a:lnTo>
                  <a:lnTo>
                    <a:pt x="187" y="37"/>
                  </a:lnTo>
                  <a:lnTo>
                    <a:pt x="187" y="40"/>
                  </a:lnTo>
                  <a:lnTo>
                    <a:pt x="187" y="44"/>
                  </a:lnTo>
                  <a:lnTo>
                    <a:pt x="183" y="46"/>
                  </a:lnTo>
                  <a:lnTo>
                    <a:pt x="183" y="46"/>
                  </a:lnTo>
                  <a:lnTo>
                    <a:pt x="180" y="46"/>
                  </a:lnTo>
                  <a:lnTo>
                    <a:pt x="174" y="44"/>
                  </a:lnTo>
                  <a:lnTo>
                    <a:pt x="171" y="46"/>
                  </a:lnTo>
                  <a:lnTo>
                    <a:pt x="169" y="48"/>
                  </a:lnTo>
                  <a:lnTo>
                    <a:pt x="169" y="49"/>
                  </a:lnTo>
                  <a:lnTo>
                    <a:pt x="169" y="51"/>
                  </a:lnTo>
                  <a:lnTo>
                    <a:pt x="169" y="55"/>
                  </a:lnTo>
                  <a:lnTo>
                    <a:pt x="169" y="56"/>
                  </a:lnTo>
                  <a:lnTo>
                    <a:pt x="169" y="58"/>
                  </a:lnTo>
                  <a:lnTo>
                    <a:pt x="167" y="62"/>
                  </a:lnTo>
                  <a:lnTo>
                    <a:pt x="165" y="62"/>
                  </a:lnTo>
                  <a:lnTo>
                    <a:pt x="162" y="64"/>
                  </a:lnTo>
                  <a:lnTo>
                    <a:pt x="156" y="65"/>
                  </a:lnTo>
                  <a:lnTo>
                    <a:pt x="155" y="67"/>
                  </a:lnTo>
                  <a:lnTo>
                    <a:pt x="153" y="71"/>
                  </a:lnTo>
                  <a:lnTo>
                    <a:pt x="151" y="76"/>
                  </a:lnTo>
                  <a:lnTo>
                    <a:pt x="151" y="81"/>
                  </a:lnTo>
                  <a:lnTo>
                    <a:pt x="149" y="83"/>
                  </a:lnTo>
                  <a:lnTo>
                    <a:pt x="148" y="85"/>
                  </a:lnTo>
                  <a:lnTo>
                    <a:pt x="144" y="87"/>
                  </a:lnTo>
                  <a:lnTo>
                    <a:pt x="139" y="88"/>
                  </a:lnTo>
                  <a:lnTo>
                    <a:pt x="130" y="87"/>
                  </a:lnTo>
                  <a:lnTo>
                    <a:pt x="124" y="87"/>
                  </a:lnTo>
                  <a:lnTo>
                    <a:pt x="121" y="85"/>
                  </a:lnTo>
                  <a:lnTo>
                    <a:pt x="114" y="108"/>
                  </a:lnTo>
                  <a:lnTo>
                    <a:pt x="112" y="122"/>
                  </a:lnTo>
                  <a:lnTo>
                    <a:pt x="108" y="129"/>
                  </a:lnTo>
                  <a:lnTo>
                    <a:pt x="107" y="131"/>
                  </a:lnTo>
                  <a:lnTo>
                    <a:pt x="105" y="135"/>
                  </a:lnTo>
                  <a:lnTo>
                    <a:pt x="103" y="136"/>
                  </a:lnTo>
                  <a:lnTo>
                    <a:pt x="103" y="138"/>
                  </a:lnTo>
                  <a:lnTo>
                    <a:pt x="100" y="140"/>
                  </a:lnTo>
                  <a:lnTo>
                    <a:pt x="100" y="140"/>
                  </a:lnTo>
                  <a:lnTo>
                    <a:pt x="87" y="140"/>
                  </a:lnTo>
                  <a:lnTo>
                    <a:pt x="78" y="144"/>
                  </a:lnTo>
                  <a:lnTo>
                    <a:pt x="60" y="140"/>
                  </a:lnTo>
                  <a:lnTo>
                    <a:pt x="34" y="136"/>
                  </a:lnTo>
                  <a:lnTo>
                    <a:pt x="11" y="133"/>
                  </a:lnTo>
                  <a:lnTo>
                    <a:pt x="7" y="133"/>
                  </a:lnTo>
                  <a:lnTo>
                    <a:pt x="2" y="131"/>
                  </a:lnTo>
                  <a:lnTo>
                    <a:pt x="0" y="135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2" y="145"/>
                  </a:lnTo>
                  <a:lnTo>
                    <a:pt x="4" y="149"/>
                  </a:lnTo>
                  <a:lnTo>
                    <a:pt x="4" y="156"/>
                  </a:lnTo>
                  <a:lnTo>
                    <a:pt x="4" y="167"/>
                  </a:lnTo>
                  <a:lnTo>
                    <a:pt x="5" y="199"/>
                  </a:lnTo>
                  <a:lnTo>
                    <a:pt x="9" y="216"/>
                  </a:lnTo>
                  <a:lnTo>
                    <a:pt x="16" y="227"/>
                  </a:lnTo>
                  <a:lnTo>
                    <a:pt x="21" y="231"/>
                  </a:lnTo>
                  <a:lnTo>
                    <a:pt x="27" y="229"/>
                  </a:lnTo>
                  <a:lnTo>
                    <a:pt x="28" y="231"/>
                  </a:lnTo>
                  <a:lnTo>
                    <a:pt x="34" y="231"/>
                  </a:lnTo>
                  <a:lnTo>
                    <a:pt x="37" y="232"/>
                  </a:lnTo>
                  <a:lnTo>
                    <a:pt x="39" y="232"/>
                  </a:lnTo>
                  <a:lnTo>
                    <a:pt x="43" y="236"/>
                  </a:lnTo>
                  <a:lnTo>
                    <a:pt x="46" y="239"/>
                  </a:lnTo>
                  <a:lnTo>
                    <a:pt x="48" y="239"/>
                  </a:lnTo>
                  <a:lnTo>
                    <a:pt x="48" y="239"/>
                  </a:lnTo>
                  <a:lnTo>
                    <a:pt x="50" y="236"/>
                  </a:lnTo>
                  <a:lnTo>
                    <a:pt x="50" y="232"/>
                  </a:lnTo>
                  <a:lnTo>
                    <a:pt x="48" y="231"/>
                  </a:lnTo>
                  <a:lnTo>
                    <a:pt x="48" y="229"/>
                  </a:lnTo>
                  <a:lnTo>
                    <a:pt x="48" y="227"/>
                  </a:lnTo>
                  <a:lnTo>
                    <a:pt x="50" y="227"/>
                  </a:lnTo>
                  <a:lnTo>
                    <a:pt x="53" y="229"/>
                  </a:lnTo>
                  <a:lnTo>
                    <a:pt x="59" y="232"/>
                  </a:lnTo>
                  <a:lnTo>
                    <a:pt x="64" y="236"/>
                  </a:lnTo>
                  <a:lnTo>
                    <a:pt x="64" y="239"/>
                  </a:lnTo>
                  <a:lnTo>
                    <a:pt x="66" y="241"/>
                  </a:lnTo>
                  <a:lnTo>
                    <a:pt x="68" y="247"/>
                  </a:lnTo>
                  <a:lnTo>
                    <a:pt x="75" y="254"/>
                  </a:lnTo>
                  <a:lnTo>
                    <a:pt x="75" y="257"/>
                  </a:lnTo>
                  <a:lnTo>
                    <a:pt x="80" y="261"/>
                  </a:lnTo>
                  <a:lnTo>
                    <a:pt x="80" y="268"/>
                  </a:lnTo>
                  <a:lnTo>
                    <a:pt x="80" y="271"/>
                  </a:lnTo>
                  <a:lnTo>
                    <a:pt x="78" y="271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68" y="277"/>
                  </a:lnTo>
                  <a:lnTo>
                    <a:pt x="68" y="279"/>
                  </a:lnTo>
                  <a:lnTo>
                    <a:pt x="80" y="286"/>
                  </a:lnTo>
                  <a:lnTo>
                    <a:pt x="84" y="286"/>
                  </a:lnTo>
                  <a:lnTo>
                    <a:pt x="91" y="286"/>
                  </a:lnTo>
                  <a:lnTo>
                    <a:pt x="103" y="280"/>
                  </a:lnTo>
                  <a:lnTo>
                    <a:pt x="107" y="280"/>
                  </a:lnTo>
                  <a:lnTo>
                    <a:pt x="112" y="280"/>
                  </a:lnTo>
                  <a:lnTo>
                    <a:pt x="116" y="286"/>
                  </a:lnTo>
                  <a:lnTo>
                    <a:pt x="121" y="286"/>
                  </a:lnTo>
                  <a:lnTo>
                    <a:pt x="123" y="289"/>
                  </a:lnTo>
                  <a:lnTo>
                    <a:pt x="124" y="295"/>
                  </a:lnTo>
                  <a:lnTo>
                    <a:pt x="126" y="305"/>
                  </a:lnTo>
                  <a:lnTo>
                    <a:pt x="130" y="305"/>
                  </a:lnTo>
                  <a:lnTo>
                    <a:pt x="139" y="300"/>
                  </a:lnTo>
                  <a:lnTo>
                    <a:pt x="140" y="300"/>
                  </a:lnTo>
                  <a:lnTo>
                    <a:pt x="144" y="296"/>
                  </a:lnTo>
                  <a:lnTo>
                    <a:pt x="148" y="291"/>
                  </a:lnTo>
                  <a:lnTo>
                    <a:pt x="151" y="286"/>
                  </a:lnTo>
                  <a:lnTo>
                    <a:pt x="153" y="277"/>
                  </a:lnTo>
                  <a:lnTo>
                    <a:pt x="155" y="275"/>
                  </a:lnTo>
                  <a:lnTo>
                    <a:pt x="160" y="273"/>
                  </a:lnTo>
                  <a:lnTo>
                    <a:pt x="164" y="271"/>
                  </a:lnTo>
                  <a:lnTo>
                    <a:pt x="169" y="268"/>
                  </a:lnTo>
                  <a:lnTo>
                    <a:pt x="171" y="268"/>
                  </a:lnTo>
                  <a:lnTo>
                    <a:pt x="171" y="266"/>
                  </a:lnTo>
                  <a:lnTo>
                    <a:pt x="171" y="264"/>
                  </a:lnTo>
                  <a:lnTo>
                    <a:pt x="169" y="259"/>
                  </a:lnTo>
                  <a:lnTo>
                    <a:pt x="164" y="252"/>
                  </a:lnTo>
                  <a:lnTo>
                    <a:pt x="164" y="250"/>
                  </a:lnTo>
                  <a:lnTo>
                    <a:pt x="164" y="248"/>
                  </a:lnTo>
                  <a:lnTo>
                    <a:pt x="165" y="241"/>
                  </a:lnTo>
                  <a:lnTo>
                    <a:pt x="167" y="232"/>
                  </a:lnTo>
                  <a:lnTo>
                    <a:pt x="181" y="220"/>
                  </a:lnTo>
                  <a:lnTo>
                    <a:pt x="190" y="206"/>
                  </a:lnTo>
                  <a:lnTo>
                    <a:pt x="196" y="211"/>
                  </a:lnTo>
                  <a:lnTo>
                    <a:pt x="204" y="211"/>
                  </a:lnTo>
                  <a:lnTo>
                    <a:pt x="208" y="209"/>
                  </a:lnTo>
                  <a:lnTo>
                    <a:pt x="213" y="204"/>
                  </a:lnTo>
                  <a:lnTo>
                    <a:pt x="213" y="197"/>
                  </a:lnTo>
                  <a:lnTo>
                    <a:pt x="215" y="191"/>
                  </a:lnTo>
                  <a:lnTo>
                    <a:pt x="220" y="188"/>
                  </a:lnTo>
                  <a:lnTo>
                    <a:pt x="220" y="181"/>
                  </a:lnTo>
                  <a:lnTo>
                    <a:pt x="217" y="177"/>
                  </a:lnTo>
                  <a:lnTo>
                    <a:pt x="215" y="174"/>
                  </a:lnTo>
                  <a:lnTo>
                    <a:pt x="213" y="170"/>
                  </a:lnTo>
                  <a:lnTo>
                    <a:pt x="212" y="165"/>
                  </a:lnTo>
                  <a:lnTo>
                    <a:pt x="213" y="159"/>
                  </a:lnTo>
                  <a:lnTo>
                    <a:pt x="217" y="154"/>
                  </a:lnTo>
                  <a:lnTo>
                    <a:pt x="226" y="149"/>
                  </a:lnTo>
                  <a:lnTo>
                    <a:pt x="231" y="145"/>
                  </a:lnTo>
                  <a:lnTo>
                    <a:pt x="236" y="140"/>
                  </a:lnTo>
                  <a:lnTo>
                    <a:pt x="242" y="136"/>
                  </a:lnTo>
                  <a:lnTo>
                    <a:pt x="244" y="133"/>
                  </a:lnTo>
                  <a:lnTo>
                    <a:pt x="244" y="129"/>
                  </a:lnTo>
                  <a:lnTo>
                    <a:pt x="244" y="126"/>
                  </a:lnTo>
                  <a:lnTo>
                    <a:pt x="245" y="124"/>
                  </a:lnTo>
                  <a:lnTo>
                    <a:pt x="247" y="124"/>
                  </a:lnTo>
                  <a:lnTo>
                    <a:pt x="256" y="124"/>
                  </a:lnTo>
                  <a:lnTo>
                    <a:pt x="263" y="124"/>
                  </a:lnTo>
                  <a:lnTo>
                    <a:pt x="268" y="122"/>
                  </a:lnTo>
                  <a:lnTo>
                    <a:pt x="272" y="117"/>
                  </a:lnTo>
                  <a:lnTo>
                    <a:pt x="276" y="115"/>
                  </a:lnTo>
                  <a:lnTo>
                    <a:pt x="277" y="112"/>
                  </a:lnTo>
                  <a:lnTo>
                    <a:pt x="277" y="104"/>
                  </a:lnTo>
                  <a:lnTo>
                    <a:pt x="281" y="96"/>
                  </a:lnTo>
                  <a:lnTo>
                    <a:pt x="281" y="88"/>
                  </a:lnTo>
                  <a:lnTo>
                    <a:pt x="284" y="74"/>
                  </a:lnTo>
                  <a:lnTo>
                    <a:pt x="284" y="72"/>
                  </a:lnTo>
                  <a:lnTo>
                    <a:pt x="284" y="64"/>
                  </a:lnTo>
                  <a:lnTo>
                    <a:pt x="284" y="64"/>
                  </a:lnTo>
                  <a:lnTo>
                    <a:pt x="284" y="6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9" name="Freeform 108"/>
            <p:cNvSpPr>
              <a:spLocks/>
            </p:cNvSpPr>
            <p:nvPr/>
          </p:nvSpPr>
          <p:spPr bwMode="auto">
            <a:xfrm>
              <a:off x="2779421" y="2516766"/>
              <a:ext cx="9127" cy="14262"/>
            </a:xfrm>
            <a:custGeom>
              <a:avLst/>
              <a:gdLst>
                <a:gd name="T0" fmla="*/ 11 w 16"/>
                <a:gd name="T1" fmla="*/ 0 h 25"/>
                <a:gd name="T2" fmla="*/ 11 w 16"/>
                <a:gd name="T3" fmla="*/ 3 h 25"/>
                <a:gd name="T4" fmla="*/ 11 w 16"/>
                <a:gd name="T5" fmla="*/ 3 h 25"/>
                <a:gd name="T6" fmla="*/ 9 w 16"/>
                <a:gd name="T7" fmla="*/ 0 h 25"/>
                <a:gd name="T8" fmla="*/ 9 w 16"/>
                <a:gd name="T9" fmla="*/ 0 h 25"/>
                <a:gd name="T10" fmla="*/ 2 w 16"/>
                <a:gd name="T11" fmla="*/ 0 h 25"/>
                <a:gd name="T12" fmla="*/ 0 w 16"/>
                <a:gd name="T13" fmla="*/ 0 h 25"/>
                <a:gd name="T14" fmla="*/ 0 w 16"/>
                <a:gd name="T15" fmla="*/ 2 h 25"/>
                <a:gd name="T16" fmla="*/ 0 w 16"/>
                <a:gd name="T17" fmla="*/ 7 h 25"/>
                <a:gd name="T18" fmla="*/ 2 w 16"/>
                <a:gd name="T19" fmla="*/ 10 h 25"/>
                <a:gd name="T20" fmla="*/ 9 w 16"/>
                <a:gd name="T21" fmla="*/ 19 h 25"/>
                <a:gd name="T22" fmla="*/ 15 w 16"/>
                <a:gd name="T23" fmla="*/ 25 h 25"/>
                <a:gd name="T24" fmla="*/ 15 w 16"/>
                <a:gd name="T25" fmla="*/ 25 h 25"/>
                <a:gd name="T26" fmla="*/ 16 w 16"/>
                <a:gd name="T27" fmla="*/ 19 h 25"/>
                <a:gd name="T28" fmla="*/ 16 w 16"/>
                <a:gd name="T29" fmla="*/ 12 h 25"/>
                <a:gd name="T30" fmla="*/ 15 w 16"/>
                <a:gd name="T31" fmla="*/ 7 h 25"/>
                <a:gd name="T32" fmla="*/ 13 w 16"/>
                <a:gd name="T33" fmla="*/ 2 h 25"/>
                <a:gd name="T34" fmla="*/ 11 w 16"/>
                <a:gd name="T35" fmla="*/ 0 h 25"/>
                <a:gd name="T36" fmla="*/ 11 w 16"/>
                <a:gd name="T37" fmla="*/ 0 h 25"/>
                <a:gd name="T38" fmla="*/ 11 w 16"/>
                <a:gd name="T3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25">
                  <a:moveTo>
                    <a:pt x="11" y="0"/>
                  </a:moveTo>
                  <a:lnTo>
                    <a:pt x="11" y="3"/>
                  </a:lnTo>
                  <a:lnTo>
                    <a:pt x="11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2" y="10"/>
                  </a:lnTo>
                  <a:lnTo>
                    <a:pt x="9" y="19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6" y="19"/>
                  </a:lnTo>
                  <a:lnTo>
                    <a:pt x="16" y="12"/>
                  </a:lnTo>
                  <a:lnTo>
                    <a:pt x="15" y="7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0" name="Freeform 109"/>
            <p:cNvSpPr>
              <a:spLocks/>
            </p:cNvSpPr>
            <p:nvPr/>
          </p:nvSpPr>
          <p:spPr bwMode="auto">
            <a:xfrm>
              <a:off x="2789689" y="2540726"/>
              <a:ext cx="3993" cy="4564"/>
            </a:xfrm>
            <a:custGeom>
              <a:avLst/>
              <a:gdLst>
                <a:gd name="T0" fmla="*/ 7 w 7"/>
                <a:gd name="T1" fmla="*/ 0 h 8"/>
                <a:gd name="T2" fmla="*/ 7 w 7"/>
                <a:gd name="T3" fmla="*/ 0 h 8"/>
                <a:gd name="T4" fmla="*/ 4 w 7"/>
                <a:gd name="T5" fmla="*/ 0 h 8"/>
                <a:gd name="T6" fmla="*/ 0 w 7"/>
                <a:gd name="T7" fmla="*/ 0 h 8"/>
                <a:gd name="T8" fmla="*/ 0 w 7"/>
                <a:gd name="T9" fmla="*/ 0 h 8"/>
                <a:gd name="T10" fmla="*/ 0 w 7"/>
                <a:gd name="T11" fmla="*/ 0 h 8"/>
                <a:gd name="T12" fmla="*/ 0 w 7"/>
                <a:gd name="T13" fmla="*/ 6 h 8"/>
                <a:gd name="T14" fmla="*/ 0 w 7"/>
                <a:gd name="T15" fmla="*/ 8 h 8"/>
                <a:gd name="T16" fmla="*/ 0 w 7"/>
                <a:gd name="T17" fmla="*/ 8 h 8"/>
                <a:gd name="T18" fmla="*/ 4 w 7"/>
                <a:gd name="T19" fmla="*/ 8 h 8"/>
                <a:gd name="T20" fmla="*/ 7 w 7"/>
                <a:gd name="T21" fmla="*/ 8 h 8"/>
                <a:gd name="T22" fmla="*/ 7 w 7"/>
                <a:gd name="T23" fmla="*/ 8 h 8"/>
                <a:gd name="T24" fmla="*/ 7 w 7"/>
                <a:gd name="T25" fmla="*/ 6 h 8"/>
                <a:gd name="T26" fmla="*/ 7 w 7"/>
                <a:gd name="T27" fmla="*/ 0 h 8"/>
                <a:gd name="T28" fmla="*/ 7 w 7"/>
                <a:gd name="T29" fmla="*/ 0 h 8"/>
                <a:gd name="T30" fmla="*/ 7 w 7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8">
                  <a:moveTo>
                    <a:pt x="7" y="0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6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1" name="Freeform 110"/>
            <p:cNvSpPr>
              <a:spLocks/>
            </p:cNvSpPr>
            <p:nvPr/>
          </p:nvSpPr>
          <p:spPr bwMode="auto">
            <a:xfrm>
              <a:off x="2793683" y="2574383"/>
              <a:ext cx="3993" cy="7416"/>
            </a:xfrm>
            <a:custGeom>
              <a:avLst/>
              <a:gdLst>
                <a:gd name="T0" fmla="*/ 0 w 7"/>
                <a:gd name="T1" fmla="*/ 0 h 13"/>
                <a:gd name="T2" fmla="*/ 0 w 7"/>
                <a:gd name="T3" fmla="*/ 4 h 13"/>
                <a:gd name="T4" fmla="*/ 0 w 7"/>
                <a:gd name="T5" fmla="*/ 4 h 13"/>
                <a:gd name="T6" fmla="*/ 0 w 7"/>
                <a:gd name="T7" fmla="*/ 9 h 13"/>
                <a:gd name="T8" fmla="*/ 0 w 7"/>
                <a:gd name="T9" fmla="*/ 13 h 13"/>
                <a:gd name="T10" fmla="*/ 0 w 7"/>
                <a:gd name="T11" fmla="*/ 13 h 13"/>
                <a:gd name="T12" fmla="*/ 4 w 7"/>
                <a:gd name="T13" fmla="*/ 11 h 13"/>
                <a:gd name="T14" fmla="*/ 6 w 7"/>
                <a:gd name="T15" fmla="*/ 11 h 13"/>
                <a:gd name="T16" fmla="*/ 7 w 7"/>
                <a:gd name="T17" fmla="*/ 5 h 13"/>
                <a:gd name="T18" fmla="*/ 7 w 7"/>
                <a:gd name="T19" fmla="*/ 4 h 13"/>
                <a:gd name="T20" fmla="*/ 6 w 7"/>
                <a:gd name="T21" fmla="*/ 2 h 13"/>
                <a:gd name="T22" fmla="*/ 4 w 7"/>
                <a:gd name="T23" fmla="*/ 0 h 13"/>
                <a:gd name="T24" fmla="*/ 0 w 7"/>
                <a:gd name="T25" fmla="*/ 0 h 13"/>
                <a:gd name="T26" fmla="*/ 0 w 7"/>
                <a:gd name="T27" fmla="*/ 0 h 13"/>
                <a:gd name="T28" fmla="*/ 0 w 7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7" y="5"/>
                  </a:lnTo>
                  <a:lnTo>
                    <a:pt x="7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2" name="Freeform 111"/>
            <p:cNvSpPr>
              <a:spLocks/>
            </p:cNvSpPr>
            <p:nvPr/>
          </p:nvSpPr>
          <p:spPr bwMode="auto">
            <a:xfrm>
              <a:off x="2758314" y="2476834"/>
              <a:ext cx="6846" cy="7416"/>
            </a:xfrm>
            <a:custGeom>
              <a:avLst/>
              <a:gdLst>
                <a:gd name="T0" fmla="*/ 12 w 12"/>
                <a:gd name="T1" fmla="*/ 4 h 13"/>
                <a:gd name="T2" fmla="*/ 9 w 12"/>
                <a:gd name="T3" fmla="*/ 0 h 13"/>
                <a:gd name="T4" fmla="*/ 9 w 12"/>
                <a:gd name="T5" fmla="*/ 0 h 13"/>
                <a:gd name="T6" fmla="*/ 4 w 12"/>
                <a:gd name="T7" fmla="*/ 4 h 13"/>
                <a:gd name="T8" fmla="*/ 0 w 12"/>
                <a:gd name="T9" fmla="*/ 8 h 13"/>
                <a:gd name="T10" fmla="*/ 4 w 12"/>
                <a:gd name="T11" fmla="*/ 11 h 13"/>
                <a:gd name="T12" fmla="*/ 5 w 12"/>
                <a:gd name="T13" fmla="*/ 13 h 13"/>
                <a:gd name="T14" fmla="*/ 7 w 12"/>
                <a:gd name="T15" fmla="*/ 13 h 13"/>
                <a:gd name="T16" fmla="*/ 11 w 12"/>
                <a:gd name="T17" fmla="*/ 13 h 13"/>
                <a:gd name="T18" fmla="*/ 12 w 12"/>
                <a:gd name="T19" fmla="*/ 9 h 13"/>
                <a:gd name="T20" fmla="*/ 12 w 12"/>
                <a:gd name="T21" fmla="*/ 4 h 13"/>
                <a:gd name="T22" fmla="*/ 12 w 12"/>
                <a:gd name="T23" fmla="*/ 4 h 13"/>
                <a:gd name="T24" fmla="*/ 12 w 12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3">
                  <a:moveTo>
                    <a:pt x="12" y="4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1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11" y="13"/>
                  </a:lnTo>
                  <a:lnTo>
                    <a:pt x="12" y="9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3" name="Freeform 112"/>
            <p:cNvSpPr>
              <a:spLocks/>
            </p:cNvSpPr>
            <p:nvPr/>
          </p:nvSpPr>
          <p:spPr bwMode="auto">
            <a:xfrm>
              <a:off x="2791971" y="2610893"/>
              <a:ext cx="6846" cy="15403"/>
            </a:xfrm>
            <a:custGeom>
              <a:avLst/>
              <a:gdLst>
                <a:gd name="T0" fmla="*/ 9 w 12"/>
                <a:gd name="T1" fmla="*/ 5 h 27"/>
                <a:gd name="T2" fmla="*/ 3 w 12"/>
                <a:gd name="T3" fmla="*/ 0 h 27"/>
                <a:gd name="T4" fmla="*/ 3 w 12"/>
                <a:gd name="T5" fmla="*/ 0 h 27"/>
                <a:gd name="T6" fmla="*/ 3 w 12"/>
                <a:gd name="T7" fmla="*/ 9 h 27"/>
                <a:gd name="T8" fmla="*/ 1 w 12"/>
                <a:gd name="T9" fmla="*/ 14 h 27"/>
                <a:gd name="T10" fmla="*/ 0 w 12"/>
                <a:gd name="T11" fmla="*/ 18 h 27"/>
                <a:gd name="T12" fmla="*/ 0 w 12"/>
                <a:gd name="T13" fmla="*/ 27 h 27"/>
                <a:gd name="T14" fmla="*/ 0 w 12"/>
                <a:gd name="T15" fmla="*/ 27 h 27"/>
                <a:gd name="T16" fmla="*/ 3 w 12"/>
                <a:gd name="T17" fmla="*/ 27 h 27"/>
                <a:gd name="T18" fmla="*/ 9 w 12"/>
                <a:gd name="T19" fmla="*/ 23 h 27"/>
                <a:gd name="T20" fmla="*/ 10 w 12"/>
                <a:gd name="T21" fmla="*/ 21 h 27"/>
                <a:gd name="T22" fmla="*/ 12 w 12"/>
                <a:gd name="T23" fmla="*/ 18 h 27"/>
                <a:gd name="T24" fmla="*/ 12 w 12"/>
                <a:gd name="T25" fmla="*/ 14 h 27"/>
                <a:gd name="T26" fmla="*/ 12 w 12"/>
                <a:gd name="T27" fmla="*/ 9 h 27"/>
                <a:gd name="T28" fmla="*/ 12 w 12"/>
                <a:gd name="T29" fmla="*/ 7 h 27"/>
                <a:gd name="T30" fmla="*/ 9 w 12"/>
                <a:gd name="T31" fmla="*/ 5 h 27"/>
                <a:gd name="T32" fmla="*/ 9 w 12"/>
                <a:gd name="T33" fmla="*/ 5 h 27"/>
                <a:gd name="T34" fmla="*/ 9 w 12"/>
                <a:gd name="T35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27">
                  <a:moveTo>
                    <a:pt x="9" y="5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9"/>
                  </a:lnTo>
                  <a:lnTo>
                    <a:pt x="1" y="14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9" y="23"/>
                  </a:lnTo>
                  <a:lnTo>
                    <a:pt x="10" y="21"/>
                  </a:lnTo>
                  <a:lnTo>
                    <a:pt x="12" y="18"/>
                  </a:lnTo>
                  <a:lnTo>
                    <a:pt x="12" y="14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4" name="Freeform 113"/>
            <p:cNvSpPr>
              <a:spLocks/>
            </p:cNvSpPr>
            <p:nvPr/>
          </p:nvSpPr>
          <p:spPr bwMode="auto">
            <a:xfrm>
              <a:off x="2784555" y="2652537"/>
              <a:ext cx="7986" cy="31376"/>
            </a:xfrm>
            <a:custGeom>
              <a:avLst/>
              <a:gdLst>
                <a:gd name="T0" fmla="*/ 13 w 14"/>
                <a:gd name="T1" fmla="*/ 23 h 55"/>
                <a:gd name="T2" fmla="*/ 13 w 14"/>
                <a:gd name="T3" fmla="*/ 23 h 55"/>
                <a:gd name="T4" fmla="*/ 13 w 14"/>
                <a:gd name="T5" fmla="*/ 18 h 55"/>
                <a:gd name="T6" fmla="*/ 13 w 14"/>
                <a:gd name="T7" fmla="*/ 16 h 55"/>
                <a:gd name="T8" fmla="*/ 13 w 14"/>
                <a:gd name="T9" fmla="*/ 11 h 55"/>
                <a:gd name="T10" fmla="*/ 14 w 14"/>
                <a:gd name="T11" fmla="*/ 7 h 55"/>
                <a:gd name="T12" fmla="*/ 14 w 14"/>
                <a:gd name="T13" fmla="*/ 7 h 55"/>
                <a:gd name="T14" fmla="*/ 13 w 14"/>
                <a:gd name="T15" fmla="*/ 5 h 55"/>
                <a:gd name="T16" fmla="*/ 13 w 14"/>
                <a:gd name="T17" fmla="*/ 4 h 55"/>
                <a:gd name="T18" fmla="*/ 9 w 14"/>
                <a:gd name="T19" fmla="*/ 2 h 55"/>
                <a:gd name="T20" fmla="*/ 6 w 14"/>
                <a:gd name="T21" fmla="*/ 0 h 55"/>
                <a:gd name="T22" fmla="*/ 6 w 14"/>
                <a:gd name="T23" fmla="*/ 0 h 55"/>
                <a:gd name="T24" fmla="*/ 6 w 14"/>
                <a:gd name="T25" fmla="*/ 5 h 55"/>
                <a:gd name="T26" fmla="*/ 2 w 14"/>
                <a:gd name="T27" fmla="*/ 14 h 55"/>
                <a:gd name="T28" fmla="*/ 0 w 14"/>
                <a:gd name="T29" fmla="*/ 30 h 55"/>
                <a:gd name="T30" fmla="*/ 0 w 14"/>
                <a:gd name="T31" fmla="*/ 41 h 55"/>
                <a:gd name="T32" fmla="*/ 2 w 14"/>
                <a:gd name="T33" fmla="*/ 46 h 55"/>
                <a:gd name="T34" fmla="*/ 2 w 14"/>
                <a:gd name="T35" fmla="*/ 52 h 55"/>
                <a:gd name="T36" fmla="*/ 4 w 14"/>
                <a:gd name="T37" fmla="*/ 55 h 55"/>
                <a:gd name="T38" fmla="*/ 6 w 14"/>
                <a:gd name="T39" fmla="*/ 55 h 55"/>
                <a:gd name="T40" fmla="*/ 6 w 14"/>
                <a:gd name="T41" fmla="*/ 55 h 55"/>
                <a:gd name="T42" fmla="*/ 9 w 14"/>
                <a:gd name="T43" fmla="*/ 52 h 55"/>
                <a:gd name="T44" fmla="*/ 11 w 14"/>
                <a:gd name="T45" fmla="*/ 52 h 55"/>
                <a:gd name="T46" fmla="*/ 11 w 14"/>
                <a:gd name="T47" fmla="*/ 48 h 55"/>
                <a:gd name="T48" fmla="*/ 13 w 14"/>
                <a:gd name="T49" fmla="*/ 44 h 55"/>
                <a:gd name="T50" fmla="*/ 13 w 14"/>
                <a:gd name="T51" fmla="*/ 44 h 55"/>
                <a:gd name="T52" fmla="*/ 14 w 14"/>
                <a:gd name="T53" fmla="*/ 32 h 55"/>
                <a:gd name="T54" fmla="*/ 14 w 14"/>
                <a:gd name="T55" fmla="*/ 32 h 55"/>
                <a:gd name="T56" fmla="*/ 14 w 14"/>
                <a:gd name="T57" fmla="*/ 28 h 55"/>
                <a:gd name="T58" fmla="*/ 14 w 14"/>
                <a:gd name="T59" fmla="*/ 27 h 55"/>
                <a:gd name="T60" fmla="*/ 13 w 14"/>
                <a:gd name="T61" fmla="*/ 23 h 55"/>
                <a:gd name="T62" fmla="*/ 13 w 14"/>
                <a:gd name="T63" fmla="*/ 23 h 55"/>
                <a:gd name="T64" fmla="*/ 13 w 14"/>
                <a:gd name="T65" fmla="*/ 2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" h="55">
                  <a:moveTo>
                    <a:pt x="13" y="23"/>
                  </a:moveTo>
                  <a:lnTo>
                    <a:pt x="13" y="23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1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9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2" y="14"/>
                  </a:lnTo>
                  <a:lnTo>
                    <a:pt x="0" y="30"/>
                  </a:lnTo>
                  <a:lnTo>
                    <a:pt x="0" y="41"/>
                  </a:lnTo>
                  <a:lnTo>
                    <a:pt x="2" y="46"/>
                  </a:lnTo>
                  <a:lnTo>
                    <a:pt x="2" y="52"/>
                  </a:lnTo>
                  <a:lnTo>
                    <a:pt x="4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9" y="52"/>
                  </a:lnTo>
                  <a:lnTo>
                    <a:pt x="11" y="52"/>
                  </a:lnTo>
                  <a:lnTo>
                    <a:pt x="11" y="48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5" name="Freeform 114"/>
            <p:cNvSpPr>
              <a:spLocks/>
            </p:cNvSpPr>
            <p:nvPr/>
          </p:nvSpPr>
          <p:spPr bwMode="auto">
            <a:xfrm>
              <a:off x="2765159" y="2691899"/>
              <a:ext cx="19396" cy="53624"/>
            </a:xfrm>
            <a:custGeom>
              <a:avLst/>
              <a:gdLst>
                <a:gd name="T0" fmla="*/ 18 w 34"/>
                <a:gd name="T1" fmla="*/ 13 h 94"/>
                <a:gd name="T2" fmla="*/ 18 w 34"/>
                <a:gd name="T3" fmla="*/ 13 h 94"/>
                <a:gd name="T4" fmla="*/ 18 w 34"/>
                <a:gd name="T5" fmla="*/ 20 h 94"/>
                <a:gd name="T6" fmla="*/ 18 w 34"/>
                <a:gd name="T7" fmla="*/ 23 h 94"/>
                <a:gd name="T8" fmla="*/ 18 w 34"/>
                <a:gd name="T9" fmla="*/ 29 h 94"/>
                <a:gd name="T10" fmla="*/ 18 w 34"/>
                <a:gd name="T11" fmla="*/ 29 h 94"/>
                <a:gd name="T12" fmla="*/ 16 w 34"/>
                <a:gd name="T13" fmla="*/ 30 h 94"/>
                <a:gd name="T14" fmla="*/ 15 w 34"/>
                <a:gd name="T15" fmla="*/ 32 h 94"/>
                <a:gd name="T16" fmla="*/ 9 w 34"/>
                <a:gd name="T17" fmla="*/ 32 h 94"/>
                <a:gd name="T18" fmla="*/ 6 w 34"/>
                <a:gd name="T19" fmla="*/ 32 h 94"/>
                <a:gd name="T20" fmla="*/ 2 w 34"/>
                <a:gd name="T21" fmla="*/ 32 h 94"/>
                <a:gd name="T22" fmla="*/ 2 w 34"/>
                <a:gd name="T23" fmla="*/ 32 h 94"/>
                <a:gd name="T24" fmla="*/ 2 w 34"/>
                <a:gd name="T25" fmla="*/ 36 h 94"/>
                <a:gd name="T26" fmla="*/ 0 w 34"/>
                <a:gd name="T27" fmla="*/ 38 h 94"/>
                <a:gd name="T28" fmla="*/ 0 w 34"/>
                <a:gd name="T29" fmla="*/ 46 h 94"/>
                <a:gd name="T30" fmla="*/ 2 w 34"/>
                <a:gd name="T31" fmla="*/ 61 h 94"/>
                <a:gd name="T32" fmla="*/ 2 w 34"/>
                <a:gd name="T33" fmla="*/ 61 h 94"/>
                <a:gd name="T34" fmla="*/ 4 w 34"/>
                <a:gd name="T35" fmla="*/ 75 h 94"/>
                <a:gd name="T36" fmla="*/ 6 w 34"/>
                <a:gd name="T37" fmla="*/ 91 h 94"/>
                <a:gd name="T38" fmla="*/ 9 w 34"/>
                <a:gd name="T39" fmla="*/ 94 h 94"/>
                <a:gd name="T40" fmla="*/ 9 w 34"/>
                <a:gd name="T41" fmla="*/ 94 h 94"/>
                <a:gd name="T42" fmla="*/ 13 w 34"/>
                <a:gd name="T43" fmla="*/ 91 h 94"/>
                <a:gd name="T44" fmla="*/ 15 w 34"/>
                <a:gd name="T45" fmla="*/ 84 h 94"/>
                <a:gd name="T46" fmla="*/ 16 w 34"/>
                <a:gd name="T47" fmla="*/ 78 h 94"/>
                <a:gd name="T48" fmla="*/ 18 w 34"/>
                <a:gd name="T49" fmla="*/ 71 h 94"/>
                <a:gd name="T50" fmla="*/ 18 w 34"/>
                <a:gd name="T51" fmla="*/ 71 h 94"/>
                <a:gd name="T52" fmla="*/ 18 w 34"/>
                <a:gd name="T53" fmla="*/ 64 h 94"/>
                <a:gd name="T54" fmla="*/ 18 w 34"/>
                <a:gd name="T55" fmla="*/ 59 h 94"/>
                <a:gd name="T56" fmla="*/ 18 w 34"/>
                <a:gd name="T57" fmla="*/ 59 h 94"/>
                <a:gd name="T58" fmla="*/ 18 w 34"/>
                <a:gd name="T59" fmla="*/ 55 h 94"/>
                <a:gd name="T60" fmla="*/ 22 w 34"/>
                <a:gd name="T61" fmla="*/ 52 h 94"/>
                <a:gd name="T62" fmla="*/ 24 w 34"/>
                <a:gd name="T63" fmla="*/ 48 h 94"/>
                <a:gd name="T64" fmla="*/ 24 w 34"/>
                <a:gd name="T65" fmla="*/ 48 h 94"/>
                <a:gd name="T66" fmla="*/ 24 w 34"/>
                <a:gd name="T67" fmla="*/ 43 h 94"/>
                <a:gd name="T68" fmla="*/ 25 w 34"/>
                <a:gd name="T69" fmla="*/ 36 h 94"/>
                <a:gd name="T70" fmla="*/ 25 w 34"/>
                <a:gd name="T71" fmla="*/ 27 h 94"/>
                <a:gd name="T72" fmla="*/ 25 w 34"/>
                <a:gd name="T73" fmla="*/ 27 h 94"/>
                <a:gd name="T74" fmla="*/ 29 w 34"/>
                <a:gd name="T75" fmla="*/ 16 h 94"/>
                <a:gd name="T76" fmla="*/ 34 w 34"/>
                <a:gd name="T77" fmla="*/ 6 h 94"/>
                <a:gd name="T78" fmla="*/ 34 w 34"/>
                <a:gd name="T79" fmla="*/ 6 h 94"/>
                <a:gd name="T80" fmla="*/ 29 w 34"/>
                <a:gd name="T81" fmla="*/ 6 h 94"/>
                <a:gd name="T82" fmla="*/ 25 w 34"/>
                <a:gd name="T83" fmla="*/ 2 h 94"/>
                <a:gd name="T84" fmla="*/ 22 w 34"/>
                <a:gd name="T85" fmla="*/ 0 h 94"/>
                <a:gd name="T86" fmla="*/ 22 w 34"/>
                <a:gd name="T87" fmla="*/ 0 h 94"/>
                <a:gd name="T88" fmla="*/ 20 w 34"/>
                <a:gd name="T89" fmla="*/ 2 h 94"/>
                <a:gd name="T90" fmla="*/ 18 w 34"/>
                <a:gd name="T91" fmla="*/ 13 h 94"/>
                <a:gd name="T92" fmla="*/ 18 w 34"/>
                <a:gd name="T93" fmla="*/ 13 h 94"/>
                <a:gd name="T94" fmla="*/ 18 w 34"/>
                <a:gd name="T95" fmla="*/ 1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" h="94">
                  <a:moveTo>
                    <a:pt x="18" y="13"/>
                  </a:moveTo>
                  <a:lnTo>
                    <a:pt x="18" y="13"/>
                  </a:lnTo>
                  <a:lnTo>
                    <a:pt x="18" y="20"/>
                  </a:lnTo>
                  <a:lnTo>
                    <a:pt x="18" y="23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6" y="30"/>
                  </a:lnTo>
                  <a:lnTo>
                    <a:pt x="15" y="32"/>
                  </a:lnTo>
                  <a:lnTo>
                    <a:pt x="9" y="32"/>
                  </a:lnTo>
                  <a:lnTo>
                    <a:pt x="6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46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4" y="75"/>
                  </a:lnTo>
                  <a:lnTo>
                    <a:pt x="6" y="91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13" y="91"/>
                  </a:lnTo>
                  <a:lnTo>
                    <a:pt x="15" y="84"/>
                  </a:lnTo>
                  <a:lnTo>
                    <a:pt x="16" y="78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64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5"/>
                  </a:lnTo>
                  <a:lnTo>
                    <a:pt x="22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3"/>
                  </a:lnTo>
                  <a:lnTo>
                    <a:pt x="25" y="36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9" y="1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29" y="6"/>
                  </a:lnTo>
                  <a:lnTo>
                    <a:pt x="25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6" name="Freeform 115"/>
            <p:cNvSpPr>
              <a:spLocks/>
            </p:cNvSpPr>
            <p:nvPr/>
          </p:nvSpPr>
          <p:spPr bwMode="auto">
            <a:xfrm>
              <a:off x="2751468" y="2750086"/>
              <a:ext cx="22819" cy="39362"/>
            </a:xfrm>
            <a:custGeom>
              <a:avLst/>
              <a:gdLst>
                <a:gd name="T0" fmla="*/ 40 w 40"/>
                <a:gd name="T1" fmla="*/ 62 h 69"/>
                <a:gd name="T2" fmla="*/ 33 w 40"/>
                <a:gd name="T3" fmla="*/ 58 h 69"/>
                <a:gd name="T4" fmla="*/ 33 w 40"/>
                <a:gd name="T5" fmla="*/ 58 h 69"/>
                <a:gd name="T6" fmla="*/ 24 w 40"/>
                <a:gd name="T7" fmla="*/ 56 h 69"/>
                <a:gd name="T8" fmla="*/ 23 w 40"/>
                <a:gd name="T9" fmla="*/ 53 h 69"/>
                <a:gd name="T10" fmla="*/ 21 w 40"/>
                <a:gd name="T11" fmla="*/ 51 h 69"/>
                <a:gd name="T12" fmla="*/ 21 w 40"/>
                <a:gd name="T13" fmla="*/ 49 h 69"/>
                <a:gd name="T14" fmla="*/ 21 w 40"/>
                <a:gd name="T15" fmla="*/ 44 h 69"/>
                <a:gd name="T16" fmla="*/ 23 w 40"/>
                <a:gd name="T17" fmla="*/ 35 h 69"/>
                <a:gd name="T18" fmla="*/ 23 w 40"/>
                <a:gd name="T19" fmla="*/ 35 h 69"/>
                <a:gd name="T20" fmla="*/ 23 w 40"/>
                <a:gd name="T21" fmla="*/ 17 h 69"/>
                <a:gd name="T22" fmla="*/ 24 w 40"/>
                <a:gd name="T23" fmla="*/ 10 h 69"/>
                <a:gd name="T24" fmla="*/ 26 w 40"/>
                <a:gd name="T25" fmla="*/ 0 h 69"/>
                <a:gd name="T26" fmla="*/ 26 w 40"/>
                <a:gd name="T27" fmla="*/ 0 h 69"/>
                <a:gd name="T28" fmla="*/ 23 w 40"/>
                <a:gd name="T29" fmla="*/ 1 h 69"/>
                <a:gd name="T30" fmla="*/ 16 w 40"/>
                <a:gd name="T31" fmla="*/ 3 h 69"/>
                <a:gd name="T32" fmla="*/ 7 w 40"/>
                <a:gd name="T33" fmla="*/ 8 h 69"/>
                <a:gd name="T34" fmla="*/ 5 w 40"/>
                <a:gd name="T35" fmla="*/ 12 h 69"/>
                <a:gd name="T36" fmla="*/ 5 w 40"/>
                <a:gd name="T37" fmla="*/ 12 h 69"/>
                <a:gd name="T38" fmla="*/ 8 w 40"/>
                <a:gd name="T39" fmla="*/ 12 h 69"/>
                <a:gd name="T40" fmla="*/ 8 w 40"/>
                <a:gd name="T41" fmla="*/ 12 h 69"/>
                <a:gd name="T42" fmla="*/ 8 w 40"/>
                <a:gd name="T43" fmla="*/ 17 h 69"/>
                <a:gd name="T44" fmla="*/ 10 w 40"/>
                <a:gd name="T45" fmla="*/ 28 h 69"/>
                <a:gd name="T46" fmla="*/ 8 w 40"/>
                <a:gd name="T47" fmla="*/ 35 h 69"/>
                <a:gd name="T48" fmla="*/ 7 w 40"/>
                <a:gd name="T49" fmla="*/ 39 h 69"/>
                <a:gd name="T50" fmla="*/ 5 w 40"/>
                <a:gd name="T51" fmla="*/ 40 h 69"/>
                <a:gd name="T52" fmla="*/ 5 w 40"/>
                <a:gd name="T53" fmla="*/ 40 h 69"/>
                <a:gd name="T54" fmla="*/ 1 w 40"/>
                <a:gd name="T55" fmla="*/ 37 h 69"/>
                <a:gd name="T56" fmla="*/ 1 w 40"/>
                <a:gd name="T57" fmla="*/ 37 h 69"/>
                <a:gd name="T58" fmla="*/ 0 w 40"/>
                <a:gd name="T59" fmla="*/ 40 h 69"/>
                <a:gd name="T60" fmla="*/ 0 w 40"/>
                <a:gd name="T61" fmla="*/ 42 h 69"/>
                <a:gd name="T62" fmla="*/ 0 w 40"/>
                <a:gd name="T63" fmla="*/ 42 h 69"/>
                <a:gd name="T64" fmla="*/ 5 w 40"/>
                <a:gd name="T65" fmla="*/ 44 h 69"/>
                <a:gd name="T66" fmla="*/ 5 w 40"/>
                <a:gd name="T67" fmla="*/ 44 h 69"/>
                <a:gd name="T68" fmla="*/ 5 w 40"/>
                <a:gd name="T69" fmla="*/ 58 h 69"/>
                <a:gd name="T70" fmla="*/ 5 w 40"/>
                <a:gd name="T71" fmla="*/ 58 h 69"/>
                <a:gd name="T72" fmla="*/ 10 w 40"/>
                <a:gd name="T73" fmla="*/ 58 h 69"/>
                <a:gd name="T74" fmla="*/ 10 w 40"/>
                <a:gd name="T75" fmla="*/ 58 h 69"/>
                <a:gd name="T76" fmla="*/ 10 w 40"/>
                <a:gd name="T77" fmla="*/ 62 h 69"/>
                <a:gd name="T78" fmla="*/ 16 w 40"/>
                <a:gd name="T79" fmla="*/ 64 h 69"/>
                <a:gd name="T80" fmla="*/ 19 w 40"/>
                <a:gd name="T81" fmla="*/ 67 h 69"/>
                <a:gd name="T82" fmla="*/ 23 w 40"/>
                <a:gd name="T83" fmla="*/ 69 h 69"/>
                <a:gd name="T84" fmla="*/ 30 w 40"/>
                <a:gd name="T85" fmla="*/ 69 h 69"/>
                <a:gd name="T86" fmla="*/ 40 w 40"/>
                <a:gd name="T87" fmla="*/ 69 h 69"/>
                <a:gd name="T88" fmla="*/ 40 w 40"/>
                <a:gd name="T89" fmla="*/ 69 h 69"/>
                <a:gd name="T90" fmla="*/ 40 w 40"/>
                <a:gd name="T91" fmla="*/ 62 h 69"/>
                <a:gd name="T92" fmla="*/ 40 w 40"/>
                <a:gd name="T93" fmla="*/ 62 h 69"/>
                <a:gd name="T94" fmla="*/ 40 w 40"/>
                <a:gd name="T95" fmla="*/ 6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" h="69">
                  <a:moveTo>
                    <a:pt x="40" y="62"/>
                  </a:moveTo>
                  <a:lnTo>
                    <a:pt x="33" y="58"/>
                  </a:lnTo>
                  <a:lnTo>
                    <a:pt x="33" y="58"/>
                  </a:lnTo>
                  <a:lnTo>
                    <a:pt x="24" y="56"/>
                  </a:lnTo>
                  <a:lnTo>
                    <a:pt x="23" y="53"/>
                  </a:lnTo>
                  <a:lnTo>
                    <a:pt x="21" y="51"/>
                  </a:lnTo>
                  <a:lnTo>
                    <a:pt x="21" y="49"/>
                  </a:lnTo>
                  <a:lnTo>
                    <a:pt x="21" y="44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17"/>
                  </a:lnTo>
                  <a:lnTo>
                    <a:pt x="24" y="1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7" y="8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7"/>
                  </a:lnTo>
                  <a:lnTo>
                    <a:pt x="10" y="28"/>
                  </a:lnTo>
                  <a:lnTo>
                    <a:pt x="8" y="35"/>
                  </a:lnTo>
                  <a:lnTo>
                    <a:pt x="7" y="39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62"/>
                  </a:lnTo>
                  <a:lnTo>
                    <a:pt x="16" y="64"/>
                  </a:lnTo>
                  <a:lnTo>
                    <a:pt x="19" y="67"/>
                  </a:lnTo>
                  <a:lnTo>
                    <a:pt x="23" y="69"/>
                  </a:lnTo>
                  <a:lnTo>
                    <a:pt x="3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7" name="Freeform 116"/>
            <p:cNvSpPr>
              <a:spLocks/>
            </p:cNvSpPr>
            <p:nvPr/>
          </p:nvSpPr>
          <p:spPr bwMode="auto">
            <a:xfrm>
              <a:off x="2775428" y="2759214"/>
              <a:ext cx="6275" cy="9127"/>
            </a:xfrm>
            <a:custGeom>
              <a:avLst/>
              <a:gdLst>
                <a:gd name="T0" fmla="*/ 7 w 11"/>
                <a:gd name="T1" fmla="*/ 1 h 16"/>
                <a:gd name="T2" fmla="*/ 7 w 11"/>
                <a:gd name="T3" fmla="*/ 0 h 16"/>
                <a:gd name="T4" fmla="*/ 7 w 11"/>
                <a:gd name="T5" fmla="*/ 0 h 16"/>
                <a:gd name="T6" fmla="*/ 4 w 11"/>
                <a:gd name="T7" fmla="*/ 1 h 16"/>
                <a:gd name="T8" fmla="*/ 2 w 11"/>
                <a:gd name="T9" fmla="*/ 5 h 16"/>
                <a:gd name="T10" fmla="*/ 0 w 11"/>
                <a:gd name="T11" fmla="*/ 10 h 16"/>
                <a:gd name="T12" fmla="*/ 2 w 11"/>
                <a:gd name="T13" fmla="*/ 12 h 16"/>
                <a:gd name="T14" fmla="*/ 4 w 11"/>
                <a:gd name="T15" fmla="*/ 14 h 16"/>
                <a:gd name="T16" fmla="*/ 4 w 11"/>
                <a:gd name="T17" fmla="*/ 14 h 16"/>
                <a:gd name="T18" fmla="*/ 6 w 11"/>
                <a:gd name="T19" fmla="*/ 16 h 16"/>
                <a:gd name="T20" fmla="*/ 7 w 11"/>
                <a:gd name="T21" fmla="*/ 14 h 16"/>
                <a:gd name="T22" fmla="*/ 7 w 11"/>
                <a:gd name="T23" fmla="*/ 14 h 16"/>
                <a:gd name="T24" fmla="*/ 9 w 11"/>
                <a:gd name="T25" fmla="*/ 12 h 16"/>
                <a:gd name="T26" fmla="*/ 11 w 11"/>
                <a:gd name="T27" fmla="*/ 5 h 16"/>
                <a:gd name="T28" fmla="*/ 9 w 11"/>
                <a:gd name="T29" fmla="*/ 3 h 16"/>
                <a:gd name="T30" fmla="*/ 7 w 11"/>
                <a:gd name="T31" fmla="*/ 1 h 16"/>
                <a:gd name="T32" fmla="*/ 7 w 11"/>
                <a:gd name="T33" fmla="*/ 1 h 16"/>
                <a:gd name="T34" fmla="*/ 7 w 11"/>
                <a:gd name="T3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6">
                  <a:moveTo>
                    <a:pt x="7" y="1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1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2"/>
                  </a:lnTo>
                  <a:lnTo>
                    <a:pt x="11" y="5"/>
                  </a:lnTo>
                  <a:lnTo>
                    <a:pt x="9" y="3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8" name="Freeform 117"/>
            <p:cNvSpPr>
              <a:spLocks/>
            </p:cNvSpPr>
            <p:nvPr/>
          </p:nvSpPr>
          <p:spPr bwMode="auto">
            <a:xfrm>
              <a:off x="2773716" y="2245796"/>
              <a:ext cx="23389" cy="7987"/>
            </a:xfrm>
            <a:custGeom>
              <a:avLst/>
              <a:gdLst>
                <a:gd name="T0" fmla="*/ 0 w 41"/>
                <a:gd name="T1" fmla="*/ 7 h 14"/>
                <a:gd name="T2" fmla="*/ 0 w 41"/>
                <a:gd name="T3" fmla="*/ 7 h 14"/>
                <a:gd name="T4" fmla="*/ 1 w 41"/>
                <a:gd name="T5" fmla="*/ 9 h 14"/>
                <a:gd name="T6" fmla="*/ 7 w 41"/>
                <a:gd name="T7" fmla="*/ 11 h 14"/>
                <a:gd name="T8" fmla="*/ 17 w 41"/>
                <a:gd name="T9" fmla="*/ 14 h 14"/>
                <a:gd name="T10" fmla="*/ 28 w 41"/>
                <a:gd name="T11" fmla="*/ 14 h 14"/>
                <a:gd name="T12" fmla="*/ 35 w 41"/>
                <a:gd name="T13" fmla="*/ 14 h 14"/>
                <a:gd name="T14" fmla="*/ 41 w 41"/>
                <a:gd name="T15" fmla="*/ 11 h 14"/>
                <a:gd name="T16" fmla="*/ 41 w 41"/>
                <a:gd name="T17" fmla="*/ 11 h 14"/>
                <a:gd name="T18" fmla="*/ 41 w 41"/>
                <a:gd name="T19" fmla="*/ 9 h 14"/>
                <a:gd name="T20" fmla="*/ 39 w 41"/>
                <a:gd name="T21" fmla="*/ 5 h 14"/>
                <a:gd name="T22" fmla="*/ 33 w 41"/>
                <a:gd name="T23" fmla="*/ 4 h 14"/>
                <a:gd name="T24" fmla="*/ 28 w 41"/>
                <a:gd name="T25" fmla="*/ 2 h 14"/>
                <a:gd name="T26" fmla="*/ 21 w 41"/>
                <a:gd name="T27" fmla="*/ 0 h 14"/>
                <a:gd name="T28" fmla="*/ 14 w 41"/>
                <a:gd name="T29" fmla="*/ 0 h 14"/>
                <a:gd name="T30" fmla="*/ 7 w 41"/>
                <a:gd name="T31" fmla="*/ 2 h 14"/>
                <a:gd name="T32" fmla="*/ 3 w 41"/>
                <a:gd name="T33" fmla="*/ 4 h 14"/>
                <a:gd name="T34" fmla="*/ 0 w 41"/>
                <a:gd name="T35" fmla="*/ 7 h 14"/>
                <a:gd name="T36" fmla="*/ 0 w 41"/>
                <a:gd name="T37" fmla="*/ 7 h 14"/>
                <a:gd name="T38" fmla="*/ 0 w 41"/>
                <a:gd name="T3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14">
                  <a:moveTo>
                    <a:pt x="0" y="7"/>
                  </a:moveTo>
                  <a:lnTo>
                    <a:pt x="0" y="7"/>
                  </a:lnTo>
                  <a:lnTo>
                    <a:pt x="1" y="9"/>
                  </a:lnTo>
                  <a:lnTo>
                    <a:pt x="7" y="11"/>
                  </a:lnTo>
                  <a:lnTo>
                    <a:pt x="17" y="14"/>
                  </a:lnTo>
                  <a:lnTo>
                    <a:pt x="28" y="14"/>
                  </a:lnTo>
                  <a:lnTo>
                    <a:pt x="35" y="14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9" y="5"/>
                  </a:lnTo>
                  <a:lnTo>
                    <a:pt x="33" y="4"/>
                  </a:lnTo>
                  <a:lnTo>
                    <a:pt x="28" y="2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7" y="2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9" name="Freeform 118"/>
            <p:cNvSpPr>
              <a:spLocks/>
            </p:cNvSpPr>
            <p:nvPr/>
          </p:nvSpPr>
          <p:spPr bwMode="auto">
            <a:xfrm>
              <a:off x="2799958" y="2234957"/>
              <a:ext cx="11980" cy="7987"/>
            </a:xfrm>
            <a:custGeom>
              <a:avLst/>
              <a:gdLst>
                <a:gd name="T0" fmla="*/ 19 w 21"/>
                <a:gd name="T1" fmla="*/ 0 h 14"/>
                <a:gd name="T2" fmla="*/ 18 w 21"/>
                <a:gd name="T3" fmla="*/ 0 h 14"/>
                <a:gd name="T4" fmla="*/ 18 w 21"/>
                <a:gd name="T5" fmla="*/ 0 h 14"/>
                <a:gd name="T6" fmla="*/ 14 w 21"/>
                <a:gd name="T7" fmla="*/ 1 h 14"/>
                <a:gd name="T8" fmla="*/ 5 w 21"/>
                <a:gd name="T9" fmla="*/ 5 h 14"/>
                <a:gd name="T10" fmla="*/ 2 w 21"/>
                <a:gd name="T11" fmla="*/ 7 h 14"/>
                <a:gd name="T12" fmla="*/ 0 w 21"/>
                <a:gd name="T13" fmla="*/ 8 h 14"/>
                <a:gd name="T14" fmla="*/ 0 w 21"/>
                <a:gd name="T15" fmla="*/ 8 h 14"/>
                <a:gd name="T16" fmla="*/ 2 w 21"/>
                <a:gd name="T17" fmla="*/ 14 h 14"/>
                <a:gd name="T18" fmla="*/ 2 w 21"/>
                <a:gd name="T19" fmla="*/ 14 h 14"/>
                <a:gd name="T20" fmla="*/ 5 w 21"/>
                <a:gd name="T21" fmla="*/ 14 h 14"/>
                <a:gd name="T22" fmla="*/ 7 w 21"/>
                <a:gd name="T23" fmla="*/ 14 h 14"/>
                <a:gd name="T24" fmla="*/ 16 w 21"/>
                <a:gd name="T25" fmla="*/ 8 h 14"/>
                <a:gd name="T26" fmla="*/ 19 w 21"/>
                <a:gd name="T27" fmla="*/ 5 h 14"/>
                <a:gd name="T28" fmla="*/ 21 w 21"/>
                <a:gd name="T29" fmla="*/ 3 h 14"/>
                <a:gd name="T30" fmla="*/ 21 w 21"/>
                <a:gd name="T31" fmla="*/ 1 h 14"/>
                <a:gd name="T32" fmla="*/ 19 w 21"/>
                <a:gd name="T33" fmla="*/ 0 h 14"/>
                <a:gd name="T34" fmla="*/ 19 w 21"/>
                <a:gd name="T35" fmla="*/ 0 h 14"/>
                <a:gd name="T36" fmla="*/ 19 w 21"/>
                <a:gd name="T3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14">
                  <a:moveTo>
                    <a:pt x="19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4" y="1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6" y="8"/>
                  </a:lnTo>
                  <a:lnTo>
                    <a:pt x="19" y="5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0" name="Freeform 119"/>
            <p:cNvSpPr>
              <a:spLocks/>
            </p:cNvSpPr>
            <p:nvPr/>
          </p:nvSpPr>
          <p:spPr bwMode="auto">
            <a:xfrm>
              <a:off x="1755438" y="1979959"/>
              <a:ext cx="10839" cy="10268"/>
            </a:xfrm>
            <a:custGeom>
              <a:avLst/>
              <a:gdLst>
                <a:gd name="T0" fmla="*/ 18 w 19"/>
                <a:gd name="T1" fmla="*/ 4 h 18"/>
                <a:gd name="T2" fmla="*/ 16 w 19"/>
                <a:gd name="T3" fmla="*/ 2 h 18"/>
                <a:gd name="T4" fmla="*/ 16 w 19"/>
                <a:gd name="T5" fmla="*/ 2 h 18"/>
                <a:gd name="T6" fmla="*/ 14 w 19"/>
                <a:gd name="T7" fmla="*/ 0 h 18"/>
                <a:gd name="T8" fmla="*/ 12 w 19"/>
                <a:gd name="T9" fmla="*/ 0 h 18"/>
                <a:gd name="T10" fmla="*/ 9 w 19"/>
                <a:gd name="T11" fmla="*/ 0 h 18"/>
                <a:gd name="T12" fmla="*/ 5 w 19"/>
                <a:gd name="T13" fmla="*/ 0 h 18"/>
                <a:gd name="T14" fmla="*/ 3 w 19"/>
                <a:gd name="T15" fmla="*/ 4 h 18"/>
                <a:gd name="T16" fmla="*/ 0 w 19"/>
                <a:gd name="T17" fmla="*/ 6 h 18"/>
                <a:gd name="T18" fmla="*/ 0 w 19"/>
                <a:gd name="T19" fmla="*/ 11 h 18"/>
                <a:gd name="T20" fmla="*/ 3 w 19"/>
                <a:gd name="T21" fmla="*/ 15 h 18"/>
                <a:gd name="T22" fmla="*/ 3 w 19"/>
                <a:gd name="T23" fmla="*/ 15 h 18"/>
                <a:gd name="T24" fmla="*/ 5 w 19"/>
                <a:gd name="T25" fmla="*/ 16 h 18"/>
                <a:gd name="T26" fmla="*/ 9 w 19"/>
                <a:gd name="T27" fmla="*/ 18 h 18"/>
                <a:gd name="T28" fmla="*/ 12 w 19"/>
                <a:gd name="T29" fmla="*/ 16 h 18"/>
                <a:gd name="T30" fmla="*/ 16 w 19"/>
                <a:gd name="T31" fmla="*/ 16 h 18"/>
                <a:gd name="T32" fmla="*/ 18 w 19"/>
                <a:gd name="T33" fmla="*/ 15 h 18"/>
                <a:gd name="T34" fmla="*/ 19 w 19"/>
                <a:gd name="T35" fmla="*/ 13 h 18"/>
                <a:gd name="T36" fmla="*/ 19 w 19"/>
                <a:gd name="T37" fmla="*/ 8 h 18"/>
                <a:gd name="T38" fmla="*/ 18 w 19"/>
                <a:gd name="T39" fmla="*/ 4 h 18"/>
                <a:gd name="T40" fmla="*/ 18 w 19"/>
                <a:gd name="T41" fmla="*/ 4 h 18"/>
                <a:gd name="T42" fmla="*/ 18 w 19"/>
                <a:gd name="T4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" h="18">
                  <a:moveTo>
                    <a:pt x="18" y="4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3" y="4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6"/>
                  </a:lnTo>
                  <a:lnTo>
                    <a:pt x="9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8" y="15"/>
                  </a:lnTo>
                  <a:lnTo>
                    <a:pt x="19" y="13"/>
                  </a:lnTo>
                  <a:lnTo>
                    <a:pt x="19" y="8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1" name="Freeform 120"/>
            <p:cNvSpPr>
              <a:spLocks/>
            </p:cNvSpPr>
            <p:nvPr/>
          </p:nvSpPr>
          <p:spPr bwMode="auto">
            <a:xfrm>
              <a:off x="1697250" y="1975966"/>
              <a:ext cx="8557" cy="7416"/>
            </a:xfrm>
            <a:custGeom>
              <a:avLst/>
              <a:gdLst>
                <a:gd name="T0" fmla="*/ 15 w 15"/>
                <a:gd name="T1" fmla="*/ 0 h 13"/>
                <a:gd name="T2" fmla="*/ 15 w 15"/>
                <a:gd name="T3" fmla="*/ 0 h 13"/>
                <a:gd name="T4" fmla="*/ 15 w 15"/>
                <a:gd name="T5" fmla="*/ 0 h 13"/>
                <a:gd name="T6" fmla="*/ 6 w 15"/>
                <a:gd name="T7" fmla="*/ 0 h 13"/>
                <a:gd name="T8" fmla="*/ 2 w 15"/>
                <a:gd name="T9" fmla="*/ 0 h 13"/>
                <a:gd name="T10" fmla="*/ 2 w 15"/>
                <a:gd name="T11" fmla="*/ 0 h 13"/>
                <a:gd name="T12" fmla="*/ 2 w 15"/>
                <a:gd name="T13" fmla="*/ 0 h 13"/>
                <a:gd name="T14" fmla="*/ 0 w 15"/>
                <a:gd name="T15" fmla="*/ 4 h 13"/>
                <a:gd name="T16" fmla="*/ 2 w 15"/>
                <a:gd name="T17" fmla="*/ 7 h 13"/>
                <a:gd name="T18" fmla="*/ 4 w 15"/>
                <a:gd name="T19" fmla="*/ 11 h 13"/>
                <a:gd name="T20" fmla="*/ 4 w 15"/>
                <a:gd name="T21" fmla="*/ 11 h 13"/>
                <a:gd name="T22" fmla="*/ 9 w 15"/>
                <a:gd name="T23" fmla="*/ 13 h 13"/>
                <a:gd name="T24" fmla="*/ 11 w 15"/>
                <a:gd name="T25" fmla="*/ 13 h 13"/>
                <a:gd name="T26" fmla="*/ 13 w 15"/>
                <a:gd name="T27" fmla="*/ 13 h 13"/>
                <a:gd name="T28" fmla="*/ 15 w 15"/>
                <a:gd name="T29" fmla="*/ 11 h 13"/>
                <a:gd name="T30" fmla="*/ 15 w 15"/>
                <a:gd name="T31" fmla="*/ 7 h 13"/>
                <a:gd name="T32" fmla="*/ 15 w 15"/>
                <a:gd name="T33" fmla="*/ 2 h 13"/>
                <a:gd name="T34" fmla="*/ 15 w 15"/>
                <a:gd name="T35" fmla="*/ 2 h 13"/>
                <a:gd name="T36" fmla="*/ 15 w 15"/>
                <a:gd name="T37" fmla="*/ 2 h 13"/>
                <a:gd name="T38" fmla="*/ 15 w 15"/>
                <a:gd name="T39" fmla="*/ 0 h 13"/>
                <a:gd name="T40" fmla="*/ 15 w 15"/>
                <a:gd name="T41" fmla="*/ 0 h 13"/>
                <a:gd name="T42" fmla="*/ 15 w 15"/>
                <a:gd name="T4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" h="13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7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9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5" y="11"/>
                  </a:lnTo>
                  <a:lnTo>
                    <a:pt x="15" y="7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2" name="Freeform 121"/>
            <p:cNvSpPr>
              <a:spLocks/>
            </p:cNvSpPr>
            <p:nvPr/>
          </p:nvSpPr>
          <p:spPr bwMode="auto">
            <a:xfrm>
              <a:off x="1672150" y="2009623"/>
              <a:ext cx="7986" cy="6846"/>
            </a:xfrm>
            <a:custGeom>
              <a:avLst/>
              <a:gdLst>
                <a:gd name="T0" fmla="*/ 14 w 14"/>
                <a:gd name="T1" fmla="*/ 4 h 12"/>
                <a:gd name="T2" fmla="*/ 14 w 14"/>
                <a:gd name="T3" fmla="*/ 4 h 12"/>
                <a:gd name="T4" fmla="*/ 9 w 14"/>
                <a:gd name="T5" fmla="*/ 2 h 12"/>
                <a:gd name="T6" fmla="*/ 5 w 14"/>
                <a:gd name="T7" fmla="*/ 0 h 12"/>
                <a:gd name="T8" fmla="*/ 2 w 14"/>
                <a:gd name="T9" fmla="*/ 0 h 12"/>
                <a:gd name="T10" fmla="*/ 2 w 14"/>
                <a:gd name="T11" fmla="*/ 2 h 12"/>
                <a:gd name="T12" fmla="*/ 0 w 14"/>
                <a:gd name="T13" fmla="*/ 4 h 12"/>
                <a:gd name="T14" fmla="*/ 0 w 14"/>
                <a:gd name="T15" fmla="*/ 4 h 12"/>
                <a:gd name="T16" fmla="*/ 0 w 14"/>
                <a:gd name="T17" fmla="*/ 7 h 12"/>
                <a:gd name="T18" fmla="*/ 0 w 14"/>
                <a:gd name="T19" fmla="*/ 9 h 12"/>
                <a:gd name="T20" fmla="*/ 2 w 14"/>
                <a:gd name="T21" fmla="*/ 9 h 12"/>
                <a:gd name="T22" fmla="*/ 2 w 14"/>
                <a:gd name="T23" fmla="*/ 11 h 12"/>
                <a:gd name="T24" fmla="*/ 9 w 14"/>
                <a:gd name="T25" fmla="*/ 12 h 12"/>
                <a:gd name="T26" fmla="*/ 14 w 14"/>
                <a:gd name="T27" fmla="*/ 11 h 12"/>
                <a:gd name="T28" fmla="*/ 14 w 14"/>
                <a:gd name="T29" fmla="*/ 11 h 12"/>
                <a:gd name="T30" fmla="*/ 14 w 14"/>
                <a:gd name="T31" fmla="*/ 9 h 12"/>
                <a:gd name="T32" fmla="*/ 14 w 14"/>
                <a:gd name="T33" fmla="*/ 4 h 12"/>
                <a:gd name="T34" fmla="*/ 14 w 14"/>
                <a:gd name="T3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12">
                  <a:moveTo>
                    <a:pt x="14" y="4"/>
                  </a:moveTo>
                  <a:lnTo>
                    <a:pt x="14" y="4"/>
                  </a:lnTo>
                  <a:lnTo>
                    <a:pt x="9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9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9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3" name="Freeform 122"/>
            <p:cNvSpPr>
              <a:spLocks/>
            </p:cNvSpPr>
            <p:nvPr/>
          </p:nvSpPr>
          <p:spPr bwMode="auto">
            <a:xfrm>
              <a:off x="1733760" y="2098045"/>
              <a:ext cx="7416" cy="7987"/>
            </a:xfrm>
            <a:custGeom>
              <a:avLst/>
              <a:gdLst>
                <a:gd name="T0" fmla="*/ 13 w 13"/>
                <a:gd name="T1" fmla="*/ 5 h 14"/>
                <a:gd name="T2" fmla="*/ 8 w 13"/>
                <a:gd name="T3" fmla="*/ 0 h 14"/>
                <a:gd name="T4" fmla="*/ 8 w 13"/>
                <a:gd name="T5" fmla="*/ 0 h 14"/>
                <a:gd name="T6" fmla="*/ 6 w 13"/>
                <a:gd name="T7" fmla="*/ 1 h 14"/>
                <a:gd name="T8" fmla="*/ 0 w 13"/>
                <a:gd name="T9" fmla="*/ 1 h 14"/>
                <a:gd name="T10" fmla="*/ 0 w 13"/>
                <a:gd name="T11" fmla="*/ 1 h 14"/>
                <a:gd name="T12" fmla="*/ 0 w 13"/>
                <a:gd name="T13" fmla="*/ 5 h 14"/>
                <a:gd name="T14" fmla="*/ 2 w 13"/>
                <a:gd name="T15" fmla="*/ 10 h 14"/>
                <a:gd name="T16" fmla="*/ 6 w 13"/>
                <a:gd name="T17" fmla="*/ 12 h 14"/>
                <a:gd name="T18" fmla="*/ 8 w 13"/>
                <a:gd name="T19" fmla="*/ 14 h 14"/>
                <a:gd name="T20" fmla="*/ 9 w 13"/>
                <a:gd name="T21" fmla="*/ 14 h 14"/>
                <a:gd name="T22" fmla="*/ 11 w 13"/>
                <a:gd name="T23" fmla="*/ 12 h 14"/>
                <a:gd name="T24" fmla="*/ 11 w 13"/>
                <a:gd name="T25" fmla="*/ 10 h 14"/>
                <a:gd name="T26" fmla="*/ 13 w 13"/>
                <a:gd name="T27" fmla="*/ 5 h 14"/>
                <a:gd name="T28" fmla="*/ 13 w 13"/>
                <a:gd name="T29" fmla="*/ 5 h 14"/>
                <a:gd name="T30" fmla="*/ 13 w 13"/>
                <a:gd name="T31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14">
                  <a:moveTo>
                    <a:pt x="13" y="5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5"/>
                  </a:lnTo>
                  <a:lnTo>
                    <a:pt x="2" y="10"/>
                  </a:lnTo>
                  <a:lnTo>
                    <a:pt x="6" y="12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4" name="Freeform 123"/>
            <p:cNvSpPr>
              <a:spLocks/>
            </p:cNvSpPr>
            <p:nvPr/>
          </p:nvSpPr>
          <p:spPr bwMode="auto">
            <a:xfrm>
              <a:off x="1775404" y="2107743"/>
              <a:ext cx="10268" cy="8557"/>
            </a:xfrm>
            <a:custGeom>
              <a:avLst/>
              <a:gdLst>
                <a:gd name="T0" fmla="*/ 18 w 18"/>
                <a:gd name="T1" fmla="*/ 0 h 15"/>
                <a:gd name="T2" fmla="*/ 18 w 18"/>
                <a:gd name="T3" fmla="*/ 0 h 15"/>
                <a:gd name="T4" fmla="*/ 18 w 18"/>
                <a:gd name="T5" fmla="*/ 0 h 15"/>
                <a:gd name="T6" fmla="*/ 15 w 18"/>
                <a:gd name="T7" fmla="*/ 0 h 15"/>
                <a:gd name="T8" fmla="*/ 9 w 18"/>
                <a:gd name="T9" fmla="*/ 0 h 15"/>
                <a:gd name="T10" fmla="*/ 9 w 18"/>
                <a:gd name="T11" fmla="*/ 0 h 15"/>
                <a:gd name="T12" fmla="*/ 9 w 18"/>
                <a:gd name="T13" fmla="*/ 2 h 15"/>
                <a:gd name="T14" fmla="*/ 7 w 18"/>
                <a:gd name="T15" fmla="*/ 4 h 15"/>
                <a:gd name="T16" fmla="*/ 4 w 18"/>
                <a:gd name="T17" fmla="*/ 6 h 15"/>
                <a:gd name="T18" fmla="*/ 0 w 18"/>
                <a:gd name="T19" fmla="*/ 7 h 15"/>
                <a:gd name="T20" fmla="*/ 0 w 18"/>
                <a:gd name="T21" fmla="*/ 7 h 15"/>
                <a:gd name="T22" fmla="*/ 2 w 18"/>
                <a:gd name="T23" fmla="*/ 13 h 15"/>
                <a:gd name="T24" fmla="*/ 2 w 18"/>
                <a:gd name="T25" fmla="*/ 13 h 15"/>
                <a:gd name="T26" fmla="*/ 4 w 18"/>
                <a:gd name="T27" fmla="*/ 15 h 15"/>
                <a:gd name="T28" fmla="*/ 6 w 18"/>
                <a:gd name="T29" fmla="*/ 15 h 15"/>
                <a:gd name="T30" fmla="*/ 9 w 18"/>
                <a:gd name="T31" fmla="*/ 15 h 15"/>
                <a:gd name="T32" fmla="*/ 15 w 18"/>
                <a:gd name="T33" fmla="*/ 13 h 15"/>
                <a:gd name="T34" fmla="*/ 16 w 18"/>
                <a:gd name="T35" fmla="*/ 11 h 15"/>
                <a:gd name="T36" fmla="*/ 18 w 18"/>
                <a:gd name="T37" fmla="*/ 7 h 15"/>
                <a:gd name="T38" fmla="*/ 18 w 18"/>
                <a:gd name="T39" fmla="*/ 4 h 15"/>
                <a:gd name="T40" fmla="*/ 18 w 18"/>
                <a:gd name="T41" fmla="*/ 0 h 15"/>
                <a:gd name="T42" fmla="*/ 18 w 18"/>
                <a:gd name="T43" fmla="*/ 0 h 15"/>
                <a:gd name="T44" fmla="*/ 18 w 18"/>
                <a:gd name="T4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15">
                  <a:moveTo>
                    <a:pt x="18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7" y="4"/>
                  </a:lnTo>
                  <a:lnTo>
                    <a:pt x="4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5" y="13"/>
                  </a:lnTo>
                  <a:lnTo>
                    <a:pt x="16" y="11"/>
                  </a:lnTo>
                  <a:lnTo>
                    <a:pt x="18" y="7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5" name="Freeform 124"/>
            <p:cNvSpPr>
              <a:spLocks/>
            </p:cNvSpPr>
            <p:nvPr/>
          </p:nvSpPr>
          <p:spPr bwMode="auto">
            <a:xfrm>
              <a:off x="1850705" y="2073515"/>
              <a:ext cx="7986" cy="2852"/>
            </a:xfrm>
            <a:custGeom>
              <a:avLst/>
              <a:gdLst>
                <a:gd name="T0" fmla="*/ 7 w 14"/>
                <a:gd name="T1" fmla="*/ 0 h 5"/>
                <a:gd name="T2" fmla="*/ 7 w 14"/>
                <a:gd name="T3" fmla="*/ 0 h 5"/>
                <a:gd name="T4" fmla="*/ 7 w 14"/>
                <a:gd name="T5" fmla="*/ 0 h 5"/>
                <a:gd name="T6" fmla="*/ 5 w 14"/>
                <a:gd name="T7" fmla="*/ 0 h 5"/>
                <a:gd name="T8" fmla="*/ 2 w 14"/>
                <a:gd name="T9" fmla="*/ 0 h 5"/>
                <a:gd name="T10" fmla="*/ 0 w 14"/>
                <a:gd name="T11" fmla="*/ 2 h 5"/>
                <a:gd name="T12" fmla="*/ 0 w 14"/>
                <a:gd name="T13" fmla="*/ 4 h 5"/>
                <a:gd name="T14" fmla="*/ 2 w 14"/>
                <a:gd name="T15" fmla="*/ 5 h 5"/>
                <a:gd name="T16" fmla="*/ 7 w 14"/>
                <a:gd name="T17" fmla="*/ 5 h 5"/>
                <a:gd name="T18" fmla="*/ 7 w 14"/>
                <a:gd name="T19" fmla="*/ 5 h 5"/>
                <a:gd name="T20" fmla="*/ 12 w 14"/>
                <a:gd name="T21" fmla="*/ 5 h 5"/>
                <a:gd name="T22" fmla="*/ 14 w 14"/>
                <a:gd name="T23" fmla="*/ 5 h 5"/>
                <a:gd name="T24" fmla="*/ 14 w 14"/>
                <a:gd name="T25" fmla="*/ 4 h 5"/>
                <a:gd name="T26" fmla="*/ 12 w 14"/>
                <a:gd name="T27" fmla="*/ 2 h 5"/>
                <a:gd name="T28" fmla="*/ 7 w 14"/>
                <a:gd name="T29" fmla="*/ 0 h 5"/>
                <a:gd name="T30" fmla="*/ 7 w 14"/>
                <a:gd name="T31" fmla="*/ 0 h 5"/>
                <a:gd name="T32" fmla="*/ 7 w 14"/>
                <a:gd name="T3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5"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6" name="Freeform 125"/>
            <p:cNvSpPr>
              <a:spLocks/>
            </p:cNvSpPr>
            <p:nvPr/>
          </p:nvSpPr>
          <p:spPr bwMode="auto">
            <a:xfrm>
              <a:off x="1669868" y="2138548"/>
              <a:ext cx="10268" cy="14832"/>
            </a:xfrm>
            <a:custGeom>
              <a:avLst/>
              <a:gdLst>
                <a:gd name="T0" fmla="*/ 18 w 18"/>
                <a:gd name="T1" fmla="*/ 3 h 26"/>
                <a:gd name="T2" fmla="*/ 13 w 18"/>
                <a:gd name="T3" fmla="*/ 0 h 26"/>
                <a:gd name="T4" fmla="*/ 13 w 18"/>
                <a:gd name="T5" fmla="*/ 0 h 26"/>
                <a:gd name="T6" fmla="*/ 8 w 18"/>
                <a:gd name="T7" fmla="*/ 0 h 26"/>
                <a:gd name="T8" fmla="*/ 6 w 18"/>
                <a:gd name="T9" fmla="*/ 1 h 26"/>
                <a:gd name="T10" fmla="*/ 2 w 18"/>
                <a:gd name="T11" fmla="*/ 5 h 26"/>
                <a:gd name="T12" fmla="*/ 0 w 18"/>
                <a:gd name="T13" fmla="*/ 9 h 26"/>
                <a:gd name="T14" fmla="*/ 0 w 18"/>
                <a:gd name="T15" fmla="*/ 9 h 26"/>
                <a:gd name="T16" fmla="*/ 0 w 18"/>
                <a:gd name="T17" fmla="*/ 17 h 26"/>
                <a:gd name="T18" fmla="*/ 0 w 18"/>
                <a:gd name="T19" fmla="*/ 23 h 26"/>
                <a:gd name="T20" fmla="*/ 0 w 18"/>
                <a:gd name="T21" fmla="*/ 25 h 26"/>
                <a:gd name="T22" fmla="*/ 0 w 18"/>
                <a:gd name="T23" fmla="*/ 25 h 26"/>
                <a:gd name="T24" fmla="*/ 2 w 18"/>
                <a:gd name="T25" fmla="*/ 26 h 26"/>
                <a:gd name="T26" fmla="*/ 4 w 18"/>
                <a:gd name="T27" fmla="*/ 26 h 26"/>
                <a:gd name="T28" fmla="*/ 8 w 18"/>
                <a:gd name="T29" fmla="*/ 26 h 26"/>
                <a:gd name="T30" fmla="*/ 11 w 18"/>
                <a:gd name="T31" fmla="*/ 23 h 26"/>
                <a:gd name="T32" fmla="*/ 13 w 18"/>
                <a:gd name="T33" fmla="*/ 21 h 26"/>
                <a:gd name="T34" fmla="*/ 13 w 18"/>
                <a:gd name="T35" fmla="*/ 21 h 26"/>
                <a:gd name="T36" fmla="*/ 16 w 18"/>
                <a:gd name="T37" fmla="*/ 17 h 26"/>
                <a:gd name="T38" fmla="*/ 16 w 18"/>
                <a:gd name="T39" fmla="*/ 12 h 26"/>
                <a:gd name="T40" fmla="*/ 18 w 18"/>
                <a:gd name="T41" fmla="*/ 3 h 26"/>
                <a:gd name="T42" fmla="*/ 18 w 18"/>
                <a:gd name="T43" fmla="*/ 3 h 26"/>
                <a:gd name="T44" fmla="*/ 18 w 18"/>
                <a:gd name="T45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26">
                  <a:moveTo>
                    <a:pt x="18" y="3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6" y="1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6" y="17"/>
                  </a:lnTo>
                  <a:lnTo>
                    <a:pt x="16" y="12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7" name="Freeform 126"/>
            <p:cNvSpPr>
              <a:spLocks/>
            </p:cNvSpPr>
            <p:nvPr/>
          </p:nvSpPr>
          <p:spPr bwMode="auto">
            <a:xfrm>
              <a:off x="1618526" y="1934322"/>
              <a:ext cx="19966" cy="13691"/>
            </a:xfrm>
            <a:custGeom>
              <a:avLst/>
              <a:gdLst>
                <a:gd name="T0" fmla="*/ 34 w 35"/>
                <a:gd name="T1" fmla="*/ 0 h 24"/>
                <a:gd name="T2" fmla="*/ 34 w 35"/>
                <a:gd name="T3" fmla="*/ 0 h 24"/>
                <a:gd name="T4" fmla="*/ 28 w 35"/>
                <a:gd name="T5" fmla="*/ 4 h 24"/>
                <a:gd name="T6" fmla="*/ 25 w 35"/>
                <a:gd name="T7" fmla="*/ 6 h 24"/>
                <a:gd name="T8" fmla="*/ 21 w 35"/>
                <a:gd name="T9" fmla="*/ 9 h 24"/>
                <a:gd name="T10" fmla="*/ 21 w 35"/>
                <a:gd name="T11" fmla="*/ 9 h 24"/>
                <a:gd name="T12" fmla="*/ 16 w 35"/>
                <a:gd name="T13" fmla="*/ 9 h 24"/>
                <a:gd name="T14" fmla="*/ 12 w 35"/>
                <a:gd name="T15" fmla="*/ 9 h 24"/>
                <a:gd name="T16" fmla="*/ 12 w 35"/>
                <a:gd name="T17" fmla="*/ 9 h 24"/>
                <a:gd name="T18" fmla="*/ 5 w 35"/>
                <a:gd name="T19" fmla="*/ 9 h 24"/>
                <a:gd name="T20" fmla="*/ 2 w 35"/>
                <a:gd name="T21" fmla="*/ 13 h 24"/>
                <a:gd name="T22" fmla="*/ 0 w 35"/>
                <a:gd name="T23" fmla="*/ 13 h 24"/>
                <a:gd name="T24" fmla="*/ 0 w 35"/>
                <a:gd name="T25" fmla="*/ 16 h 24"/>
                <a:gd name="T26" fmla="*/ 5 w 35"/>
                <a:gd name="T27" fmla="*/ 20 h 24"/>
                <a:gd name="T28" fmla="*/ 5 w 35"/>
                <a:gd name="T29" fmla="*/ 20 h 24"/>
                <a:gd name="T30" fmla="*/ 7 w 35"/>
                <a:gd name="T31" fmla="*/ 22 h 24"/>
                <a:gd name="T32" fmla="*/ 9 w 35"/>
                <a:gd name="T33" fmla="*/ 24 h 24"/>
                <a:gd name="T34" fmla="*/ 14 w 35"/>
                <a:gd name="T35" fmla="*/ 24 h 24"/>
                <a:gd name="T36" fmla="*/ 19 w 35"/>
                <a:gd name="T37" fmla="*/ 24 h 24"/>
                <a:gd name="T38" fmla="*/ 26 w 35"/>
                <a:gd name="T39" fmla="*/ 22 h 24"/>
                <a:gd name="T40" fmla="*/ 26 w 35"/>
                <a:gd name="T41" fmla="*/ 22 h 24"/>
                <a:gd name="T42" fmla="*/ 32 w 35"/>
                <a:gd name="T43" fmla="*/ 20 h 24"/>
                <a:gd name="T44" fmla="*/ 34 w 35"/>
                <a:gd name="T45" fmla="*/ 15 h 24"/>
                <a:gd name="T46" fmla="*/ 35 w 35"/>
                <a:gd name="T47" fmla="*/ 9 h 24"/>
                <a:gd name="T48" fmla="*/ 35 w 35"/>
                <a:gd name="T49" fmla="*/ 4 h 24"/>
                <a:gd name="T50" fmla="*/ 35 w 35"/>
                <a:gd name="T51" fmla="*/ 4 h 24"/>
                <a:gd name="T52" fmla="*/ 34 w 35"/>
                <a:gd name="T53" fmla="*/ 2 h 24"/>
                <a:gd name="T54" fmla="*/ 34 w 35"/>
                <a:gd name="T55" fmla="*/ 0 h 24"/>
                <a:gd name="T56" fmla="*/ 34 w 35"/>
                <a:gd name="T5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24">
                  <a:moveTo>
                    <a:pt x="34" y="0"/>
                  </a:moveTo>
                  <a:lnTo>
                    <a:pt x="34" y="0"/>
                  </a:lnTo>
                  <a:lnTo>
                    <a:pt x="28" y="4"/>
                  </a:lnTo>
                  <a:lnTo>
                    <a:pt x="25" y="6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5" y="9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2"/>
                  </a:lnTo>
                  <a:lnTo>
                    <a:pt x="9" y="24"/>
                  </a:lnTo>
                  <a:lnTo>
                    <a:pt x="14" y="24"/>
                  </a:lnTo>
                  <a:lnTo>
                    <a:pt x="19" y="24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32" y="20"/>
                  </a:lnTo>
                  <a:lnTo>
                    <a:pt x="34" y="15"/>
                  </a:lnTo>
                  <a:lnTo>
                    <a:pt x="35" y="9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8" name="Freeform 127"/>
            <p:cNvSpPr>
              <a:spLocks/>
            </p:cNvSpPr>
            <p:nvPr/>
          </p:nvSpPr>
          <p:spPr bwMode="auto">
            <a:xfrm>
              <a:off x="1632788" y="1916067"/>
              <a:ext cx="7986" cy="9127"/>
            </a:xfrm>
            <a:custGeom>
              <a:avLst/>
              <a:gdLst>
                <a:gd name="T0" fmla="*/ 9 w 14"/>
                <a:gd name="T1" fmla="*/ 2 h 16"/>
                <a:gd name="T2" fmla="*/ 9 w 14"/>
                <a:gd name="T3" fmla="*/ 2 h 16"/>
                <a:gd name="T4" fmla="*/ 5 w 14"/>
                <a:gd name="T5" fmla="*/ 0 h 16"/>
                <a:gd name="T6" fmla="*/ 3 w 14"/>
                <a:gd name="T7" fmla="*/ 0 h 16"/>
                <a:gd name="T8" fmla="*/ 0 w 14"/>
                <a:gd name="T9" fmla="*/ 2 h 16"/>
                <a:gd name="T10" fmla="*/ 0 w 14"/>
                <a:gd name="T11" fmla="*/ 6 h 16"/>
                <a:gd name="T12" fmla="*/ 0 w 14"/>
                <a:gd name="T13" fmla="*/ 8 h 16"/>
                <a:gd name="T14" fmla="*/ 0 w 14"/>
                <a:gd name="T15" fmla="*/ 9 h 16"/>
                <a:gd name="T16" fmla="*/ 0 w 14"/>
                <a:gd name="T17" fmla="*/ 13 h 16"/>
                <a:gd name="T18" fmla="*/ 3 w 14"/>
                <a:gd name="T19" fmla="*/ 15 h 16"/>
                <a:gd name="T20" fmla="*/ 3 w 14"/>
                <a:gd name="T21" fmla="*/ 15 h 16"/>
                <a:gd name="T22" fmla="*/ 7 w 14"/>
                <a:gd name="T23" fmla="*/ 16 h 16"/>
                <a:gd name="T24" fmla="*/ 10 w 14"/>
                <a:gd name="T25" fmla="*/ 16 h 16"/>
                <a:gd name="T26" fmla="*/ 10 w 14"/>
                <a:gd name="T27" fmla="*/ 13 h 16"/>
                <a:gd name="T28" fmla="*/ 12 w 14"/>
                <a:gd name="T29" fmla="*/ 13 h 16"/>
                <a:gd name="T30" fmla="*/ 14 w 14"/>
                <a:gd name="T31" fmla="*/ 9 h 16"/>
                <a:gd name="T32" fmla="*/ 12 w 14"/>
                <a:gd name="T33" fmla="*/ 8 h 16"/>
                <a:gd name="T34" fmla="*/ 10 w 14"/>
                <a:gd name="T35" fmla="*/ 6 h 16"/>
                <a:gd name="T36" fmla="*/ 10 w 14"/>
                <a:gd name="T37" fmla="*/ 2 h 16"/>
                <a:gd name="T38" fmla="*/ 9 w 14"/>
                <a:gd name="T39" fmla="*/ 2 h 16"/>
                <a:gd name="T40" fmla="*/ 9 w 14"/>
                <a:gd name="T41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16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4" y="9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9" name="Freeform 128"/>
            <p:cNvSpPr>
              <a:spLocks/>
            </p:cNvSpPr>
            <p:nvPr/>
          </p:nvSpPr>
          <p:spPr bwMode="auto">
            <a:xfrm>
              <a:off x="1601983" y="1932611"/>
              <a:ext cx="15403" cy="11980"/>
            </a:xfrm>
            <a:custGeom>
              <a:avLst/>
              <a:gdLst>
                <a:gd name="T0" fmla="*/ 27 w 27"/>
                <a:gd name="T1" fmla="*/ 3 h 21"/>
                <a:gd name="T2" fmla="*/ 27 w 27"/>
                <a:gd name="T3" fmla="*/ 3 h 21"/>
                <a:gd name="T4" fmla="*/ 23 w 27"/>
                <a:gd name="T5" fmla="*/ 3 h 21"/>
                <a:gd name="T6" fmla="*/ 23 w 27"/>
                <a:gd name="T7" fmla="*/ 3 h 21"/>
                <a:gd name="T8" fmla="*/ 20 w 27"/>
                <a:gd name="T9" fmla="*/ 2 h 21"/>
                <a:gd name="T10" fmla="*/ 16 w 27"/>
                <a:gd name="T11" fmla="*/ 0 h 21"/>
                <a:gd name="T12" fmla="*/ 15 w 27"/>
                <a:gd name="T13" fmla="*/ 0 h 21"/>
                <a:gd name="T14" fmla="*/ 13 w 27"/>
                <a:gd name="T15" fmla="*/ 0 h 21"/>
                <a:gd name="T16" fmla="*/ 13 w 27"/>
                <a:gd name="T17" fmla="*/ 0 h 21"/>
                <a:gd name="T18" fmla="*/ 6 w 27"/>
                <a:gd name="T19" fmla="*/ 2 h 21"/>
                <a:gd name="T20" fmla="*/ 2 w 27"/>
                <a:gd name="T21" fmla="*/ 3 h 21"/>
                <a:gd name="T22" fmla="*/ 0 w 27"/>
                <a:gd name="T23" fmla="*/ 7 h 21"/>
                <a:gd name="T24" fmla="*/ 0 w 27"/>
                <a:gd name="T25" fmla="*/ 12 h 21"/>
                <a:gd name="T26" fmla="*/ 0 w 27"/>
                <a:gd name="T27" fmla="*/ 14 h 21"/>
                <a:gd name="T28" fmla="*/ 0 w 27"/>
                <a:gd name="T29" fmla="*/ 14 h 21"/>
                <a:gd name="T30" fmla="*/ 4 w 27"/>
                <a:gd name="T31" fmla="*/ 19 h 21"/>
                <a:gd name="T32" fmla="*/ 7 w 27"/>
                <a:gd name="T33" fmla="*/ 21 h 21"/>
                <a:gd name="T34" fmla="*/ 13 w 27"/>
                <a:gd name="T35" fmla="*/ 21 h 21"/>
                <a:gd name="T36" fmla="*/ 18 w 27"/>
                <a:gd name="T37" fmla="*/ 21 h 21"/>
                <a:gd name="T38" fmla="*/ 18 w 27"/>
                <a:gd name="T39" fmla="*/ 21 h 21"/>
                <a:gd name="T40" fmla="*/ 22 w 27"/>
                <a:gd name="T41" fmla="*/ 19 h 21"/>
                <a:gd name="T42" fmla="*/ 25 w 27"/>
                <a:gd name="T43" fmla="*/ 18 h 21"/>
                <a:gd name="T44" fmla="*/ 27 w 27"/>
                <a:gd name="T45" fmla="*/ 14 h 21"/>
                <a:gd name="T46" fmla="*/ 27 w 27"/>
                <a:gd name="T47" fmla="*/ 7 h 21"/>
                <a:gd name="T48" fmla="*/ 27 w 27"/>
                <a:gd name="T49" fmla="*/ 3 h 21"/>
                <a:gd name="T50" fmla="*/ 27 w 27"/>
                <a:gd name="T5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" h="21">
                  <a:moveTo>
                    <a:pt x="27" y="3"/>
                  </a:moveTo>
                  <a:lnTo>
                    <a:pt x="27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13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22" y="19"/>
                  </a:lnTo>
                  <a:lnTo>
                    <a:pt x="25" y="18"/>
                  </a:lnTo>
                  <a:lnTo>
                    <a:pt x="27" y="14"/>
                  </a:lnTo>
                  <a:lnTo>
                    <a:pt x="27" y="7"/>
                  </a:lnTo>
                  <a:lnTo>
                    <a:pt x="27" y="3"/>
                  </a:lnTo>
                  <a:lnTo>
                    <a:pt x="27" y="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0" name="Freeform 129"/>
            <p:cNvSpPr>
              <a:spLocks/>
            </p:cNvSpPr>
            <p:nvPr/>
          </p:nvSpPr>
          <p:spPr bwMode="auto">
            <a:xfrm>
              <a:off x="1614533" y="1925195"/>
              <a:ext cx="9127" cy="7416"/>
            </a:xfrm>
            <a:custGeom>
              <a:avLst/>
              <a:gdLst>
                <a:gd name="T0" fmla="*/ 1 w 16"/>
                <a:gd name="T1" fmla="*/ 2 h 13"/>
                <a:gd name="T2" fmla="*/ 1 w 16"/>
                <a:gd name="T3" fmla="*/ 2 h 13"/>
                <a:gd name="T4" fmla="*/ 0 w 16"/>
                <a:gd name="T5" fmla="*/ 6 h 13"/>
                <a:gd name="T6" fmla="*/ 0 w 16"/>
                <a:gd name="T7" fmla="*/ 9 h 13"/>
                <a:gd name="T8" fmla="*/ 1 w 16"/>
                <a:gd name="T9" fmla="*/ 9 h 13"/>
                <a:gd name="T10" fmla="*/ 3 w 16"/>
                <a:gd name="T11" fmla="*/ 11 h 13"/>
                <a:gd name="T12" fmla="*/ 7 w 16"/>
                <a:gd name="T13" fmla="*/ 11 h 13"/>
                <a:gd name="T14" fmla="*/ 12 w 16"/>
                <a:gd name="T15" fmla="*/ 13 h 13"/>
                <a:gd name="T16" fmla="*/ 12 w 16"/>
                <a:gd name="T17" fmla="*/ 13 h 13"/>
                <a:gd name="T18" fmla="*/ 14 w 16"/>
                <a:gd name="T19" fmla="*/ 9 h 13"/>
                <a:gd name="T20" fmla="*/ 16 w 16"/>
                <a:gd name="T21" fmla="*/ 6 h 13"/>
                <a:gd name="T22" fmla="*/ 16 w 16"/>
                <a:gd name="T23" fmla="*/ 6 h 13"/>
                <a:gd name="T24" fmla="*/ 12 w 16"/>
                <a:gd name="T25" fmla="*/ 0 h 13"/>
                <a:gd name="T26" fmla="*/ 7 w 16"/>
                <a:gd name="T27" fmla="*/ 0 h 13"/>
                <a:gd name="T28" fmla="*/ 3 w 16"/>
                <a:gd name="T29" fmla="*/ 0 h 13"/>
                <a:gd name="T30" fmla="*/ 1 w 16"/>
                <a:gd name="T31" fmla="*/ 2 h 13"/>
                <a:gd name="T32" fmla="*/ 1 w 16"/>
                <a:gd name="T33" fmla="*/ 2 h 13"/>
                <a:gd name="T34" fmla="*/ 1 w 16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3">
                  <a:moveTo>
                    <a:pt x="1" y="2"/>
                  </a:moveTo>
                  <a:lnTo>
                    <a:pt x="1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1" y="9"/>
                  </a:lnTo>
                  <a:lnTo>
                    <a:pt x="3" y="11"/>
                  </a:lnTo>
                  <a:lnTo>
                    <a:pt x="7" y="11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4" y="9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2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1" name="Freeform 130"/>
            <p:cNvSpPr>
              <a:spLocks/>
            </p:cNvSpPr>
            <p:nvPr/>
          </p:nvSpPr>
          <p:spPr bwMode="auto">
            <a:xfrm>
              <a:off x="1615103" y="1900094"/>
              <a:ext cx="10268" cy="7987"/>
            </a:xfrm>
            <a:custGeom>
              <a:avLst/>
              <a:gdLst>
                <a:gd name="T0" fmla="*/ 13 w 18"/>
                <a:gd name="T1" fmla="*/ 0 h 14"/>
                <a:gd name="T2" fmla="*/ 13 w 18"/>
                <a:gd name="T3" fmla="*/ 0 h 14"/>
                <a:gd name="T4" fmla="*/ 8 w 18"/>
                <a:gd name="T5" fmla="*/ 0 h 14"/>
                <a:gd name="T6" fmla="*/ 4 w 18"/>
                <a:gd name="T7" fmla="*/ 2 h 14"/>
                <a:gd name="T8" fmla="*/ 4 w 18"/>
                <a:gd name="T9" fmla="*/ 2 h 14"/>
                <a:gd name="T10" fmla="*/ 4 w 18"/>
                <a:gd name="T11" fmla="*/ 4 h 14"/>
                <a:gd name="T12" fmla="*/ 0 w 18"/>
                <a:gd name="T13" fmla="*/ 4 h 14"/>
                <a:gd name="T14" fmla="*/ 0 w 18"/>
                <a:gd name="T15" fmla="*/ 4 h 14"/>
                <a:gd name="T16" fmla="*/ 0 w 18"/>
                <a:gd name="T17" fmla="*/ 9 h 14"/>
                <a:gd name="T18" fmla="*/ 0 w 18"/>
                <a:gd name="T19" fmla="*/ 11 h 14"/>
                <a:gd name="T20" fmla="*/ 4 w 18"/>
                <a:gd name="T21" fmla="*/ 12 h 14"/>
                <a:gd name="T22" fmla="*/ 4 w 18"/>
                <a:gd name="T23" fmla="*/ 12 h 14"/>
                <a:gd name="T24" fmla="*/ 11 w 18"/>
                <a:gd name="T25" fmla="*/ 14 h 14"/>
                <a:gd name="T26" fmla="*/ 16 w 18"/>
                <a:gd name="T27" fmla="*/ 14 h 14"/>
                <a:gd name="T28" fmla="*/ 18 w 18"/>
                <a:gd name="T29" fmla="*/ 11 h 14"/>
                <a:gd name="T30" fmla="*/ 18 w 18"/>
                <a:gd name="T31" fmla="*/ 11 h 14"/>
                <a:gd name="T32" fmla="*/ 16 w 18"/>
                <a:gd name="T33" fmla="*/ 5 h 14"/>
                <a:gd name="T34" fmla="*/ 16 w 18"/>
                <a:gd name="T35" fmla="*/ 4 h 14"/>
                <a:gd name="T36" fmla="*/ 15 w 18"/>
                <a:gd name="T37" fmla="*/ 2 h 14"/>
                <a:gd name="T38" fmla="*/ 13 w 18"/>
                <a:gd name="T39" fmla="*/ 0 h 14"/>
                <a:gd name="T40" fmla="*/ 13 w 18"/>
                <a:gd name="T41" fmla="*/ 0 h 14"/>
                <a:gd name="T42" fmla="*/ 13 w 18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14">
                  <a:moveTo>
                    <a:pt x="13" y="0"/>
                  </a:moveTo>
                  <a:lnTo>
                    <a:pt x="13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2" name="Freeform 131"/>
            <p:cNvSpPr>
              <a:spLocks/>
            </p:cNvSpPr>
            <p:nvPr/>
          </p:nvSpPr>
          <p:spPr bwMode="auto">
            <a:xfrm>
              <a:off x="1565473" y="1917208"/>
              <a:ext cx="11409" cy="11409"/>
            </a:xfrm>
            <a:custGeom>
              <a:avLst/>
              <a:gdLst>
                <a:gd name="T0" fmla="*/ 9 w 20"/>
                <a:gd name="T1" fmla="*/ 4 h 20"/>
                <a:gd name="T2" fmla="*/ 9 w 20"/>
                <a:gd name="T3" fmla="*/ 4 h 20"/>
                <a:gd name="T4" fmla="*/ 7 w 20"/>
                <a:gd name="T5" fmla="*/ 2 h 20"/>
                <a:gd name="T6" fmla="*/ 6 w 20"/>
                <a:gd name="T7" fmla="*/ 0 h 20"/>
                <a:gd name="T8" fmla="*/ 2 w 20"/>
                <a:gd name="T9" fmla="*/ 2 h 20"/>
                <a:gd name="T10" fmla="*/ 0 w 20"/>
                <a:gd name="T11" fmla="*/ 6 h 20"/>
                <a:gd name="T12" fmla="*/ 0 w 20"/>
                <a:gd name="T13" fmla="*/ 7 h 20"/>
                <a:gd name="T14" fmla="*/ 0 w 20"/>
                <a:gd name="T15" fmla="*/ 7 h 20"/>
                <a:gd name="T16" fmla="*/ 0 w 20"/>
                <a:gd name="T17" fmla="*/ 7 h 20"/>
                <a:gd name="T18" fmla="*/ 7 w 20"/>
                <a:gd name="T19" fmla="*/ 14 h 20"/>
                <a:gd name="T20" fmla="*/ 7 w 20"/>
                <a:gd name="T21" fmla="*/ 14 h 20"/>
                <a:gd name="T22" fmla="*/ 11 w 20"/>
                <a:gd name="T23" fmla="*/ 20 h 20"/>
                <a:gd name="T24" fmla="*/ 11 w 20"/>
                <a:gd name="T25" fmla="*/ 20 h 20"/>
                <a:gd name="T26" fmla="*/ 13 w 20"/>
                <a:gd name="T27" fmla="*/ 20 h 20"/>
                <a:gd name="T28" fmla="*/ 13 w 20"/>
                <a:gd name="T29" fmla="*/ 20 h 20"/>
                <a:gd name="T30" fmla="*/ 16 w 20"/>
                <a:gd name="T31" fmla="*/ 14 h 20"/>
                <a:gd name="T32" fmla="*/ 16 w 20"/>
                <a:gd name="T33" fmla="*/ 7 h 20"/>
                <a:gd name="T34" fmla="*/ 20 w 20"/>
                <a:gd name="T35" fmla="*/ 4 h 20"/>
                <a:gd name="T36" fmla="*/ 20 w 20"/>
                <a:gd name="T37" fmla="*/ 4 h 20"/>
                <a:gd name="T38" fmla="*/ 16 w 20"/>
                <a:gd name="T39" fmla="*/ 2 h 20"/>
                <a:gd name="T40" fmla="*/ 13 w 20"/>
                <a:gd name="T41" fmla="*/ 0 h 20"/>
                <a:gd name="T42" fmla="*/ 9 w 20"/>
                <a:gd name="T43" fmla="*/ 4 h 20"/>
                <a:gd name="T44" fmla="*/ 9 w 20"/>
                <a:gd name="T45" fmla="*/ 4 h 20"/>
                <a:gd name="T46" fmla="*/ 9 w 20"/>
                <a:gd name="T4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20">
                  <a:moveTo>
                    <a:pt x="9" y="4"/>
                  </a:moveTo>
                  <a:lnTo>
                    <a:pt x="9" y="4"/>
                  </a:lnTo>
                  <a:lnTo>
                    <a:pt x="7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6" y="14"/>
                  </a:lnTo>
                  <a:lnTo>
                    <a:pt x="16" y="7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3" name="Freeform 132"/>
            <p:cNvSpPr>
              <a:spLocks/>
            </p:cNvSpPr>
            <p:nvPr/>
          </p:nvSpPr>
          <p:spPr bwMode="auto">
            <a:xfrm>
              <a:off x="1591144" y="1952007"/>
              <a:ext cx="6846" cy="5705"/>
            </a:xfrm>
            <a:custGeom>
              <a:avLst/>
              <a:gdLst>
                <a:gd name="T0" fmla="*/ 7 w 12"/>
                <a:gd name="T1" fmla="*/ 0 h 10"/>
                <a:gd name="T2" fmla="*/ 7 w 12"/>
                <a:gd name="T3" fmla="*/ 0 h 10"/>
                <a:gd name="T4" fmla="*/ 3 w 12"/>
                <a:gd name="T5" fmla="*/ 0 h 10"/>
                <a:gd name="T6" fmla="*/ 3 w 12"/>
                <a:gd name="T7" fmla="*/ 0 h 10"/>
                <a:gd name="T8" fmla="*/ 2 w 12"/>
                <a:gd name="T9" fmla="*/ 0 h 10"/>
                <a:gd name="T10" fmla="*/ 0 w 12"/>
                <a:gd name="T11" fmla="*/ 1 h 10"/>
                <a:gd name="T12" fmla="*/ 0 w 12"/>
                <a:gd name="T13" fmla="*/ 3 h 10"/>
                <a:gd name="T14" fmla="*/ 0 w 12"/>
                <a:gd name="T15" fmla="*/ 7 h 10"/>
                <a:gd name="T16" fmla="*/ 0 w 12"/>
                <a:gd name="T17" fmla="*/ 7 h 10"/>
                <a:gd name="T18" fmla="*/ 3 w 12"/>
                <a:gd name="T19" fmla="*/ 10 h 10"/>
                <a:gd name="T20" fmla="*/ 3 w 12"/>
                <a:gd name="T21" fmla="*/ 10 h 10"/>
                <a:gd name="T22" fmla="*/ 7 w 12"/>
                <a:gd name="T23" fmla="*/ 10 h 10"/>
                <a:gd name="T24" fmla="*/ 9 w 12"/>
                <a:gd name="T25" fmla="*/ 10 h 10"/>
                <a:gd name="T26" fmla="*/ 12 w 12"/>
                <a:gd name="T27" fmla="*/ 9 h 10"/>
                <a:gd name="T28" fmla="*/ 12 w 12"/>
                <a:gd name="T29" fmla="*/ 7 h 10"/>
                <a:gd name="T30" fmla="*/ 12 w 12"/>
                <a:gd name="T31" fmla="*/ 3 h 10"/>
                <a:gd name="T32" fmla="*/ 12 w 12"/>
                <a:gd name="T33" fmla="*/ 0 h 10"/>
                <a:gd name="T34" fmla="*/ 7 w 12"/>
                <a:gd name="T35" fmla="*/ 0 h 10"/>
                <a:gd name="T36" fmla="*/ 7 w 12"/>
                <a:gd name="T37" fmla="*/ 0 h 10"/>
                <a:gd name="T38" fmla="*/ 7 w 12"/>
                <a:gd name="T3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0">
                  <a:moveTo>
                    <a:pt x="7" y="0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9" y="10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4" name="Freeform 133"/>
            <p:cNvSpPr>
              <a:spLocks/>
            </p:cNvSpPr>
            <p:nvPr/>
          </p:nvSpPr>
          <p:spPr bwMode="auto">
            <a:xfrm>
              <a:off x="1582016" y="1931470"/>
              <a:ext cx="15973" cy="11980"/>
            </a:xfrm>
            <a:custGeom>
              <a:avLst/>
              <a:gdLst>
                <a:gd name="T0" fmla="*/ 18 w 28"/>
                <a:gd name="T1" fmla="*/ 2 h 21"/>
                <a:gd name="T2" fmla="*/ 16 w 28"/>
                <a:gd name="T3" fmla="*/ 5 h 21"/>
                <a:gd name="T4" fmla="*/ 16 w 28"/>
                <a:gd name="T5" fmla="*/ 5 h 21"/>
                <a:gd name="T6" fmla="*/ 12 w 28"/>
                <a:gd name="T7" fmla="*/ 5 h 21"/>
                <a:gd name="T8" fmla="*/ 10 w 28"/>
                <a:gd name="T9" fmla="*/ 5 h 21"/>
                <a:gd name="T10" fmla="*/ 9 w 28"/>
                <a:gd name="T11" fmla="*/ 2 h 21"/>
                <a:gd name="T12" fmla="*/ 7 w 28"/>
                <a:gd name="T13" fmla="*/ 2 h 21"/>
                <a:gd name="T14" fmla="*/ 3 w 28"/>
                <a:gd name="T15" fmla="*/ 2 h 21"/>
                <a:gd name="T16" fmla="*/ 2 w 28"/>
                <a:gd name="T17" fmla="*/ 2 h 21"/>
                <a:gd name="T18" fmla="*/ 0 w 28"/>
                <a:gd name="T19" fmla="*/ 5 h 21"/>
                <a:gd name="T20" fmla="*/ 0 w 28"/>
                <a:gd name="T21" fmla="*/ 5 h 21"/>
                <a:gd name="T22" fmla="*/ 0 w 28"/>
                <a:gd name="T23" fmla="*/ 9 h 21"/>
                <a:gd name="T24" fmla="*/ 0 w 28"/>
                <a:gd name="T25" fmla="*/ 14 h 21"/>
                <a:gd name="T26" fmla="*/ 2 w 28"/>
                <a:gd name="T27" fmla="*/ 16 h 21"/>
                <a:gd name="T28" fmla="*/ 2 w 28"/>
                <a:gd name="T29" fmla="*/ 16 h 21"/>
                <a:gd name="T30" fmla="*/ 3 w 28"/>
                <a:gd name="T31" fmla="*/ 16 h 21"/>
                <a:gd name="T32" fmla="*/ 9 w 28"/>
                <a:gd name="T33" fmla="*/ 16 h 21"/>
                <a:gd name="T34" fmla="*/ 9 w 28"/>
                <a:gd name="T35" fmla="*/ 16 h 21"/>
                <a:gd name="T36" fmla="*/ 10 w 28"/>
                <a:gd name="T37" fmla="*/ 18 h 21"/>
                <a:gd name="T38" fmla="*/ 12 w 28"/>
                <a:gd name="T39" fmla="*/ 18 h 21"/>
                <a:gd name="T40" fmla="*/ 12 w 28"/>
                <a:gd name="T41" fmla="*/ 18 h 21"/>
                <a:gd name="T42" fmla="*/ 16 w 28"/>
                <a:gd name="T43" fmla="*/ 21 h 21"/>
                <a:gd name="T44" fmla="*/ 18 w 28"/>
                <a:gd name="T45" fmla="*/ 21 h 21"/>
                <a:gd name="T46" fmla="*/ 21 w 28"/>
                <a:gd name="T47" fmla="*/ 20 h 21"/>
                <a:gd name="T48" fmla="*/ 21 w 28"/>
                <a:gd name="T49" fmla="*/ 20 h 21"/>
                <a:gd name="T50" fmla="*/ 25 w 28"/>
                <a:gd name="T51" fmla="*/ 18 h 21"/>
                <a:gd name="T52" fmla="*/ 28 w 28"/>
                <a:gd name="T53" fmla="*/ 18 h 21"/>
                <a:gd name="T54" fmla="*/ 28 w 28"/>
                <a:gd name="T55" fmla="*/ 14 h 21"/>
                <a:gd name="T56" fmla="*/ 28 w 28"/>
                <a:gd name="T57" fmla="*/ 14 h 21"/>
                <a:gd name="T58" fmla="*/ 28 w 28"/>
                <a:gd name="T59" fmla="*/ 9 h 21"/>
                <a:gd name="T60" fmla="*/ 25 w 28"/>
                <a:gd name="T61" fmla="*/ 4 h 21"/>
                <a:gd name="T62" fmla="*/ 23 w 28"/>
                <a:gd name="T63" fmla="*/ 2 h 21"/>
                <a:gd name="T64" fmla="*/ 21 w 28"/>
                <a:gd name="T65" fmla="*/ 0 h 21"/>
                <a:gd name="T66" fmla="*/ 19 w 28"/>
                <a:gd name="T67" fmla="*/ 0 h 21"/>
                <a:gd name="T68" fmla="*/ 18 w 28"/>
                <a:gd name="T69" fmla="*/ 2 h 21"/>
                <a:gd name="T70" fmla="*/ 18 w 28"/>
                <a:gd name="T71" fmla="*/ 2 h 21"/>
                <a:gd name="T72" fmla="*/ 18 w 28"/>
                <a:gd name="T73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" h="21">
                  <a:moveTo>
                    <a:pt x="18" y="2"/>
                  </a:moveTo>
                  <a:lnTo>
                    <a:pt x="16" y="5"/>
                  </a:lnTo>
                  <a:lnTo>
                    <a:pt x="16" y="5"/>
                  </a:lnTo>
                  <a:lnTo>
                    <a:pt x="12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7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6" y="21"/>
                  </a:lnTo>
                  <a:lnTo>
                    <a:pt x="18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5" y="18"/>
                  </a:lnTo>
                  <a:lnTo>
                    <a:pt x="28" y="1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9"/>
                  </a:lnTo>
                  <a:lnTo>
                    <a:pt x="25" y="4"/>
                  </a:lnTo>
                  <a:lnTo>
                    <a:pt x="23" y="2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5" name="Freeform 134"/>
            <p:cNvSpPr>
              <a:spLocks/>
            </p:cNvSpPr>
            <p:nvPr/>
          </p:nvSpPr>
          <p:spPr bwMode="auto">
            <a:xfrm>
              <a:off x="1587151" y="1902947"/>
              <a:ext cx="30235" cy="28523"/>
            </a:xfrm>
            <a:custGeom>
              <a:avLst/>
              <a:gdLst>
                <a:gd name="T0" fmla="*/ 53 w 53"/>
                <a:gd name="T1" fmla="*/ 27 h 50"/>
                <a:gd name="T2" fmla="*/ 53 w 53"/>
                <a:gd name="T3" fmla="*/ 25 h 50"/>
                <a:gd name="T4" fmla="*/ 46 w 53"/>
                <a:gd name="T5" fmla="*/ 16 h 50"/>
                <a:gd name="T6" fmla="*/ 42 w 53"/>
                <a:gd name="T7" fmla="*/ 9 h 50"/>
                <a:gd name="T8" fmla="*/ 39 w 53"/>
                <a:gd name="T9" fmla="*/ 4 h 50"/>
                <a:gd name="T10" fmla="*/ 32 w 53"/>
                <a:gd name="T11" fmla="*/ 0 h 50"/>
                <a:gd name="T12" fmla="*/ 30 w 53"/>
                <a:gd name="T13" fmla="*/ 4 h 50"/>
                <a:gd name="T14" fmla="*/ 26 w 53"/>
                <a:gd name="T15" fmla="*/ 9 h 50"/>
                <a:gd name="T16" fmla="*/ 23 w 53"/>
                <a:gd name="T17" fmla="*/ 11 h 50"/>
                <a:gd name="T18" fmla="*/ 23 w 53"/>
                <a:gd name="T19" fmla="*/ 7 h 50"/>
                <a:gd name="T20" fmla="*/ 21 w 53"/>
                <a:gd name="T21" fmla="*/ 7 h 50"/>
                <a:gd name="T22" fmla="*/ 21 w 53"/>
                <a:gd name="T23" fmla="*/ 11 h 50"/>
                <a:gd name="T24" fmla="*/ 23 w 53"/>
                <a:gd name="T25" fmla="*/ 16 h 50"/>
                <a:gd name="T26" fmla="*/ 23 w 53"/>
                <a:gd name="T27" fmla="*/ 20 h 50"/>
                <a:gd name="T28" fmla="*/ 19 w 53"/>
                <a:gd name="T29" fmla="*/ 20 h 50"/>
                <a:gd name="T30" fmla="*/ 14 w 53"/>
                <a:gd name="T31" fmla="*/ 16 h 50"/>
                <a:gd name="T32" fmla="*/ 10 w 53"/>
                <a:gd name="T33" fmla="*/ 9 h 50"/>
                <a:gd name="T34" fmla="*/ 7 w 53"/>
                <a:gd name="T35" fmla="*/ 7 h 50"/>
                <a:gd name="T36" fmla="*/ 5 w 53"/>
                <a:gd name="T37" fmla="*/ 7 h 50"/>
                <a:gd name="T38" fmla="*/ 3 w 53"/>
                <a:gd name="T39" fmla="*/ 11 h 50"/>
                <a:gd name="T40" fmla="*/ 7 w 53"/>
                <a:gd name="T41" fmla="*/ 15 h 50"/>
                <a:gd name="T42" fmla="*/ 10 w 53"/>
                <a:gd name="T43" fmla="*/ 20 h 50"/>
                <a:gd name="T44" fmla="*/ 10 w 53"/>
                <a:gd name="T45" fmla="*/ 25 h 50"/>
                <a:gd name="T46" fmla="*/ 3 w 53"/>
                <a:gd name="T47" fmla="*/ 16 h 50"/>
                <a:gd name="T48" fmla="*/ 0 w 53"/>
                <a:gd name="T49" fmla="*/ 18 h 50"/>
                <a:gd name="T50" fmla="*/ 0 w 53"/>
                <a:gd name="T51" fmla="*/ 23 h 50"/>
                <a:gd name="T52" fmla="*/ 3 w 53"/>
                <a:gd name="T53" fmla="*/ 31 h 50"/>
                <a:gd name="T54" fmla="*/ 7 w 53"/>
                <a:gd name="T55" fmla="*/ 36 h 50"/>
                <a:gd name="T56" fmla="*/ 14 w 53"/>
                <a:gd name="T57" fmla="*/ 41 h 50"/>
                <a:gd name="T58" fmla="*/ 19 w 53"/>
                <a:gd name="T59" fmla="*/ 41 h 50"/>
                <a:gd name="T60" fmla="*/ 23 w 53"/>
                <a:gd name="T61" fmla="*/ 41 h 50"/>
                <a:gd name="T62" fmla="*/ 26 w 53"/>
                <a:gd name="T63" fmla="*/ 48 h 50"/>
                <a:gd name="T64" fmla="*/ 30 w 53"/>
                <a:gd name="T65" fmla="*/ 50 h 50"/>
                <a:gd name="T66" fmla="*/ 33 w 53"/>
                <a:gd name="T67" fmla="*/ 48 h 50"/>
                <a:gd name="T68" fmla="*/ 33 w 53"/>
                <a:gd name="T69" fmla="*/ 38 h 50"/>
                <a:gd name="T70" fmla="*/ 39 w 53"/>
                <a:gd name="T71" fmla="*/ 36 h 50"/>
                <a:gd name="T72" fmla="*/ 33 w 53"/>
                <a:gd name="T73" fmla="*/ 36 h 50"/>
                <a:gd name="T74" fmla="*/ 30 w 53"/>
                <a:gd name="T75" fmla="*/ 32 h 50"/>
                <a:gd name="T76" fmla="*/ 30 w 53"/>
                <a:gd name="T77" fmla="*/ 32 h 50"/>
                <a:gd name="T78" fmla="*/ 35 w 53"/>
                <a:gd name="T79" fmla="*/ 32 h 50"/>
                <a:gd name="T80" fmla="*/ 33 w 53"/>
                <a:gd name="T81" fmla="*/ 20 h 50"/>
                <a:gd name="T82" fmla="*/ 39 w 53"/>
                <a:gd name="T83" fmla="*/ 20 h 50"/>
                <a:gd name="T84" fmla="*/ 46 w 53"/>
                <a:gd name="T85" fmla="*/ 23 h 50"/>
                <a:gd name="T86" fmla="*/ 51 w 53"/>
                <a:gd name="T87" fmla="*/ 27 h 50"/>
                <a:gd name="T88" fmla="*/ 53 w 53"/>
                <a:gd name="T89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3" h="50">
                  <a:moveTo>
                    <a:pt x="53" y="27"/>
                  </a:moveTo>
                  <a:lnTo>
                    <a:pt x="53" y="27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49" y="20"/>
                  </a:lnTo>
                  <a:lnTo>
                    <a:pt x="46" y="16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1" y="6"/>
                  </a:lnTo>
                  <a:lnTo>
                    <a:pt x="39" y="4"/>
                  </a:lnTo>
                  <a:lnTo>
                    <a:pt x="33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6" y="9"/>
                  </a:lnTo>
                  <a:lnTo>
                    <a:pt x="26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11"/>
                  </a:lnTo>
                  <a:lnTo>
                    <a:pt x="23" y="13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3" y="9"/>
                  </a:lnTo>
                  <a:lnTo>
                    <a:pt x="3" y="11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" y="16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7"/>
                  </a:lnTo>
                  <a:lnTo>
                    <a:pt x="3" y="31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10" y="39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9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5"/>
                  </a:lnTo>
                  <a:lnTo>
                    <a:pt x="26" y="48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3" y="36"/>
                  </a:lnTo>
                  <a:lnTo>
                    <a:pt x="32" y="34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3" y="27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9" y="20"/>
                  </a:lnTo>
                  <a:lnTo>
                    <a:pt x="41" y="20"/>
                  </a:lnTo>
                  <a:lnTo>
                    <a:pt x="46" y="23"/>
                  </a:lnTo>
                  <a:lnTo>
                    <a:pt x="49" y="25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6" name="Freeform 135"/>
            <p:cNvSpPr>
              <a:spLocks/>
            </p:cNvSpPr>
            <p:nvPr/>
          </p:nvSpPr>
          <p:spPr bwMode="auto">
            <a:xfrm>
              <a:off x="1554634" y="1917208"/>
              <a:ext cx="5705" cy="7416"/>
            </a:xfrm>
            <a:custGeom>
              <a:avLst/>
              <a:gdLst>
                <a:gd name="T0" fmla="*/ 0 w 10"/>
                <a:gd name="T1" fmla="*/ 6 h 13"/>
                <a:gd name="T2" fmla="*/ 0 w 10"/>
                <a:gd name="T3" fmla="*/ 6 h 13"/>
                <a:gd name="T4" fmla="*/ 2 w 10"/>
                <a:gd name="T5" fmla="*/ 9 h 13"/>
                <a:gd name="T6" fmla="*/ 3 w 10"/>
                <a:gd name="T7" fmla="*/ 11 h 13"/>
                <a:gd name="T8" fmla="*/ 7 w 10"/>
                <a:gd name="T9" fmla="*/ 13 h 13"/>
                <a:gd name="T10" fmla="*/ 7 w 10"/>
                <a:gd name="T11" fmla="*/ 13 h 13"/>
                <a:gd name="T12" fmla="*/ 9 w 10"/>
                <a:gd name="T13" fmla="*/ 9 h 13"/>
                <a:gd name="T14" fmla="*/ 10 w 10"/>
                <a:gd name="T15" fmla="*/ 7 h 13"/>
                <a:gd name="T16" fmla="*/ 10 w 10"/>
                <a:gd name="T17" fmla="*/ 0 h 13"/>
                <a:gd name="T18" fmla="*/ 10 w 10"/>
                <a:gd name="T19" fmla="*/ 0 h 13"/>
                <a:gd name="T20" fmla="*/ 7 w 10"/>
                <a:gd name="T21" fmla="*/ 0 h 13"/>
                <a:gd name="T22" fmla="*/ 3 w 10"/>
                <a:gd name="T23" fmla="*/ 0 h 13"/>
                <a:gd name="T24" fmla="*/ 0 w 10"/>
                <a:gd name="T25" fmla="*/ 0 h 13"/>
                <a:gd name="T26" fmla="*/ 0 w 10"/>
                <a:gd name="T27" fmla="*/ 0 h 13"/>
                <a:gd name="T28" fmla="*/ 0 w 10"/>
                <a:gd name="T29" fmla="*/ 4 h 13"/>
                <a:gd name="T30" fmla="*/ 0 w 10"/>
                <a:gd name="T31" fmla="*/ 6 h 13"/>
                <a:gd name="T32" fmla="*/ 0 w 10"/>
                <a:gd name="T33" fmla="*/ 6 h 13"/>
                <a:gd name="T34" fmla="*/ 0 w 10"/>
                <a:gd name="T3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" h="13">
                  <a:moveTo>
                    <a:pt x="0" y="6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3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9"/>
                  </a:lnTo>
                  <a:lnTo>
                    <a:pt x="10" y="7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7" name="Freeform 136"/>
            <p:cNvSpPr>
              <a:spLocks/>
            </p:cNvSpPr>
            <p:nvPr/>
          </p:nvSpPr>
          <p:spPr bwMode="auto">
            <a:xfrm>
              <a:off x="1578594" y="1917208"/>
              <a:ext cx="5134" cy="6275"/>
            </a:xfrm>
            <a:custGeom>
              <a:avLst/>
              <a:gdLst>
                <a:gd name="T0" fmla="*/ 6 w 9"/>
                <a:gd name="T1" fmla="*/ 0 h 11"/>
                <a:gd name="T2" fmla="*/ 2 w 9"/>
                <a:gd name="T3" fmla="*/ 4 h 11"/>
                <a:gd name="T4" fmla="*/ 2 w 9"/>
                <a:gd name="T5" fmla="*/ 4 h 11"/>
                <a:gd name="T6" fmla="*/ 0 w 9"/>
                <a:gd name="T7" fmla="*/ 4 h 11"/>
                <a:gd name="T8" fmla="*/ 0 w 9"/>
                <a:gd name="T9" fmla="*/ 4 h 11"/>
                <a:gd name="T10" fmla="*/ 2 w 9"/>
                <a:gd name="T11" fmla="*/ 6 h 11"/>
                <a:gd name="T12" fmla="*/ 2 w 9"/>
                <a:gd name="T13" fmla="*/ 7 h 11"/>
                <a:gd name="T14" fmla="*/ 8 w 9"/>
                <a:gd name="T15" fmla="*/ 11 h 11"/>
                <a:gd name="T16" fmla="*/ 8 w 9"/>
                <a:gd name="T17" fmla="*/ 11 h 11"/>
                <a:gd name="T18" fmla="*/ 9 w 9"/>
                <a:gd name="T19" fmla="*/ 7 h 11"/>
                <a:gd name="T20" fmla="*/ 9 w 9"/>
                <a:gd name="T21" fmla="*/ 6 h 11"/>
                <a:gd name="T22" fmla="*/ 9 w 9"/>
                <a:gd name="T23" fmla="*/ 4 h 11"/>
                <a:gd name="T24" fmla="*/ 6 w 9"/>
                <a:gd name="T25" fmla="*/ 0 h 11"/>
                <a:gd name="T26" fmla="*/ 6 w 9"/>
                <a:gd name="T27" fmla="*/ 0 h 11"/>
                <a:gd name="T28" fmla="*/ 6 w 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1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7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8" name="Freeform 137"/>
            <p:cNvSpPr>
              <a:spLocks/>
            </p:cNvSpPr>
            <p:nvPr/>
          </p:nvSpPr>
          <p:spPr bwMode="auto">
            <a:xfrm>
              <a:off x="1545507" y="1884121"/>
              <a:ext cx="32516" cy="23960"/>
            </a:xfrm>
            <a:custGeom>
              <a:avLst/>
              <a:gdLst>
                <a:gd name="T0" fmla="*/ 55 w 57"/>
                <a:gd name="T1" fmla="*/ 33 h 42"/>
                <a:gd name="T2" fmla="*/ 51 w 57"/>
                <a:gd name="T3" fmla="*/ 28 h 42"/>
                <a:gd name="T4" fmla="*/ 55 w 57"/>
                <a:gd name="T5" fmla="*/ 23 h 42"/>
                <a:gd name="T6" fmla="*/ 46 w 57"/>
                <a:gd name="T7" fmla="*/ 17 h 42"/>
                <a:gd name="T8" fmla="*/ 42 w 57"/>
                <a:gd name="T9" fmla="*/ 17 h 42"/>
                <a:gd name="T10" fmla="*/ 39 w 57"/>
                <a:gd name="T11" fmla="*/ 17 h 42"/>
                <a:gd name="T12" fmla="*/ 35 w 57"/>
                <a:gd name="T13" fmla="*/ 17 h 42"/>
                <a:gd name="T14" fmla="*/ 32 w 57"/>
                <a:gd name="T15" fmla="*/ 16 h 42"/>
                <a:gd name="T16" fmla="*/ 26 w 57"/>
                <a:gd name="T17" fmla="*/ 8 h 42"/>
                <a:gd name="T18" fmla="*/ 25 w 57"/>
                <a:gd name="T19" fmla="*/ 5 h 42"/>
                <a:gd name="T20" fmla="*/ 16 w 57"/>
                <a:gd name="T21" fmla="*/ 3 h 42"/>
                <a:gd name="T22" fmla="*/ 12 w 57"/>
                <a:gd name="T23" fmla="*/ 1 h 42"/>
                <a:gd name="T24" fmla="*/ 3 w 57"/>
                <a:gd name="T25" fmla="*/ 0 h 42"/>
                <a:gd name="T26" fmla="*/ 0 w 57"/>
                <a:gd name="T27" fmla="*/ 3 h 42"/>
                <a:gd name="T28" fmla="*/ 2 w 57"/>
                <a:gd name="T29" fmla="*/ 8 h 42"/>
                <a:gd name="T30" fmla="*/ 3 w 57"/>
                <a:gd name="T31" fmla="*/ 8 h 42"/>
                <a:gd name="T32" fmla="*/ 12 w 57"/>
                <a:gd name="T33" fmla="*/ 10 h 42"/>
                <a:gd name="T34" fmla="*/ 19 w 57"/>
                <a:gd name="T35" fmla="*/ 10 h 42"/>
                <a:gd name="T36" fmla="*/ 21 w 57"/>
                <a:gd name="T37" fmla="*/ 12 h 42"/>
                <a:gd name="T38" fmla="*/ 21 w 57"/>
                <a:gd name="T39" fmla="*/ 21 h 42"/>
                <a:gd name="T40" fmla="*/ 16 w 57"/>
                <a:gd name="T41" fmla="*/ 23 h 42"/>
                <a:gd name="T42" fmla="*/ 7 w 57"/>
                <a:gd name="T43" fmla="*/ 24 h 42"/>
                <a:gd name="T44" fmla="*/ 3 w 57"/>
                <a:gd name="T45" fmla="*/ 28 h 42"/>
                <a:gd name="T46" fmla="*/ 3 w 57"/>
                <a:gd name="T47" fmla="*/ 30 h 42"/>
                <a:gd name="T48" fmla="*/ 5 w 57"/>
                <a:gd name="T49" fmla="*/ 32 h 42"/>
                <a:gd name="T50" fmla="*/ 2 w 57"/>
                <a:gd name="T51" fmla="*/ 39 h 42"/>
                <a:gd name="T52" fmla="*/ 3 w 57"/>
                <a:gd name="T53" fmla="*/ 40 h 42"/>
                <a:gd name="T54" fmla="*/ 14 w 57"/>
                <a:gd name="T55" fmla="*/ 40 h 42"/>
                <a:gd name="T56" fmla="*/ 16 w 57"/>
                <a:gd name="T57" fmla="*/ 37 h 42"/>
                <a:gd name="T58" fmla="*/ 26 w 57"/>
                <a:gd name="T59" fmla="*/ 39 h 42"/>
                <a:gd name="T60" fmla="*/ 37 w 57"/>
                <a:gd name="T61" fmla="*/ 42 h 42"/>
                <a:gd name="T62" fmla="*/ 46 w 57"/>
                <a:gd name="T63" fmla="*/ 42 h 42"/>
                <a:gd name="T64" fmla="*/ 55 w 57"/>
                <a:gd name="T65" fmla="*/ 42 h 42"/>
                <a:gd name="T66" fmla="*/ 57 w 57"/>
                <a:gd name="T67" fmla="*/ 39 h 42"/>
                <a:gd name="T68" fmla="*/ 55 w 57"/>
                <a:gd name="T69" fmla="*/ 33 h 42"/>
                <a:gd name="T70" fmla="*/ 55 w 57"/>
                <a:gd name="T71" fmla="*/ 3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7" h="42">
                  <a:moveTo>
                    <a:pt x="55" y="33"/>
                  </a:moveTo>
                  <a:lnTo>
                    <a:pt x="55" y="33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48" y="21"/>
                  </a:lnTo>
                  <a:lnTo>
                    <a:pt x="46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5" y="5"/>
                  </a:lnTo>
                  <a:lnTo>
                    <a:pt x="23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2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8"/>
                  </a:lnTo>
                  <a:lnTo>
                    <a:pt x="5" y="10"/>
                  </a:lnTo>
                  <a:lnTo>
                    <a:pt x="12" y="10"/>
                  </a:lnTo>
                  <a:lnTo>
                    <a:pt x="16" y="8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1" y="12"/>
                  </a:lnTo>
                  <a:lnTo>
                    <a:pt x="21" y="17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0" y="23"/>
                  </a:lnTo>
                  <a:lnTo>
                    <a:pt x="7" y="24"/>
                  </a:lnTo>
                  <a:lnTo>
                    <a:pt x="3" y="24"/>
                  </a:lnTo>
                  <a:lnTo>
                    <a:pt x="3" y="28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7" y="39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6" y="37"/>
                  </a:lnTo>
                  <a:lnTo>
                    <a:pt x="19" y="37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37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51" y="42"/>
                  </a:lnTo>
                  <a:lnTo>
                    <a:pt x="55" y="42"/>
                  </a:lnTo>
                  <a:lnTo>
                    <a:pt x="55" y="40"/>
                  </a:lnTo>
                  <a:lnTo>
                    <a:pt x="57" y="39"/>
                  </a:lnTo>
                  <a:lnTo>
                    <a:pt x="57" y="37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5" y="3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9" name="Freeform 138"/>
            <p:cNvSpPr>
              <a:spLocks/>
            </p:cNvSpPr>
            <p:nvPr/>
          </p:nvSpPr>
          <p:spPr bwMode="auto">
            <a:xfrm>
              <a:off x="1576882" y="1889826"/>
              <a:ext cx="6846" cy="6275"/>
            </a:xfrm>
            <a:custGeom>
              <a:avLst/>
              <a:gdLst>
                <a:gd name="T0" fmla="*/ 12 w 12"/>
                <a:gd name="T1" fmla="*/ 7 h 11"/>
                <a:gd name="T2" fmla="*/ 7 w 12"/>
                <a:gd name="T3" fmla="*/ 0 h 11"/>
                <a:gd name="T4" fmla="*/ 7 w 12"/>
                <a:gd name="T5" fmla="*/ 0 h 11"/>
                <a:gd name="T6" fmla="*/ 3 w 12"/>
                <a:gd name="T7" fmla="*/ 0 h 11"/>
                <a:gd name="T8" fmla="*/ 2 w 12"/>
                <a:gd name="T9" fmla="*/ 2 h 11"/>
                <a:gd name="T10" fmla="*/ 0 w 12"/>
                <a:gd name="T11" fmla="*/ 2 h 11"/>
                <a:gd name="T12" fmla="*/ 2 w 12"/>
                <a:gd name="T13" fmla="*/ 7 h 11"/>
                <a:gd name="T14" fmla="*/ 2 w 12"/>
                <a:gd name="T15" fmla="*/ 7 h 11"/>
                <a:gd name="T16" fmla="*/ 3 w 12"/>
                <a:gd name="T17" fmla="*/ 11 h 11"/>
                <a:gd name="T18" fmla="*/ 9 w 12"/>
                <a:gd name="T19" fmla="*/ 11 h 11"/>
                <a:gd name="T20" fmla="*/ 12 w 12"/>
                <a:gd name="T21" fmla="*/ 11 h 11"/>
                <a:gd name="T22" fmla="*/ 12 w 12"/>
                <a:gd name="T23" fmla="*/ 9 h 11"/>
                <a:gd name="T24" fmla="*/ 12 w 12"/>
                <a:gd name="T25" fmla="*/ 7 h 11"/>
                <a:gd name="T26" fmla="*/ 12 w 12"/>
                <a:gd name="T27" fmla="*/ 7 h 11"/>
                <a:gd name="T28" fmla="*/ 12 w 12"/>
                <a:gd name="T29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1">
                  <a:moveTo>
                    <a:pt x="12" y="7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11"/>
                  </a:lnTo>
                  <a:lnTo>
                    <a:pt x="9" y="11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0" name="Freeform 139"/>
            <p:cNvSpPr>
              <a:spLocks/>
            </p:cNvSpPr>
            <p:nvPr/>
          </p:nvSpPr>
          <p:spPr bwMode="auto">
            <a:xfrm>
              <a:off x="2673315" y="2197306"/>
              <a:ext cx="10839" cy="25100"/>
            </a:xfrm>
            <a:custGeom>
              <a:avLst/>
              <a:gdLst>
                <a:gd name="T0" fmla="*/ 5 w 19"/>
                <a:gd name="T1" fmla="*/ 0 h 44"/>
                <a:gd name="T2" fmla="*/ 5 w 19"/>
                <a:gd name="T3" fmla="*/ 0 h 44"/>
                <a:gd name="T4" fmla="*/ 3 w 19"/>
                <a:gd name="T5" fmla="*/ 0 h 44"/>
                <a:gd name="T6" fmla="*/ 1 w 19"/>
                <a:gd name="T7" fmla="*/ 2 h 44"/>
                <a:gd name="T8" fmla="*/ 1 w 19"/>
                <a:gd name="T9" fmla="*/ 5 h 44"/>
                <a:gd name="T10" fmla="*/ 0 w 19"/>
                <a:gd name="T11" fmla="*/ 10 h 44"/>
                <a:gd name="T12" fmla="*/ 1 w 19"/>
                <a:gd name="T13" fmla="*/ 19 h 44"/>
                <a:gd name="T14" fmla="*/ 3 w 19"/>
                <a:gd name="T15" fmla="*/ 26 h 44"/>
                <a:gd name="T16" fmla="*/ 5 w 19"/>
                <a:gd name="T17" fmla="*/ 30 h 44"/>
                <a:gd name="T18" fmla="*/ 10 w 19"/>
                <a:gd name="T19" fmla="*/ 37 h 44"/>
                <a:gd name="T20" fmla="*/ 12 w 19"/>
                <a:gd name="T21" fmla="*/ 39 h 44"/>
                <a:gd name="T22" fmla="*/ 17 w 19"/>
                <a:gd name="T23" fmla="*/ 44 h 44"/>
                <a:gd name="T24" fmla="*/ 17 w 19"/>
                <a:gd name="T25" fmla="*/ 44 h 44"/>
                <a:gd name="T26" fmla="*/ 19 w 19"/>
                <a:gd name="T27" fmla="*/ 32 h 44"/>
                <a:gd name="T28" fmla="*/ 19 w 19"/>
                <a:gd name="T29" fmla="*/ 14 h 44"/>
                <a:gd name="T30" fmla="*/ 17 w 19"/>
                <a:gd name="T31" fmla="*/ 7 h 44"/>
                <a:gd name="T32" fmla="*/ 16 w 19"/>
                <a:gd name="T33" fmla="*/ 3 h 44"/>
                <a:gd name="T34" fmla="*/ 14 w 19"/>
                <a:gd name="T35" fmla="*/ 0 h 44"/>
                <a:gd name="T36" fmla="*/ 12 w 19"/>
                <a:gd name="T37" fmla="*/ 0 h 44"/>
                <a:gd name="T38" fmla="*/ 7 w 19"/>
                <a:gd name="T39" fmla="*/ 0 h 44"/>
                <a:gd name="T40" fmla="*/ 5 w 19"/>
                <a:gd name="T41" fmla="*/ 0 h 44"/>
                <a:gd name="T42" fmla="*/ 5 w 19"/>
                <a:gd name="T43" fmla="*/ 0 h 44"/>
                <a:gd name="T44" fmla="*/ 5 w 19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" h="44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1" y="5"/>
                  </a:lnTo>
                  <a:lnTo>
                    <a:pt x="0" y="10"/>
                  </a:lnTo>
                  <a:lnTo>
                    <a:pt x="1" y="19"/>
                  </a:lnTo>
                  <a:lnTo>
                    <a:pt x="3" y="26"/>
                  </a:lnTo>
                  <a:lnTo>
                    <a:pt x="5" y="30"/>
                  </a:lnTo>
                  <a:lnTo>
                    <a:pt x="10" y="37"/>
                  </a:lnTo>
                  <a:lnTo>
                    <a:pt x="12" y="39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32"/>
                  </a:lnTo>
                  <a:lnTo>
                    <a:pt x="19" y="14"/>
                  </a:lnTo>
                  <a:lnTo>
                    <a:pt x="17" y="7"/>
                  </a:lnTo>
                  <a:lnTo>
                    <a:pt x="16" y="3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1" name="Freeform 140"/>
            <p:cNvSpPr>
              <a:spLocks/>
            </p:cNvSpPr>
            <p:nvPr/>
          </p:nvSpPr>
          <p:spPr bwMode="auto">
            <a:xfrm>
              <a:off x="567731" y="2392975"/>
              <a:ext cx="62751" cy="73019"/>
            </a:xfrm>
            <a:custGeom>
              <a:avLst/>
              <a:gdLst>
                <a:gd name="T0" fmla="*/ 11 w 110"/>
                <a:gd name="T1" fmla="*/ 55 h 128"/>
                <a:gd name="T2" fmla="*/ 5 w 110"/>
                <a:gd name="T3" fmla="*/ 55 h 128"/>
                <a:gd name="T4" fmla="*/ 2 w 110"/>
                <a:gd name="T5" fmla="*/ 51 h 128"/>
                <a:gd name="T6" fmla="*/ 0 w 110"/>
                <a:gd name="T7" fmla="*/ 55 h 128"/>
                <a:gd name="T8" fmla="*/ 2 w 110"/>
                <a:gd name="T9" fmla="*/ 69 h 128"/>
                <a:gd name="T10" fmla="*/ 9 w 110"/>
                <a:gd name="T11" fmla="*/ 76 h 128"/>
                <a:gd name="T12" fmla="*/ 23 w 110"/>
                <a:gd name="T13" fmla="*/ 82 h 128"/>
                <a:gd name="T14" fmla="*/ 39 w 110"/>
                <a:gd name="T15" fmla="*/ 85 h 128"/>
                <a:gd name="T16" fmla="*/ 46 w 110"/>
                <a:gd name="T17" fmla="*/ 89 h 128"/>
                <a:gd name="T18" fmla="*/ 50 w 110"/>
                <a:gd name="T19" fmla="*/ 96 h 128"/>
                <a:gd name="T20" fmla="*/ 55 w 110"/>
                <a:gd name="T21" fmla="*/ 98 h 128"/>
                <a:gd name="T22" fmla="*/ 66 w 110"/>
                <a:gd name="T23" fmla="*/ 98 h 128"/>
                <a:gd name="T24" fmla="*/ 73 w 110"/>
                <a:gd name="T25" fmla="*/ 99 h 128"/>
                <a:gd name="T26" fmla="*/ 76 w 110"/>
                <a:gd name="T27" fmla="*/ 105 h 128"/>
                <a:gd name="T28" fmla="*/ 76 w 110"/>
                <a:gd name="T29" fmla="*/ 110 h 128"/>
                <a:gd name="T30" fmla="*/ 76 w 110"/>
                <a:gd name="T31" fmla="*/ 114 h 128"/>
                <a:gd name="T32" fmla="*/ 82 w 110"/>
                <a:gd name="T33" fmla="*/ 117 h 128"/>
                <a:gd name="T34" fmla="*/ 91 w 110"/>
                <a:gd name="T35" fmla="*/ 128 h 128"/>
                <a:gd name="T36" fmla="*/ 94 w 110"/>
                <a:gd name="T37" fmla="*/ 128 h 128"/>
                <a:gd name="T38" fmla="*/ 100 w 110"/>
                <a:gd name="T39" fmla="*/ 123 h 128"/>
                <a:gd name="T40" fmla="*/ 105 w 110"/>
                <a:gd name="T41" fmla="*/ 123 h 128"/>
                <a:gd name="T42" fmla="*/ 110 w 110"/>
                <a:gd name="T43" fmla="*/ 121 h 128"/>
                <a:gd name="T44" fmla="*/ 105 w 110"/>
                <a:gd name="T45" fmla="*/ 112 h 128"/>
                <a:gd name="T46" fmla="*/ 101 w 110"/>
                <a:gd name="T47" fmla="*/ 107 h 128"/>
                <a:gd name="T48" fmla="*/ 98 w 110"/>
                <a:gd name="T49" fmla="*/ 107 h 128"/>
                <a:gd name="T50" fmla="*/ 94 w 110"/>
                <a:gd name="T51" fmla="*/ 107 h 128"/>
                <a:gd name="T52" fmla="*/ 92 w 110"/>
                <a:gd name="T53" fmla="*/ 99 h 128"/>
                <a:gd name="T54" fmla="*/ 87 w 110"/>
                <a:gd name="T55" fmla="*/ 98 h 128"/>
                <a:gd name="T56" fmla="*/ 84 w 110"/>
                <a:gd name="T57" fmla="*/ 96 h 128"/>
                <a:gd name="T58" fmla="*/ 78 w 110"/>
                <a:gd name="T59" fmla="*/ 92 h 128"/>
                <a:gd name="T60" fmla="*/ 76 w 110"/>
                <a:gd name="T61" fmla="*/ 92 h 128"/>
                <a:gd name="T62" fmla="*/ 75 w 110"/>
                <a:gd name="T63" fmla="*/ 87 h 128"/>
                <a:gd name="T64" fmla="*/ 75 w 110"/>
                <a:gd name="T65" fmla="*/ 83 h 128"/>
                <a:gd name="T66" fmla="*/ 75 w 110"/>
                <a:gd name="T67" fmla="*/ 78 h 128"/>
                <a:gd name="T68" fmla="*/ 78 w 110"/>
                <a:gd name="T69" fmla="*/ 75 h 128"/>
                <a:gd name="T70" fmla="*/ 82 w 110"/>
                <a:gd name="T71" fmla="*/ 75 h 128"/>
                <a:gd name="T72" fmla="*/ 87 w 110"/>
                <a:gd name="T73" fmla="*/ 60 h 128"/>
                <a:gd name="T74" fmla="*/ 85 w 110"/>
                <a:gd name="T75" fmla="*/ 35 h 128"/>
                <a:gd name="T76" fmla="*/ 76 w 110"/>
                <a:gd name="T77" fmla="*/ 14 h 128"/>
                <a:gd name="T78" fmla="*/ 78 w 110"/>
                <a:gd name="T79" fmla="*/ 12 h 128"/>
                <a:gd name="T80" fmla="*/ 76 w 110"/>
                <a:gd name="T81" fmla="*/ 9 h 128"/>
                <a:gd name="T82" fmla="*/ 75 w 110"/>
                <a:gd name="T83" fmla="*/ 9 h 128"/>
                <a:gd name="T84" fmla="*/ 69 w 110"/>
                <a:gd name="T85" fmla="*/ 12 h 128"/>
                <a:gd name="T86" fmla="*/ 55 w 110"/>
                <a:gd name="T87" fmla="*/ 14 h 128"/>
                <a:gd name="T88" fmla="*/ 37 w 110"/>
                <a:gd name="T89" fmla="*/ 5 h 128"/>
                <a:gd name="T90" fmla="*/ 25 w 110"/>
                <a:gd name="T91" fmla="*/ 0 h 128"/>
                <a:gd name="T92" fmla="*/ 20 w 110"/>
                <a:gd name="T93" fmla="*/ 0 h 128"/>
                <a:gd name="T94" fmla="*/ 16 w 110"/>
                <a:gd name="T95" fmla="*/ 0 h 128"/>
                <a:gd name="T96" fmla="*/ 16 w 110"/>
                <a:gd name="T97" fmla="*/ 5 h 128"/>
                <a:gd name="T98" fmla="*/ 25 w 110"/>
                <a:gd name="T99" fmla="*/ 14 h 128"/>
                <a:gd name="T100" fmla="*/ 25 w 110"/>
                <a:gd name="T101" fmla="*/ 27 h 128"/>
                <a:gd name="T102" fmla="*/ 28 w 110"/>
                <a:gd name="T103" fmla="*/ 35 h 128"/>
                <a:gd name="T104" fmla="*/ 23 w 110"/>
                <a:gd name="T105" fmla="*/ 46 h 128"/>
                <a:gd name="T106" fmla="*/ 14 w 110"/>
                <a:gd name="T107" fmla="*/ 5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0" h="128">
                  <a:moveTo>
                    <a:pt x="14" y="50"/>
                  </a:moveTo>
                  <a:lnTo>
                    <a:pt x="11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4" y="53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2" y="69"/>
                  </a:lnTo>
                  <a:lnTo>
                    <a:pt x="5" y="73"/>
                  </a:lnTo>
                  <a:lnTo>
                    <a:pt x="9" y="76"/>
                  </a:lnTo>
                  <a:lnTo>
                    <a:pt x="14" y="82"/>
                  </a:lnTo>
                  <a:lnTo>
                    <a:pt x="23" y="82"/>
                  </a:lnTo>
                  <a:lnTo>
                    <a:pt x="32" y="82"/>
                  </a:lnTo>
                  <a:lnTo>
                    <a:pt x="39" y="85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8" y="92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5" y="98"/>
                  </a:lnTo>
                  <a:lnTo>
                    <a:pt x="57" y="96"/>
                  </a:lnTo>
                  <a:lnTo>
                    <a:pt x="66" y="98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5" y="10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6" y="110"/>
                  </a:lnTo>
                  <a:lnTo>
                    <a:pt x="76" y="114"/>
                  </a:lnTo>
                  <a:lnTo>
                    <a:pt x="76" y="114"/>
                  </a:lnTo>
                  <a:lnTo>
                    <a:pt x="80" y="117"/>
                  </a:lnTo>
                  <a:lnTo>
                    <a:pt x="82" y="117"/>
                  </a:lnTo>
                  <a:lnTo>
                    <a:pt x="85" y="124"/>
                  </a:lnTo>
                  <a:lnTo>
                    <a:pt x="91" y="128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6" y="126"/>
                  </a:lnTo>
                  <a:lnTo>
                    <a:pt x="100" y="123"/>
                  </a:lnTo>
                  <a:lnTo>
                    <a:pt x="100" y="123"/>
                  </a:lnTo>
                  <a:lnTo>
                    <a:pt x="105" y="123"/>
                  </a:lnTo>
                  <a:lnTo>
                    <a:pt x="108" y="123"/>
                  </a:lnTo>
                  <a:lnTo>
                    <a:pt x="110" y="121"/>
                  </a:lnTo>
                  <a:lnTo>
                    <a:pt x="107" y="115"/>
                  </a:lnTo>
                  <a:lnTo>
                    <a:pt x="105" y="112"/>
                  </a:lnTo>
                  <a:lnTo>
                    <a:pt x="105" y="112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98" y="107"/>
                  </a:lnTo>
                  <a:lnTo>
                    <a:pt x="94" y="107"/>
                  </a:lnTo>
                  <a:lnTo>
                    <a:pt x="94" y="107"/>
                  </a:lnTo>
                  <a:lnTo>
                    <a:pt x="92" y="103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87" y="98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2" y="94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6" y="92"/>
                  </a:lnTo>
                  <a:lnTo>
                    <a:pt x="75" y="91"/>
                  </a:lnTo>
                  <a:lnTo>
                    <a:pt x="75" y="87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6"/>
                  </a:lnTo>
                  <a:lnTo>
                    <a:pt x="78" y="75"/>
                  </a:lnTo>
                  <a:lnTo>
                    <a:pt x="82" y="75"/>
                  </a:lnTo>
                  <a:lnTo>
                    <a:pt x="82" y="75"/>
                  </a:lnTo>
                  <a:lnTo>
                    <a:pt x="84" y="69"/>
                  </a:lnTo>
                  <a:lnTo>
                    <a:pt x="87" y="60"/>
                  </a:lnTo>
                  <a:lnTo>
                    <a:pt x="89" y="50"/>
                  </a:lnTo>
                  <a:lnTo>
                    <a:pt x="85" y="35"/>
                  </a:lnTo>
                  <a:lnTo>
                    <a:pt x="80" y="27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8" y="12"/>
                  </a:lnTo>
                  <a:lnTo>
                    <a:pt x="76" y="11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3" y="11"/>
                  </a:lnTo>
                  <a:lnTo>
                    <a:pt x="69" y="12"/>
                  </a:lnTo>
                  <a:lnTo>
                    <a:pt x="64" y="18"/>
                  </a:lnTo>
                  <a:lnTo>
                    <a:pt x="55" y="14"/>
                  </a:lnTo>
                  <a:lnTo>
                    <a:pt x="46" y="9"/>
                  </a:lnTo>
                  <a:lnTo>
                    <a:pt x="37" y="5"/>
                  </a:lnTo>
                  <a:lnTo>
                    <a:pt x="30" y="2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25" y="11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5" y="27"/>
                  </a:lnTo>
                  <a:lnTo>
                    <a:pt x="25" y="30"/>
                  </a:lnTo>
                  <a:lnTo>
                    <a:pt x="28" y="35"/>
                  </a:lnTo>
                  <a:lnTo>
                    <a:pt x="27" y="43"/>
                  </a:lnTo>
                  <a:lnTo>
                    <a:pt x="23" y="46"/>
                  </a:lnTo>
                  <a:lnTo>
                    <a:pt x="21" y="48"/>
                  </a:lnTo>
                  <a:lnTo>
                    <a:pt x="14" y="5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304" name="Группа 303"/>
          <p:cNvGrpSpPr/>
          <p:nvPr/>
        </p:nvGrpSpPr>
        <p:grpSpPr>
          <a:xfrm>
            <a:off x="3727322" y="897090"/>
            <a:ext cx="995480" cy="972367"/>
            <a:chOff x="3203846" y="1918349"/>
            <a:chExt cx="355970" cy="427277"/>
          </a:xfrm>
          <a:solidFill>
            <a:srgbClr val="0070C0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/>
          </a:scene3d>
        </p:grpSpPr>
        <p:sp>
          <p:nvSpPr>
            <p:cNvPr id="301" name="Freeform 80"/>
            <p:cNvSpPr>
              <a:spLocks/>
            </p:cNvSpPr>
            <p:nvPr/>
          </p:nvSpPr>
          <p:spPr bwMode="auto">
            <a:xfrm>
              <a:off x="3279718" y="1918349"/>
              <a:ext cx="280098" cy="372513"/>
            </a:xfrm>
            <a:custGeom>
              <a:avLst/>
              <a:gdLst>
                <a:gd name="T0" fmla="*/ 164 w 491"/>
                <a:gd name="T1" fmla="*/ 185 h 653"/>
                <a:gd name="T2" fmla="*/ 157 w 491"/>
                <a:gd name="T3" fmla="*/ 205 h 653"/>
                <a:gd name="T4" fmla="*/ 155 w 491"/>
                <a:gd name="T5" fmla="*/ 230 h 653"/>
                <a:gd name="T6" fmla="*/ 116 w 491"/>
                <a:gd name="T7" fmla="*/ 264 h 653"/>
                <a:gd name="T8" fmla="*/ 41 w 491"/>
                <a:gd name="T9" fmla="*/ 285 h 653"/>
                <a:gd name="T10" fmla="*/ 22 w 491"/>
                <a:gd name="T11" fmla="*/ 304 h 653"/>
                <a:gd name="T12" fmla="*/ 13 w 491"/>
                <a:gd name="T13" fmla="*/ 361 h 653"/>
                <a:gd name="T14" fmla="*/ 82 w 491"/>
                <a:gd name="T15" fmla="*/ 390 h 653"/>
                <a:gd name="T16" fmla="*/ 139 w 491"/>
                <a:gd name="T17" fmla="*/ 429 h 653"/>
                <a:gd name="T18" fmla="*/ 166 w 491"/>
                <a:gd name="T19" fmla="*/ 504 h 653"/>
                <a:gd name="T20" fmla="*/ 212 w 491"/>
                <a:gd name="T21" fmla="*/ 532 h 653"/>
                <a:gd name="T22" fmla="*/ 285 w 491"/>
                <a:gd name="T23" fmla="*/ 592 h 653"/>
                <a:gd name="T24" fmla="*/ 359 w 491"/>
                <a:gd name="T25" fmla="*/ 589 h 653"/>
                <a:gd name="T26" fmla="*/ 404 w 491"/>
                <a:gd name="T27" fmla="*/ 630 h 653"/>
                <a:gd name="T28" fmla="*/ 445 w 491"/>
                <a:gd name="T29" fmla="*/ 633 h 653"/>
                <a:gd name="T30" fmla="*/ 464 w 491"/>
                <a:gd name="T31" fmla="*/ 580 h 653"/>
                <a:gd name="T32" fmla="*/ 491 w 491"/>
                <a:gd name="T33" fmla="*/ 537 h 653"/>
                <a:gd name="T34" fmla="*/ 470 w 491"/>
                <a:gd name="T35" fmla="*/ 486 h 653"/>
                <a:gd name="T36" fmla="*/ 459 w 491"/>
                <a:gd name="T37" fmla="*/ 445 h 653"/>
                <a:gd name="T38" fmla="*/ 452 w 491"/>
                <a:gd name="T39" fmla="*/ 374 h 653"/>
                <a:gd name="T40" fmla="*/ 479 w 491"/>
                <a:gd name="T41" fmla="*/ 312 h 653"/>
                <a:gd name="T42" fmla="*/ 457 w 491"/>
                <a:gd name="T43" fmla="*/ 278 h 653"/>
                <a:gd name="T44" fmla="*/ 461 w 491"/>
                <a:gd name="T45" fmla="*/ 214 h 653"/>
                <a:gd name="T46" fmla="*/ 466 w 491"/>
                <a:gd name="T47" fmla="*/ 180 h 653"/>
                <a:gd name="T48" fmla="*/ 477 w 491"/>
                <a:gd name="T49" fmla="*/ 144 h 653"/>
                <a:gd name="T50" fmla="*/ 461 w 491"/>
                <a:gd name="T51" fmla="*/ 109 h 653"/>
                <a:gd name="T52" fmla="*/ 450 w 491"/>
                <a:gd name="T53" fmla="*/ 89 h 653"/>
                <a:gd name="T54" fmla="*/ 447 w 491"/>
                <a:gd name="T55" fmla="*/ 128 h 653"/>
                <a:gd name="T56" fmla="*/ 416 w 491"/>
                <a:gd name="T57" fmla="*/ 114 h 653"/>
                <a:gd name="T58" fmla="*/ 438 w 491"/>
                <a:gd name="T59" fmla="*/ 162 h 653"/>
                <a:gd name="T60" fmla="*/ 399 w 491"/>
                <a:gd name="T61" fmla="*/ 134 h 653"/>
                <a:gd name="T62" fmla="*/ 416 w 491"/>
                <a:gd name="T63" fmla="*/ 59 h 653"/>
                <a:gd name="T64" fmla="*/ 406 w 491"/>
                <a:gd name="T65" fmla="*/ 93 h 653"/>
                <a:gd name="T66" fmla="*/ 361 w 491"/>
                <a:gd name="T67" fmla="*/ 121 h 653"/>
                <a:gd name="T68" fmla="*/ 363 w 491"/>
                <a:gd name="T69" fmla="*/ 166 h 653"/>
                <a:gd name="T70" fmla="*/ 324 w 491"/>
                <a:gd name="T71" fmla="*/ 224 h 653"/>
                <a:gd name="T72" fmla="*/ 354 w 491"/>
                <a:gd name="T73" fmla="*/ 248 h 653"/>
                <a:gd name="T74" fmla="*/ 383 w 491"/>
                <a:gd name="T75" fmla="*/ 308 h 653"/>
                <a:gd name="T76" fmla="*/ 365 w 491"/>
                <a:gd name="T77" fmla="*/ 331 h 653"/>
                <a:gd name="T78" fmla="*/ 358 w 491"/>
                <a:gd name="T79" fmla="*/ 331 h 653"/>
                <a:gd name="T80" fmla="*/ 367 w 491"/>
                <a:gd name="T81" fmla="*/ 274 h 653"/>
                <a:gd name="T82" fmla="*/ 322 w 491"/>
                <a:gd name="T83" fmla="*/ 271 h 653"/>
                <a:gd name="T84" fmla="*/ 313 w 491"/>
                <a:gd name="T85" fmla="*/ 308 h 653"/>
                <a:gd name="T86" fmla="*/ 269 w 491"/>
                <a:gd name="T87" fmla="*/ 345 h 653"/>
                <a:gd name="T88" fmla="*/ 224 w 491"/>
                <a:gd name="T89" fmla="*/ 360 h 653"/>
                <a:gd name="T90" fmla="*/ 183 w 491"/>
                <a:gd name="T91" fmla="*/ 315 h 653"/>
                <a:gd name="T92" fmla="*/ 226 w 491"/>
                <a:gd name="T93" fmla="*/ 333 h 653"/>
                <a:gd name="T94" fmla="*/ 283 w 491"/>
                <a:gd name="T95" fmla="*/ 285 h 653"/>
                <a:gd name="T96" fmla="*/ 301 w 491"/>
                <a:gd name="T97" fmla="*/ 244 h 653"/>
                <a:gd name="T98" fmla="*/ 343 w 491"/>
                <a:gd name="T99" fmla="*/ 141 h 653"/>
                <a:gd name="T100" fmla="*/ 365 w 491"/>
                <a:gd name="T101" fmla="*/ 89 h 653"/>
                <a:gd name="T102" fmla="*/ 351 w 491"/>
                <a:gd name="T103" fmla="*/ 31 h 653"/>
                <a:gd name="T104" fmla="*/ 372 w 491"/>
                <a:gd name="T105" fmla="*/ 6 h 653"/>
                <a:gd name="T106" fmla="*/ 340 w 491"/>
                <a:gd name="T107" fmla="*/ 22 h 653"/>
                <a:gd name="T108" fmla="*/ 263 w 491"/>
                <a:gd name="T109" fmla="*/ 82 h 653"/>
                <a:gd name="T110" fmla="*/ 242 w 491"/>
                <a:gd name="T111" fmla="*/ 120 h 653"/>
                <a:gd name="T112" fmla="*/ 224 w 491"/>
                <a:gd name="T113" fmla="*/ 175 h 653"/>
                <a:gd name="T114" fmla="*/ 205 w 491"/>
                <a:gd name="T115" fmla="*/ 239 h 653"/>
                <a:gd name="T116" fmla="*/ 159 w 491"/>
                <a:gd name="T117" fmla="*/ 164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1" h="653">
                  <a:moveTo>
                    <a:pt x="159" y="164"/>
                  </a:moveTo>
                  <a:lnTo>
                    <a:pt x="159" y="164"/>
                  </a:lnTo>
                  <a:lnTo>
                    <a:pt x="157" y="166"/>
                  </a:lnTo>
                  <a:lnTo>
                    <a:pt x="157" y="169"/>
                  </a:lnTo>
                  <a:lnTo>
                    <a:pt x="157" y="169"/>
                  </a:lnTo>
                  <a:lnTo>
                    <a:pt x="157" y="169"/>
                  </a:lnTo>
                  <a:lnTo>
                    <a:pt x="159" y="173"/>
                  </a:lnTo>
                  <a:lnTo>
                    <a:pt x="162" y="176"/>
                  </a:lnTo>
                  <a:lnTo>
                    <a:pt x="162" y="176"/>
                  </a:lnTo>
                  <a:lnTo>
                    <a:pt x="164" y="178"/>
                  </a:lnTo>
                  <a:lnTo>
                    <a:pt x="164" y="180"/>
                  </a:lnTo>
                  <a:lnTo>
                    <a:pt x="164" y="185"/>
                  </a:lnTo>
                  <a:lnTo>
                    <a:pt x="164" y="185"/>
                  </a:lnTo>
                  <a:lnTo>
                    <a:pt x="166" y="194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64" y="200"/>
                  </a:lnTo>
                  <a:lnTo>
                    <a:pt x="162" y="200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60" y="201"/>
                  </a:lnTo>
                  <a:lnTo>
                    <a:pt x="159" y="205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3" y="207"/>
                  </a:lnTo>
                  <a:lnTo>
                    <a:pt x="151" y="212"/>
                  </a:lnTo>
                  <a:lnTo>
                    <a:pt x="146" y="214"/>
                  </a:lnTo>
                  <a:lnTo>
                    <a:pt x="144" y="217"/>
                  </a:lnTo>
                  <a:lnTo>
                    <a:pt x="144" y="217"/>
                  </a:lnTo>
                  <a:lnTo>
                    <a:pt x="144" y="223"/>
                  </a:lnTo>
                  <a:lnTo>
                    <a:pt x="144" y="224"/>
                  </a:lnTo>
                  <a:lnTo>
                    <a:pt x="146" y="226"/>
                  </a:lnTo>
                  <a:lnTo>
                    <a:pt x="148" y="226"/>
                  </a:lnTo>
                  <a:lnTo>
                    <a:pt x="148" y="226"/>
                  </a:lnTo>
                  <a:lnTo>
                    <a:pt x="151" y="226"/>
                  </a:lnTo>
                  <a:lnTo>
                    <a:pt x="155" y="230"/>
                  </a:lnTo>
                  <a:lnTo>
                    <a:pt x="157" y="230"/>
                  </a:lnTo>
                  <a:lnTo>
                    <a:pt x="155" y="233"/>
                  </a:lnTo>
                  <a:lnTo>
                    <a:pt x="155" y="233"/>
                  </a:lnTo>
                  <a:lnTo>
                    <a:pt x="146" y="242"/>
                  </a:lnTo>
                  <a:lnTo>
                    <a:pt x="143" y="248"/>
                  </a:lnTo>
                  <a:lnTo>
                    <a:pt x="139" y="253"/>
                  </a:lnTo>
                  <a:lnTo>
                    <a:pt x="137" y="253"/>
                  </a:lnTo>
                  <a:lnTo>
                    <a:pt x="137" y="253"/>
                  </a:lnTo>
                  <a:lnTo>
                    <a:pt x="132" y="255"/>
                  </a:lnTo>
                  <a:lnTo>
                    <a:pt x="127" y="258"/>
                  </a:lnTo>
                  <a:lnTo>
                    <a:pt x="116" y="264"/>
                  </a:lnTo>
                  <a:lnTo>
                    <a:pt x="116" y="264"/>
                  </a:lnTo>
                  <a:lnTo>
                    <a:pt x="107" y="265"/>
                  </a:lnTo>
                  <a:lnTo>
                    <a:pt x="96" y="267"/>
                  </a:lnTo>
                  <a:lnTo>
                    <a:pt x="96" y="267"/>
                  </a:lnTo>
                  <a:lnTo>
                    <a:pt x="82" y="265"/>
                  </a:lnTo>
                  <a:lnTo>
                    <a:pt x="82" y="265"/>
                  </a:lnTo>
                  <a:lnTo>
                    <a:pt x="77" y="267"/>
                  </a:lnTo>
                  <a:lnTo>
                    <a:pt x="70" y="271"/>
                  </a:lnTo>
                  <a:lnTo>
                    <a:pt x="54" y="278"/>
                  </a:lnTo>
                  <a:lnTo>
                    <a:pt x="54" y="278"/>
                  </a:lnTo>
                  <a:lnTo>
                    <a:pt x="48" y="281"/>
                  </a:lnTo>
                  <a:lnTo>
                    <a:pt x="43" y="283"/>
                  </a:lnTo>
                  <a:lnTo>
                    <a:pt x="41" y="285"/>
                  </a:lnTo>
                  <a:lnTo>
                    <a:pt x="39" y="287"/>
                  </a:lnTo>
                  <a:lnTo>
                    <a:pt x="39" y="287"/>
                  </a:lnTo>
                  <a:lnTo>
                    <a:pt x="32" y="285"/>
                  </a:lnTo>
                  <a:lnTo>
                    <a:pt x="29" y="285"/>
                  </a:lnTo>
                  <a:lnTo>
                    <a:pt x="23" y="285"/>
                  </a:lnTo>
                  <a:lnTo>
                    <a:pt x="23" y="285"/>
                  </a:lnTo>
                  <a:lnTo>
                    <a:pt x="25" y="296"/>
                  </a:lnTo>
                  <a:lnTo>
                    <a:pt x="25" y="296"/>
                  </a:lnTo>
                  <a:lnTo>
                    <a:pt x="23" y="297"/>
                  </a:lnTo>
                  <a:lnTo>
                    <a:pt x="23" y="301"/>
                  </a:lnTo>
                  <a:lnTo>
                    <a:pt x="22" y="304"/>
                  </a:lnTo>
                  <a:lnTo>
                    <a:pt x="22" y="304"/>
                  </a:lnTo>
                  <a:lnTo>
                    <a:pt x="23" y="308"/>
                  </a:lnTo>
                  <a:lnTo>
                    <a:pt x="29" y="313"/>
                  </a:lnTo>
                  <a:lnTo>
                    <a:pt x="23" y="319"/>
                  </a:lnTo>
                  <a:lnTo>
                    <a:pt x="13" y="328"/>
                  </a:lnTo>
                  <a:lnTo>
                    <a:pt x="13" y="333"/>
                  </a:lnTo>
                  <a:lnTo>
                    <a:pt x="9" y="338"/>
                  </a:lnTo>
                  <a:lnTo>
                    <a:pt x="4" y="338"/>
                  </a:lnTo>
                  <a:lnTo>
                    <a:pt x="0" y="342"/>
                  </a:lnTo>
                  <a:lnTo>
                    <a:pt x="4" y="349"/>
                  </a:lnTo>
                  <a:lnTo>
                    <a:pt x="15" y="352"/>
                  </a:lnTo>
                  <a:lnTo>
                    <a:pt x="16" y="360"/>
                  </a:lnTo>
                  <a:lnTo>
                    <a:pt x="13" y="361"/>
                  </a:lnTo>
                  <a:lnTo>
                    <a:pt x="18" y="368"/>
                  </a:lnTo>
                  <a:lnTo>
                    <a:pt x="23" y="368"/>
                  </a:lnTo>
                  <a:lnTo>
                    <a:pt x="32" y="374"/>
                  </a:lnTo>
                  <a:lnTo>
                    <a:pt x="38" y="374"/>
                  </a:lnTo>
                  <a:lnTo>
                    <a:pt x="39" y="376"/>
                  </a:lnTo>
                  <a:lnTo>
                    <a:pt x="43" y="376"/>
                  </a:lnTo>
                  <a:lnTo>
                    <a:pt x="52" y="377"/>
                  </a:lnTo>
                  <a:lnTo>
                    <a:pt x="57" y="377"/>
                  </a:lnTo>
                  <a:lnTo>
                    <a:pt x="64" y="381"/>
                  </a:lnTo>
                  <a:lnTo>
                    <a:pt x="71" y="383"/>
                  </a:lnTo>
                  <a:lnTo>
                    <a:pt x="73" y="388"/>
                  </a:lnTo>
                  <a:lnTo>
                    <a:pt x="82" y="390"/>
                  </a:lnTo>
                  <a:lnTo>
                    <a:pt x="86" y="397"/>
                  </a:lnTo>
                  <a:lnTo>
                    <a:pt x="80" y="400"/>
                  </a:lnTo>
                  <a:lnTo>
                    <a:pt x="77" y="408"/>
                  </a:lnTo>
                  <a:lnTo>
                    <a:pt x="84" y="418"/>
                  </a:lnTo>
                  <a:lnTo>
                    <a:pt x="93" y="424"/>
                  </a:lnTo>
                  <a:lnTo>
                    <a:pt x="112" y="420"/>
                  </a:lnTo>
                  <a:lnTo>
                    <a:pt x="119" y="427"/>
                  </a:lnTo>
                  <a:lnTo>
                    <a:pt x="123" y="424"/>
                  </a:lnTo>
                  <a:lnTo>
                    <a:pt x="123" y="420"/>
                  </a:lnTo>
                  <a:lnTo>
                    <a:pt x="132" y="422"/>
                  </a:lnTo>
                  <a:lnTo>
                    <a:pt x="134" y="424"/>
                  </a:lnTo>
                  <a:lnTo>
                    <a:pt x="139" y="429"/>
                  </a:lnTo>
                  <a:lnTo>
                    <a:pt x="143" y="434"/>
                  </a:lnTo>
                  <a:lnTo>
                    <a:pt x="148" y="436"/>
                  </a:lnTo>
                  <a:lnTo>
                    <a:pt x="153" y="443"/>
                  </a:lnTo>
                  <a:lnTo>
                    <a:pt x="157" y="448"/>
                  </a:lnTo>
                  <a:lnTo>
                    <a:pt x="148" y="454"/>
                  </a:lnTo>
                  <a:lnTo>
                    <a:pt x="148" y="461"/>
                  </a:lnTo>
                  <a:lnTo>
                    <a:pt x="148" y="472"/>
                  </a:lnTo>
                  <a:lnTo>
                    <a:pt x="159" y="477"/>
                  </a:lnTo>
                  <a:lnTo>
                    <a:pt x="159" y="482"/>
                  </a:lnTo>
                  <a:lnTo>
                    <a:pt x="153" y="505"/>
                  </a:lnTo>
                  <a:lnTo>
                    <a:pt x="157" y="504"/>
                  </a:lnTo>
                  <a:lnTo>
                    <a:pt x="166" y="504"/>
                  </a:lnTo>
                  <a:lnTo>
                    <a:pt x="178" y="509"/>
                  </a:lnTo>
                  <a:lnTo>
                    <a:pt x="183" y="505"/>
                  </a:lnTo>
                  <a:lnTo>
                    <a:pt x="187" y="505"/>
                  </a:lnTo>
                  <a:lnTo>
                    <a:pt x="187" y="505"/>
                  </a:lnTo>
                  <a:lnTo>
                    <a:pt x="189" y="520"/>
                  </a:lnTo>
                  <a:lnTo>
                    <a:pt x="189" y="520"/>
                  </a:lnTo>
                  <a:lnTo>
                    <a:pt x="192" y="521"/>
                  </a:lnTo>
                  <a:lnTo>
                    <a:pt x="196" y="523"/>
                  </a:lnTo>
                  <a:lnTo>
                    <a:pt x="203" y="525"/>
                  </a:lnTo>
                  <a:lnTo>
                    <a:pt x="203" y="525"/>
                  </a:lnTo>
                  <a:lnTo>
                    <a:pt x="207" y="528"/>
                  </a:lnTo>
                  <a:lnTo>
                    <a:pt x="212" y="532"/>
                  </a:lnTo>
                  <a:lnTo>
                    <a:pt x="214" y="539"/>
                  </a:lnTo>
                  <a:lnTo>
                    <a:pt x="214" y="539"/>
                  </a:lnTo>
                  <a:lnTo>
                    <a:pt x="224" y="543"/>
                  </a:lnTo>
                  <a:lnTo>
                    <a:pt x="224" y="543"/>
                  </a:lnTo>
                  <a:lnTo>
                    <a:pt x="239" y="544"/>
                  </a:lnTo>
                  <a:lnTo>
                    <a:pt x="249" y="552"/>
                  </a:lnTo>
                  <a:lnTo>
                    <a:pt x="249" y="559"/>
                  </a:lnTo>
                  <a:lnTo>
                    <a:pt x="260" y="557"/>
                  </a:lnTo>
                  <a:lnTo>
                    <a:pt x="267" y="562"/>
                  </a:lnTo>
                  <a:lnTo>
                    <a:pt x="267" y="571"/>
                  </a:lnTo>
                  <a:lnTo>
                    <a:pt x="281" y="592"/>
                  </a:lnTo>
                  <a:lnTo>
                    <a:pt x="285" y="592"/>
                  </a:lnTo>
                  <a:lnTo>
                    <a:pt x="303" y="592"/>
                  </a:lnTo>
                  <a:lnTo>
                    <a:pt x="308" y="600"/>
                  </a:lnTo>
                  <a:lnTo>
                    <a:pt x="324" y="603"/>
                  </a:lnTo>
                  <a:lnTo>
                    <a:pt x="327" y="594"/>
                  </a:lnTo>
                  <a:lnTo>
                    <a:pt x="335" y="591"/>
                  </a:lnTo>
                  <a:lnTo>
                    <a:pt x="347" y="587"/>
                  </a:lnTo>
                  <a:lnTo>
                    <a:pt x="349" y="584"/>
                  </a:lnTo>
                  <a:lnTo>
                    <a:pt x="349" y="584"/>
                  </a:lnTo>
                  <a:lnTo>
                    <a:pt x="358" y="582"/>
                  </a:lnTo>
                  <a:lnTo>
                    <a:pt x="358" y="582"/>
                  </a:lnTo>
                  <a:lnTo>
                    <a:pt x="359" y="585"/>
                  </a:lnTo>
                  <a:lnTo>
                    <a:pt x="359" y="589"/>
                  </a:lnTo>
                  <a:lnTo>
                    <a:pt x="363" y="598"/>
                  </a:lnTo>
                  <a:lnTo>
                    <a:pt x="361" y="601"/>
                  </a:lnTo>
                  <a:lnTo>
                    <a:pt x="368" y="607"/>
                  </a:lnTo>
                  <a:lnTo>
                    <a:pt x="370" y="608"/>
                  </a:lnTo>
                  <a:lnTo>
                    <a:pt x="381" y="608"/>
                  </a:lnTo>
                  <a:lnTo>
                    <a:pt x="384" y="608"/>
                  </a:lnTo>
                  <a:lnTo>
                    <a:pt x="388" y="608"/>
                  </a:lnTo>
                  <a:lnTo>
                    <a:pt x="395" y="612"/>
                  </a:lnTo>
                  <a:lnTo>
                    <a:pt x="395" y="619"/>
                  </a:lnTo>
                  <a:lnTo>
                    <a:pt x="400" y="624"/>
                  </a:lnTo>
                  <a:lnTo>
                    <a:pt x="399" y="628"/>
                  </a:lnTo>
                  <a:lnTo>
                    <a:pt x="404" y="630"/>
                  </a:lnTo>
                  <a:lnTo>
                    <a:pt x="407" y="630"/>
                  </a:lnTo>
                  <a:lnTo>
                    <a:pt x="418" y="628"/>
                  </a:lnTo>
                  <a:lnTo>
                    <a:pt x="422" y="640"/>
                  </a:lnTo>
                  <a:lnTo>
                    <a:pt x="425" y="644"/>
                  </a:lnTo>
                  <a:lnTo>
                    <a:pt x="425" y="648"/>
                  </a:lnTo>
                  <a:lnTo>
                    <a:pt x="429" y="653"/>
                  </a:lnTo>
                  <a:lnTo>
                    <a:pt x="429" y="653"/>
                  </a:lnTo>
                  <a:lnTo>
                    <a:pt x="431" y="649"/>
                  </a:lnTo>
                  <a:lnTo>
                    <a:pt x="431" y="649"/>
                  </a:lnTo>
                  <a:lnTo>
                    <a:pt x="436" y="644"/>
                  </a:lnTo>
                  <a:lnTo>
                    <a:pt x="438" y="640"/>
                  </a:lnTo>
                  <a:lnTo>
                    <a:pt x="445" y="633"/>
                  </a:lnTo>
                  <a:lnTo>
                    <a:pt x="445" y="633"/>
                  </a:lnTo>
                  <a:lnTo>
                    <a:pt x="457" y="624"/>
                  </a:lnTo>
                  <a:lnTo>
                    <a:pt x="464" y="612"/>
                  </a:lnTo>
                  <a:lnTo>
                    <a:pt x="464" y="612"/>
                  </a:lnTo>
                  <a:lnTo>
                    <a:pt x="466" y="608"/>
                  </a:lnTo>
                  <a:lnTo>
                    <a:pt x="466" y="605"/>
                  </a:lnTo>
                  <a:lnTo>
                    <a:pt x="466" y="600"/>
                  </a:lnTo>
                  <a:lnTo>
                    <a:pt x="464" y="594"/>
                  </a:lnTo>
                  <a:lnTo>
                    <a:pt x="464" y="594"/>
                  </a:lnTo>
                  <a:lnTo>
                    <a:pt x="461" y="587"/>
                  </a:lnTo>
                  <a:lnTo>
                    <a:pt x="461" y="587"/>
                  </a:lnTo>
                  <a:lnTo>
                    <a:pt x="464" y="580"/>
                  </a:lnTo>
                  <a:lnTo>
                    <a:pt x="470" y="573"/>
                  </a:lnTo>
                  <a:lnTo>
                    <a:pt x="477" y="568"/>
                  </a:lnTo>
                  <a:lnTo>
                    <a:pt x="477" y="568"/>
                  </a:lnTo>
                  <a:lnTo>
                    <a:pt x="479" y="564"/>
                  </a:lnTo>
                  <a:lnTo>
                    <a:pt x="482" y="564"/>
                  </a:lnTo>
                  <a:lnTo>
                    <a:pt x="482" y="562"/>
                  </a:lnTo>
                  <a:lnTo>
                    <a:pt x="484" y="559"/>
                  </a:lnTo>
                  <a:lnTo>
                    <a:pt x="484" y="559"/>
                  </a:lnTo>
                  <a:lnTo>
                    <a:pt x="487" y="546"/>
                  </a:lnTo>
                  <a:lnTo>
                    <a:pt x="489" y="541"/>
                  </a:lnTo>
                  <a:lnTo>
                    <a:pt x="491" y="537"/>
                  </a:lnTo>
                  <a:lnTo>
                    <a:pt x="491" y="537"/>
                  </a:lnTo>
                  <a:lnTo>
                    <a:pt x="489" y="527"/>
                  </a:lnTo>
                  <a:lnTo>
                    <a:pt x="487" y="525"/>
                  </a:lnTo>
                  <a:lnTo>
                    <a:pt x="486" y="523"/>
                  </a:lnTo>
                  <a:lnTo>
                    <a:pt x="486" y="523"/>
                  </a:lnTo>
                  <a:lnTo>
                    <a:pt x="480" y="521"/>
                  </a:lnTo>
                  <a:lnTo>
                    <a:pt x="471" y="518"/>
                  </a:lnTo>
                  <a:lnTo>
                    <a:pt x="461" y="512"/>
                  </a:lnTo>
                  <a:lnTo>
                    <a:pt x="461" y="512"/>
                  </a:lnTo>
                  <a:lnTo>
                    <a:pt x="468" y="498"/>
                  </a:lnTo>
                  <a:lnTo>
                    <a:pt x="468" y="498"/>
                  </a:lnTo>
                  <a:lnTo>
                    <a:pt x="468" y="491"/>
                  </a:lnTo>
                  <a:lnTo>
                    <a:pt x="470" y="486"/>
                  </a:lnTo>
                  <a:lnTo>
                    <a:pt x="468" y="479"/>
                  </a:lnTo>
                  <a:lnTo>
                    <a:pt x="468" y="472"/>
                  </a:lnTo>
                  <a:lnTo>
                    <a:pt x="468" y="472"/>
                  </a:lnTo>
                  <a:lnTo>
                    <a:pt x="464" y="468"/>
                  </a:lnTo>
                  <a:lnTo>
                    <a:pt x="461" y="466"/>
                  </a:lnTo>
                  <a:lnTo>
                    <a:pt x="452" y="464"/>
                  </a:lnTo>
                  <a:lnTo>
                    <a:pt x="452" y="464"/>
                  </a:lnTo>
                  <a:lnTo>
                    <a:pt x="452" y="457"/>
                  </a:lnTo>
                  <a:lnTo>
                    <a:pt x="454" y="450"/>
                  </a:lnTo>
                  <a:lnTo>
                    <a:pt x="457" y="447"/>
                  </a:lnTo>
                  <a:lnTo>
                    <a:pt x="457" y="447"/>
                  </a:lnTo>
                  <a:lnTo>
                    <a:pt x="459" y="445"/>
                  </a:lnTo>
                  <a:lnTo>
                    <a:pt x="459" y="443"/>
                  </a:lnTo>
                  <a:lnTo>
                    <a:pt x="461" y="441"/>
                  </a:lnTo>
                  <a:lnTo>
                    <a:pt x="452" y="427"/>
                  </a:lnTo>
                  <a:lnTo>
                    <a:pt x="461" y="418"/>
                  </a:lnTo>
                  <a:lnTo>
                    <a:pt x="461" y="418"/>
                  </a:lnTo>
                  <a:lnTo>
                    <a:pt x="459" y="413"/>
                  </a:lnTo>
                  <a:lnTo>
                    <a:pt x="454" y="399"/>
                  </a:lnTo>
                  <a:lnTo>
                    <a:pt x="454" y="399"/>
                  </a:lnTo>
                  <a:lnTo>
                    <a:pt x="450" y="393"/>
                  </a:lnTo>
                  <a:lnTo>
                    <a:pt x="448" y="386"/>
                  </a:lnTo>
                  <a:lnTo>
                    <a:pt x="445" y="383"/>
                  </a:lnTo>
                  <a:lnTo>
                    <a:pt x="452" y="374"/>
                  </a:lnTo>
                  <a:lnTo>
                    <a:pt x="448" y="345"/>
                  </a:lnTo>
                  <a:lnTo>
                    <a:pt x="461" y="347"/>
                  </a:lnTo>
                  <a:lnTo>
                    <a:pt x="461" y="347"/>
                  </a:lnTo>
                  <a:lnTo>
                    <a:pt x="466" y="338"/>
                  </a:lnTo>
                  <a:lnTo>
                    <a:pt x="470" y="333"/>
                  </a:lnTo>
                  <a:lnTo>
                    <a:pt x="471" y="331"/>
                  </a:lnTo>
                  <a:lnTo>
                    <a:pt x="471" y="326"/>
                  </a:lnTo>
                  <a:lnTo>
                    <a:pt x="471" y="326"/>
                  </a:lnTo>
                  <a:lnTo>
                    <a:pt x="473" y="320"/>
                  </a:lnTo>
                  <a:lnTo>
                    <a:pt x="477" y="317"/>
                  </a:lnTo>
                  <a:lnTo>
                    <a:pt x="479" y="315"/>
                  </a:lnTo>
                  <a:lnTo>
                    <a:pt x="479" y="312"/>
                  </a:lnTo>
                  <a:lnTo>
                    <a:pt x="479" y="312"/>
                  </a:lnTo>
                  <a:lnTo>
                    <a:pt x="479" y="299"/>
                  </a:lnTo>
                  <a:lnTo>
                    <a:pt x="479" y="292"/>
                  </a:lnTo>
                  <a:lnTo>
                    <a:pt x="477" y="287"/>
                  </a:lnTo>
                  <a:lnTo>
                    <a:pt x="477" y="285"/>
                  </a:lnTo>
                  <a:lnTo>
                    <a:pt x="477" y="285"/>
                  </a:lnTo>
                  <a:lnTo>
                    <a:pt x="471" y="283"/>
                  </a:lnTo>
                  <a:lnTo>
                    <a:pt x="471" y="281"/>
                  </a:lnTo>
                  <a:lnTo>
                    <a:pt x="468" y="278"/>
                  </a:lnTo>
                  <a:lnTo>
                    <a:pt x="464" y="278"/>
                  </a:lnTo>
                  <a:lnTo>
                    <a:pt x="464" y="278"/>
                  </a:lnTo>
                  <a:lnTo>
                    <a:pt x="457" y="278"/>
                  </a:lnTo>
                  <a:lnTo>
                    <a:pt x="452" y="274"/>
                  </a:lnTo>
                  <a:lnTo>
                    <a:pt x="441" y="267"/>
                  </a:lnTo>
                  <a:lnTo>
                    <a:pt x="441" y="267"/>
                  </a:lnTo>
                  <a:lnTo>
                    <a:pt x="438" y="265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25" y="237"/>
                  </a:lnTo>
                  <a:lnTo>
                    <a:pt x="425" y="237"/>
                  </a:lnTo>
                  <a:lnTo>
                    <a:pt x="452" y="217"/>
                  </a:lnTo>
                  <a:lnTo>
                    <a:pt x="452" y="217"/>
                  </a:lnTo>
                  <a:lnTo>
                    <a:pt x="459" y="216"/>
                  </a:lnTo>
                  <a:lnTo>
                    <a:pt x="461" y="214"/>
                  </a:lnTo>
                  <a:lnTo>
                    <a:pt x="464" y="214"/>
                  </a:lnTo>
                  <a:lnTo>
                    <a:pt x="464" y="216"/>
                  </a:lnTo>
                  <a:lnTo>
                    <a:pt x="464" y="216"/>
                  </a:lnTo>
                  <a:lnTo>
                    <a:pt x="466" y="216"/>
                  </a:lnTo>
                  <a:lnTo>
                    <a:pt x="468" y="216"/>
                  </a:lnTo>
                  <a:lnTo>
                    <a:pt x="468" y="212"/>
                  </a:lnTo>
                  <a:lnTo>
                    <a:pt x="471" y="201"/>
                  </a:lnTo>
                  <a:lnTo>
                    <a:pt x="471" y="201"/>
                  </a:lnTo>
                  <a:lnTo>
                    <a:pt x="470" y="192"/>
                  </a:lnTo>
                  <a:lnTo>
                    <a:pt x="468" y="185"/>
                  </a:lnTo>
                  <a:lnTo>
                    <a:pt x="466" y="180"/>
                  </a:lnTo>
                  <a:lnTo>
                    <a:pt x="466" y="180"/>
                  </a:lnTo>
                  <a:lnTo>
                    <a:pt x="454" y="160"/>
                  </a:lnTo>
                  <a:lnTo>
                    <a:pt x="454" y="160"/>
                  </a:lnTo>
                  <a:lnTo>
                    <a:pt x="457" y="157"/>
                  </a:lnTo>
                  <a:lnTo>
                    <a:pt x="461" y="155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71" y="153"/>
                  </a:lnTo>
                  <a:lnTo>
                    <a:pt x="477" y="152"/>
                  </a:lnTo>
                  <a:lnTo>
                    <a:pt x="477" y="150"/>
                  </a:lnTo>
                  <a:lnTo>
                    <a:pt x="477" y="150"/>
                  </a:lnTo>
                  <a:lnTo>
                    <a:pt x="477" y="150"/>
                  </a:lnTo>
                  <a:lnTo>
                    <a:pt x="477" y="144"/>
                  </a:lnTo>
                  <a:lnTo>
                    <a:pt x="479" y="144"/>
                  </a:lnTo>
                  <a:lnTo>
                    <a:pt x="480" y="144"/>
                  </a:lnTo>
                  <a:lnTo>
                    <a:pt x="480" y="143"/>
                  </a:lnTo>
                  <a:lnTo>
                    <a:pt x="480" y="143"/>
                  </a:lnTo>
                  <a:lnTo>
                    <a:pt x="480" y="141"/>
                  </a:lnTo>
                  <a:lnTo>
                    <a:pt x="479" y="137"/>
                  </a:lnTo>
                  <a:lnTo>
                    <a:pt x="473" y="132"/>
                  </a:lnTo>
                  <a:lnTo>
                    <a:pt x="463" y="121"/>
                  </a:lnTo>
                  <a:lnTo>
                    <a:pt x="463" y="121"/>
                  </a:lnTo>
                  <a:lnTo>
                    <a:pt x="461" y="118"/>
                  </a:lnTo>
                  <a:lnTo>
                    <a:pt x="461" y="114"/>
                  </a:lnTo>
                  <a:lnTo>
                    <a:pt x="461" y="109"/>
                  </a:lnTo>
                  <a:lnTo>
                    <a:pt x="461" y="109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1" y="100"/>
                  </a:lnTo>
                  <a:lnTo>
                    <a:pt x="461" y="100"/>
                  </a:lnTo>
                  <a:lnTo>
                    <a:pt x="459" y="96"/>
                  </a:lnTo>
                  <a:lnTo>
                    <a:pt x="457" y="93"/>
                  </a:lnTo>
                  <a:lnTo>
                    <a:pt x="457" y="91"/>
                  </a:lnTo>
                  <a:lnTo>
                    <a:pt x="457" y="91"/>
                  </a:lnTo>
                  <a:lnTo>
                    <a:pt x="450" y="89"/>
                  </a:lnTo>
                  <a:lnTo>
                    <a:pt x="445" y="91"/>
                  </a:lnTo>
                  <a:lnTo>
                    <a:pt x="441" y="93"/>
                  </a:lnTo>
                  <a:lnTo>
                    <a:pt x="438" y="96"/>
                  </a:lnTo>
                  <a:lnTo>
                    <a:pt x="438" y="96"/>
                  </a:lnTo>
                  <a:lnTo>
                    <a:pt x="438" y="98"/>
                  </a:lnTo>
                  <a:lnTo>
                    <a:pt x="439" y="102"/>
                  </a:lnTo>
                  <a:lnTo>
                    <a:pt x="445" y="114"/>
                  </a:lnTo>
                  <a:lnTo>
                    <a:pt x="448" y="121"/>
                  </a:lnTo>
                  <a:lnTo>
                    <a:pt x="448" y="125"/>
                  </a:lnTo>
                  <a:lnTo>
                    <a:pt x="448" y="128"/>
                  </a:lnTo>
                  <a:lnTo>
                    <a:pt x="447" y="128"/>
                  </a:lnTo>
                  <a:lnTo>
                    <a:pt x="447" y="128"/>
                  </a:lnTo>
                  <a:lnTo>
                    <a:pt x="445" y="125"/>
                  </a:lnTo>
                  <a:lnTo>
                    <a:pt x="441" y="125"/>
                  </a:lnTo>
                  <a:lnTo>
                    <a:pt x="439" y="121"/>
                  </a:lnTo>
                  <a:lnTo>
                    <a:pt x="438" y="116"/>
                  </a:lnTo>
                  <a:lnTo>
                    <a:pt x="432" y="114"/>
                  </a:lnTo>
                  <a:lnTo>
                    <a:pt x="431" y="114"/>
                  </a:lnTo>
                  <a:lnTo>
                    <a:pt x="431" y="114"/>
                  </a:lnTo>
                  <a:lnTo>
                    <a:pt x="425" y="111"/>
                  </a:lnTo>
                  <a:lnTo>
                    <a:pt x="420" y="111"/>
                  </a:lnTo>
                  <a:lnTo>
                    <a:pt x="418" y="111"/>
                  </a:lnTo>
                  <a:lnTo>
                    <a:pt x="416" y="114"/>
                  </a:lnTo>
                  <a:lnTo>
                    <a:pt x="416" y="114"/>
                  </a:lnTo>
                  <a:lnTo>
                    <a:pt x="413" y="120"/>
                  </a:lnTo>
                  <a:lnTo>
                    <a:pt x="413" y="125"/>
                  </a:lnTo>
                  <a:lnTo>
                    <a:pt x="413" y="134"/>
                  </a:lnTo>
                  <a:lnTo>
                    <a:pt x="413" y="137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29" y="150"/>
                  </a:lnTo>
                  <a:lnTo>
                    <a:pt x="436" y="157"/>
                  </a:lnTo>
                  <a:lnTo>
                    <a:pt x="438" y="159"/>
                  </a:lnTo>
                  <a:lnTo>
                    <a:pt x="438" y="160"/>
                  </a:lnTo>
                  <a:lnTo>
                    <a:pt x="438" y="160"/>
                  </a:lnTo>
                  <a:lnTo>
                    <a:pt x="438" y="162"/>
                  </a:lnTo>
                  <a:lnTo>
                    <a:pt x="436" y="162"/>
                  </a:lnTo>
                  <a:lnTo>
                    <a:pt x="431" y="162"/>
                  </a:lnTo>
                  <a:lnTo>
                    <a:pt x="425" y="160"/>
                  </a:lnTo>
                  <a:lnTo>
                    <a:pt x="420" y="157"/>
                  </a:lnTo>
                  <a:lnTo>
                    <a:pt x="420" y="157"/>
                  </a:lnTo>
                  <a:lnTo>
                    <a:pt x="413" y="153"/>
                  </a:lnTo>
                  <a:lnTo>
                    <a:pt x="406" y="150"/>
                  </a:lnTo>
                  <a:lnTo>
                    <a:pt x="402" y="144"/>
                  </a:lnTo>
                  <a:lnTo>
                    <a:pt x="400" y="143"/>
                  </a:lnTo>
                  <a:lnTo>
                    <a:pt x="399" y="137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400" y="121"/>
                  </a:lnTo>
                  <a:lnTo>
                    <a:pt x="404" y="114"/>
                  </a:lnTo>
                  <a:lnTo>
                    <a:pt x="411" y="98"/>
                  </a:lnTo>
                  <a:lnTo>
                    <a:pt x="411" y="98"/>
                  </a:lnTo>
                  <a:lnTo>
                    <a:pt x="416" y="93"/>
                  </a:lnTo>
                  <a:lnTo>
                    <a:pt x="420" y="84"/>
                  </a:lnTo>
                  <a:lnTo>
                    <a:pt x="422" y="79"/>
                  </a:lnTo>
                  <a:lnTo>
                    <a:pt x="422" y="75"/>
                  </a:lnTo>
                  <a:lnTo>
                    <a:pt x="422" y="72"/>
                  </a:lnTo>
                  <a:lnTo>
                    <a:pt x="420" y="66"/>
                  </a:lnTo>
                  <a:lnTo>
                    <a:pt x="420" y="66"/>
                  </a:lnTo>
                  <a:lnTo>
                    <a:pt x="416" y="59"/>
                  </a:lnTo>
                  <a:lnTo>
                    <a:pt x="413" y="56"/>
                  </a:lnTo>
                  <a:lnTo>
                    <a:pt x="411" y="54"/>
                  </a:lnTo>
                  <a:lnTo>
                    <a:pt x="409" y="54"/>
                  </a:lnTo>
                  <a:lnTo>
                    <a:pt x="409" y="54"/>
                  </a:lnTo>
                  <a:lnTo>
                    <a:pt x="411" y="57"/>
                  </a:lnTo>
                  <a:lnTo>
                    <a:pt x="413" y="66"/>
                  </a:lnTo>
                  <a:lnTo>
                    <a:pt x="413" y="70"/>
                  </a:lnTo>
                  <a:lnTo>
                    <a:pt x="413" y="75"/>
                  </a:lnTo>
                  <a:lnTo>
                    <a:pt x="413" y="79"/>
                  </a:lnTo>
                  <a:lnTo>
                    <a:pt x="411" y="84"/>
                  </a:lnTo>
                  <a:lnTo>
                    <a:pt x="411" y="84"/>
                  </a:lnTo>
                  <a:lnTo>
                    <a:pt x="406" y="93"/>
                  </a:lnTo>
                  <a:lnTo>
                    <a:pt x="399" y="98"/>
                  </a:lnTo>
                  <a:lnTo>
                    <a:pt x="390" y="102"/>
                  </a:lnTo>
                  <a:lnTo>
                    <a:pt x="384" y="104"/>
                  </a:lnTo>
                  <a:lnTo>
                    <a:pt x="384" y="104"/>
                  </a:lnTo>
                  <a:lnTo>
                    <a:pt x="381" y="104"/>
                  </a:lnTo>
                  <a:lnTo>
                    <a:pt x="377" y="104"/>
                  </a:lnTo>
                  <a:lnTo>
                    <a:pt x="372" y="109"/>
                  </a:lnTo>
                  <a:lnTo>
                    <a:pt x="368" y="114"/>
                  </a:lnTo>
                  <a:lnTo>
                    <a:pt x="367" y="116"/>
                  </a:lnTo>
                  <a:lnTo>
                    <a:pt x="367" y="116"/>
                  </a:lnTo>
                  <a:lnTo>
                    <a:pt x="363" y="118"/>
                  </a:lnTo>
                  <a:lnTo>
                    <a:pt x="361" y="121"/>
                  </a:lnTo>
                  <a:lnTo>
                    <a:pt x="361" y="121"/>
                  </a:lnTo>
                  <a:lnTo>
                    <a:pt x="361" y="125"/>
                  </a:lnTo>
                  <a:lnTo>
                    <a:pt x="361" y="125"/>
                  </a:lnTo>
                  <a:lnTo>
                    <a:pt x="363" y="134"/>
                  </a:lnTo>
                  <a:lnTo>
                    <a:pt x="363" y="139"/>
                  </a:lnTo>
                  <a:lnTo>
                    <a:pt x="363" y="144"/>
                  </a:lnTo>
                  <a:lnTo>
                    <a:pt x="361" y="150"/>
                  </a:lnTo>
                  <a:lnTo>
                    <a:pt x="361" y="150"/>
                  </a:lnTo>
                  <a:lnTo>
                    <a:pt x="361" y="153"/>
                  </a:lnTo>
                  <a:lnTo>
                    <a:pt x="361" y="157"/>
                  </a:lnTo>
                  <a:lnTo>
                    <a:pt x="363" y="162"/>
                  </a:lnTo>
                  <a:lnTo>
                    <a:pt x="363" y="166"/>
                  </a:lnTo>
                  <a:lnTo>
                    <a:pt x="363" y="169"/>
                  </a:lnTo>
                  <a:lnTo>
                    <a:pt x="361" y="173"/>
                  </a:lnTo>
                  <a:lnTo>
                    <a:pt x="358" y="176"/>
                  </a:lnTo>
                  <a:lnTo>
                    <a:pt x="358" y="176"/>
                  </a:lnTo>
                  <a:lnTo>
                    <a:pt x="349" y="182"/>
                  </a:lnTo>
                  <a:lnTo>
                    <a:pt x="340" y="192"/>
                  </a:lnTo>
                  <a:lnTo>
                    <a:pt x="331" y="201"/>
                  </a:lnTo>
                  <a:lnTo>
                    <a:pt x="329" y="205"/>
                  </a:lnTo>
                  <a:lnTo>
                    <a:pt x="327" y="210"/>
                  </a:lnTo>
                  <a:lnTo>
                    <a:pt x="327" y="210"/>
                  </a:lnTo>
                  <a:lnTo>
                    <a:pt x="327" y="217"/>
                  </a:lnTo>
                  <a:lnTo>
                    <a:pt x="324" y="224"/>
                  </a:lnTo>
                  <a:lnTo>
                    <a:pt x="322" y="233"/>
                  </a:lnTo>
                  <a:lnTo>
                    <a:pt x="320" y="235"/>
                  </a:lnTo>
                  <a:lnTo>
                    <a:pt x="320" y="237"/>
                  </a:lnTo>
                  <a:lnTo>
                    <a:pt x="320" y="237"/>
                  </a:lnTo>
                  <a:lnTo>
                    <a:pt x="324" y="240"/>
                  </a:lnTo>
                  <a:lnTo>
                    <a:pt x="331" y="244"/>
                  </a:lnTo>
                  <a:lnTo>
                    <a:pt x="340" y="248"/>
                  </a:lnTo>
                  <a:lnTo>
                    <a:pt x="343" y="248"/>
                  </a:lnTo>
                  <a:lnTo>
                    <a:pt x="343" y="248"/>
                  </a:lnTo>
                  <a:lnTo>
                    <a:pt x="343" y="248"/>
                  </a:lnTo>
                  <a:lnTo>
                    <a:pt x="349" y="248"/>
                  </a:lnTo>
                  <a:lnTo>
                    <a:pt x="354" y="248"/>
                  </a:lnTo>
                  <a:lnTo>
                    <a:pt x="361" y="251"/>
                  </a:lnTo>
                  <a:lnTo>
                    <a:pt x="367" y="255"/>
                  </a:lnTo>
                  <a:lnTo>
                    <a:pt x="367" y="255"/>
                  </a:lnTo>
                  <a:lnTo>
                    <a:pt x="372" y="260"/>
                  </a:lnTo>
                  <a:lnTo>
                    <a:pt x="379" y="265"/>
                  </a:lnTo>
                  <a:lnTo>
                    <a:pt x="381" y="271"/>
                  </a:lnTo>
                  <a:lnTo>
                    <a:pt x="383" y="274"/>
                  </a:lnTo>
                  <a:lnTo>
                    <a:pt x="384" y="280"/>
                  </a:lnTo>
                  <a:lnTo>
                    <a:pt x="384" y="283"/>
                  </a:lnTo>
                  <a:lnTo>
                    <a:pt x="384" y="283"/>
                  </a:lnTo>
                  <a:lnTo>
                    <a:pt x="384" y="304"/>
                  </a:lnTo>
                  <a:lnTo>
                    <a:pt x="383" y="308"/>
                  </a:lnTo>
                  <a:lnTo>
                    <a:pt x="381" y="313"/>
                  </a:lnTo>
                  <a:lnTo>
                    <a:pt x="381" y="313"/>
                  </a:lnTo>
                  <a:lnTo>
                    <a:pt x="381" y="313"/>
                  </a:lnTo>
                  <a:lnTo>
                    <a:pt x="377" y="313"/>
                  </a:lnTo>
                  <a:lnTo>
                    <a:pt x="375" y="312"/>
                  </a:lnTo>
                  <a:lnTo>
                    <a:pt x="372" y="308"/>
                  </a:lnTo>
                  <a:lnTo>
                    <a:pt x="370" y="313"/>
                  </a:lnTo>
                  <a:lnTo>
                    <a:pt x="370" y="313"/>
                  </a:lnTo>
                  <a:lnTo>
                    <a:pt x="368" y="315"/>
                  </a:lnTo>
                  <a:lnTo>
                    <a:pt x="367" y="320"/>
                  </a:lnTo>
                  <a:lnTo>
                    <a:pt x="365" y="326"/>
                  </a:lnTo>
                  <a:lnTo>
                    <a:pt x="365" y="331"/>
                  </a:lnTo>
                  <a:lnTo>
                    <a:pt x="365" y="331"/>
                  </a:lnTo>
                  <a:lnTo>
                    <a:pt x="368" y="336"/>
                  </a:lnTo>
                  <a:lnTo>
                    <a:pt x="375" y="342"/>
                  </a:lnTo>
                  <a:lnTo>
                    <a:pt x="384" y="349"/>
                  </a:lnTo>
                  <a:lnTo>
                    <a:pt x="384" y="349"/>
                  </a:lnTo>
                  <a:lnTo>
                    <a:pt x="377" y="347"/>
                  </a:lnTo>
                  <a:lnTo>
                    <a:pt x="370" y="345"/>
                  </a:lnTo>
                  <a:lnTo>
                    <a:pt x="365" y="342"/>
                  </a:lnTo>
                  <a:lnTo>
                    <a:pt x="365" y="342"/>
                  </a:lnTo>
                  <a:lnTo>
                    <a:pt x="361" y="336"/>
                  </a:lnTo>
                  <a:lnTo>
                    <a:pt x="358" y="333"/>
                  </a:lnTo>
                  <a:lnTo>
                    <a:pt x="358" y="331"/>
                  </a:lnTo>
                  <a:lnTo>
                    <a:pt x="359" y="322"/>
                  </a:lnTo>
                  <a:lnTo>
                    <a:pt x="359" y="322"/>
                  </a:lnTo>
                  <a:lnTo>
                    <a:pt x="363" y="317"/>
                  </a:lnTo>
                  <a:lnTo>
                    <a:pt x="367" y="308"/>
                  </a:lnTo>
                  <a:lnTo>
                    <a:pt x="368" y="304"/>
                  </a:lnTo>
                  <a:lnTo>
                    <a:pt x="370" y="297"/>
                  </a:lnTo>
                  <a:lnTo>
                    <a:pt x="370" y="297"/>
                  </a:lnTo>
                  <a:lnTo>
                    <a:pt x="368" y="290"/>
                  </a:lnTo>
                  <a:lnTo>
                    <a:pt x="367" y="283"/>
                  </a:lnTo>
                  <a:lnTo>
                    <a:pt x="367" y="280"/>
                  </a:lnTo>
                  <a:lnTo>
                    <a:pt x="367" y="274"/>
                  </a:lnTo>
                  <a:lnTo>
                    <a:pt x="367" y="274"/>
                  </a:lnTo>
                  <a:lnTo>
                    <a:pt x="368" y="267"/>
                  </a:lnTo>
                  <a:lnTo>
                    <a:pt x="367" y="265"/>
                  </a:lnTo>
                  <a:lnTo>
                    <a:pt x="365" y="264"/>
                  </a:lnTo>
                  <a:lnTo>
                    <a:pt x="365" y="264"/>
                  </a:lnTo>
                  <a:lnTo>
                    <a:pt x="359" y="262"/>
                  </a:lnTo>
                  <a:lnTo>
                    <a:pt x="351" y="262"/>
                  </a:lnTo>
                  <a:lnTo>
                    <a:pt x="336" y="262"/>
                  </a:lnTo>
                  <a:lnTo>
                    <a:pt x="336" y="262"/>
                  </a:lnTo>
                  <a:lnTo>
                    <a:pt x="331" y="262"/>
                  </a:lnTo>
                  <a:lnTo>
                    <a:pt x="327" y="262"/>
                  </a:lnTo>
                  <a:lnTo>
                    <a:pt x="324" y="264"/>
                  </a:lnTo>
                  <a:lnTo>
                    <a:pt x="322" y="271"/>
                  </a:lnTo>
                  <a:lnTo>
                    <a:pt x="322" y="271"/>
                  </a:lnTo>
                  <a:lnTo>
                    <a:pt x="320" y="274"/>
                  </a:lnTo>
                  <a:lnTo>
                    <a:pt x="317" y="278"/>
                  </a:lnTo>
                  <a:lnTo>
                    <a:pt x="317" y="281"/>
                  </a:lnTo>
                  <a:lnTo>
                    <a:pt x="317" y="283"/>
                  </a:lnTo>
                  <a:lnTo>
                    <a:pt x="317" y="283"/>
                  </a:lnTo>
                  <a:lnTo>
                    <a:pt x="317" y="287"/>
                  </a:lnTo>
                  <a:lnTo>
                    <a:pt x="319" y="294"/>
                  </a:lnTo>
                  <a:lnTo>
                    <a:pt x="317" y="301"/>
                  </a:lnTo>
                  <a:lnTo>
                    <a:pt x="317" y="306"/>
                  </a:lnTo>
                  <a:lnTo>
                    <a:pt x="317" y="306"/>
                  </a:lnTo>
                  <a:lnTo>
                    <a:pt x="313" y="308"/>
                  </a:lnTo>
                  <a:lnTo>
                    <a:pt x="310" y="312"/>
                  </a:lnTo>
                  <a:lnTo>
                    <a:pt x="303" y="317"/>
                  </a:lnTo>
                  <a:lnTo>
                    <a:pt x="297" y="320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5" y="326"/>
                  </a:lnTo>
                  <a:lnTo>
                    <a:pt x="285" y="328"/>
                  </a:lnTo>
                  <a:lnTo>
                    <a:pt x="281" y="336"/>
                  </a:lnTo>
                  <a:lnTo>
                    <a:pt x="276" y="342"/>
                  </a:lnTo>
                  <a:lnTo>
                    <a:pt x="274" y="345"/>
                  </a:lnTo>
                  <a:lnTo>
                    <a:pt x="269" y="345"/>
                  </a:lnTo>
                  <a:lnTo>
                    <a:pt x="269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49" y="349"/>
                  </a:lnTo>
                  <a:lnTo>
                    <a:pt x="244" y="349"/>
                  </a:lnTo>
                  <a:lnTo>
                    <a:pt x="240" y="354"/>
                  </a:lnTo>
                  <a:lnTo>
                    <a:pt x="240" y="354"/>
                  </a:lnTo>
                  <a:lnTo>
                    <a:pt x="237" y="356"/>
                  </a:lnTo>
                  <a:lnTo>
                    <a:pt x="233" y="360"/>
                  </a:lnTo>
                  <a:lnTo>
                    <a:pt x="231" y="361"/>
                  </a:lnTo>
                  <a:lnTo>
                    <a:pt x="226" y="361"/>
                  </a:lnTo>
                  <a:lnTo>
                    <a:pt x="224" y="360"/>
                  </a:lnTo>
                  <a:lnTo>
                    <a:pt x="224" y="360"/>
                  </a:lnTo>
                  <a:lnTo>
                    <a:pt x="217" y="354"/>
                  </a:lnTo>
                  <a:lnTo>
                    <a:pt x="208" y="347"/>
                  </a:lnTo>
                  <a:lnTo>
                    <a:pt x="208" y="347"/>
                  </a:lnTo>
                  <a:lnTo>
                    <a:pt x="203" y="342"/>
                  </a:lnTo>
                  <a:lnTo>
                    <a:pt x="194" y="338"/>
                  </a:lnTo>
                  <a:lnTo>
                    <a:pt x="185" y="333"/>
                  </a:lnTo>
                  <a:lnTo>
                    <a:pt x="183" y="331"/>
                  </a:lnTo>
                  <a:lnTo>
                    <a:pt x="182" y="328"/>
                  </a:lnTo>
                  <a:lnTo>
                    <a:pt x="182" y="328"/>
                  </a:lnTo>
                  <a:lnTo>
                    <a:pt x="182" y="317"/>
                  </a:lnTo>
                  <a:lnTo>
                    <a:pt x="182" y="315"/>
                  </a:lnTo>
                  <a:lnTo>
                    <a:pt x="183" y="315"/>
                  </a:lnTo>
                  <a:lnTo>
                    <a:pt x="187" y="317"/>
                  </a:lnTo>
                  <a:lnTo>
                    <a:pt x="187" y="317"/>
                  </a:lnTo>
                  <a:lnTo>
                    <a:pt x="192" y="320"/>
                  </a:lnTo>
                  <a:lnTo>
                    <a:pt x="194" y="324"/>
                  </a:lnTo>
                  <a:lnTo>
                    <a:pt x="198" y="331"/>
                  </a:lnTo>
                  <a:lnTo>
                    <a:pt x="199" y="333"/>
                  </a:lnTo>
                  <a:lnTo>
                    <a:pt x="201" y="336"/>
                  </a:lnTo>
                  <a:lnTo>
                    <a:pt x="203" y="336"/>
                  </a:lnTo>
                  <a:lnTo>
                    <a:pt x="207" y="336"/>
                  </a:lnTo>
                  <a:lnTo>
                    <a:pt x="207" y="336"/>
                  </a:lnTo>
                  <a:lnTo>
                    <a:pt x="217" y="336"/>
                  </a:lnTo>
                  <a:lnTo>
                    <a:pt x="226" y="333"/>
                  </a:lnTo>
                  <a:lnTo>
                    <a:pt x="235" y="331"/>
                  </a:lnTo>
                  <a:lnTo>
                    <a:pt x="239" y="328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7" y="320"/>
                  </a:lnTo>
                  <a:lnTo>
                    <a:pt x="260" y="313"/>
                  </a:lnTo>
                  <a:lnTo>
                    <a:pt x="272" y="306"/>
                  </a:lnTo>
                  <a:lnTo>
                    <a:pt x="279" y="299"/>
                  </a:lnTo>
                  <a:lnTo>
                    <a:pt x="279" y="299"/>
                  </a:lnTo>
                  <a:lnTo>
                    <a:pt x="281" y="297"/>
                  </a:lnTo>
                  <a:lnTo>
                    <a:pt x="281" y="294"/>
                  </a:lnTo>
                  <a:lnTo>
                    <a:pt x="283" y="285"/>
                  </a:lnTo>
                  <a:lnTo>
                    <a:pt x="285" y="281"/>
                  </a:lnTo>
                  <a:lnTo>
                    <a:pt x="288" y="278"/>
                  </a:lnTo>
                  <a:lnTo>
                    <a:pt x="290" y="274"/>
                  </a:lnTo>
                  <a:lnTo>
                    <a:pt x="290" y="274"/>
                  </a:lnTo>
                  <a:lnTo>
                    <a:pt x="297" y="272"/>
                  </a:lnTo>
                  <a:lnTo>
                    <a:pt x="303" y="271"/>
                  </a:lnTo>
                  <a:lnTo>
                    <a:pt x="304" y="267"/>
                  </a:lnTo>
                  <a:lnTo>
                    <a:pt x="304" y="265"/>
                  </a:lnTo>
                  <a:lnTo>
                    <a:pt x="304" y="264"/>
                  </a:lnTo>
                  <a:lnTo>
                    <a:pt x="304" y="264"/>
                  </a:lnTo>
                  <a:lnTo>
                    <a:pt x="304" y="256"/>
                  </a:lnTo>
                  <a:lnTo>
                    <a:pt x="301" y="244"/>
                  </a:lnTo>
                  <a:lnTo>
                    <a:pt x="299" y="240"/>
                  </a:lnTo>
                  <a:lnTo>
                    <a:pt x="299" y="233"/>
                  </a:lnTo>
                  <a:lnTo>
                    <a:pt x="301" y="226"/>
                  </a:lnTo>
                  <a:lnTo>
                    <a:pt x="303" y="221"/>
                  </a:lnTo>
                  <a:lnTo>
                    <a:pt x="303" y="221"/>
                  </a:lnTo>
                  <a:lnTo>
                    <a:pt x="320" y="192"/>
                  </a:lnTo>
                  <a:lnTo>
                    <a:pt x="326" y="178"/>
                  </a:lnTo>
                  <a:lnTo>
                    <a:pt x="331" y="169"/>
                  </a:lnTo>
                  <a:lnTo>
                    <a:pt x="331" y="169"/>
                  </a:lnTo>
                  <a:lnTo>
                    <a:pt x="336" y="159"/>
                  </a:lnTo>
                  <a:lnTo>
                    <a:pt x="342" y="150"/>
                  </a:lnTo>
                  <a:lnTo>
                    <a:pt x="343" y="141"/>
                  </a:lnTo>
                  <a:lnTo>
                    <a:pt x="343" y="137"/>
                  </a:lnTo>
                  <a:lnTo>
                    <a:pt x="343" y="134"/>
                  </a:lnTo>
                  <a:lnTo>
                    <a:pt x="343" y="134"/>
                  </a:lnTo>
                  <a:lnTo>
                    <a:pt x="343" y="128"/>
                  </a:lnTo>
                  <a:lnTo>
                    <a:pt x="340" y="121"/>
                  </a:lnTo>
                  <a:lnTo>
                    <a:pt x="338" y="118"/>
                  </a:lnTo>
                  <a:lnTo>
                    <a:pt x="338" y="114"/>
                  </a:lnTo>
                  <a:lnTo>
                    <a:pt x="340" y="111"/>
                  </a:lnTo>
                  <a:lnTo>
                    <a:pt x="343" y="109"/>
                  </a:lnTo>
                  <a:lnTo>
                    <a:pt x="343" y="109"/>
                  </a:lnTo>
                  <a:lnTo>
                    <a:pt x="358" y="95"/>
                  </a:lnTo>
                  <a:lnTo>
                    <a:pt x="365" y="89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72" y="75"/>
                  </a:lnTo>
                  <a:lnTo>
                    <a:pt x="377" y="70"/>
                  </a:lnTo>
                  <a:lnTo>
                    <a:pt x="381" y="59"/>
                  </a:lnTo>
                  <a:lnTo>
                    <a:pt x="381" y="54"/>
                  </a:lnTo>
                  <a:lnTo>
                    <a:pt x="381" y="54"/>
                  </a:lnTo>
                  <a:lnTo>
                    <a:pt x="379" y="52"/>
                  </a:lnTo>
                  <a:lnTo>
                    <a:pt x="377" y="48"/>
                  </a:lnTo>
                  <a:lnTo>
                    <a:pt x="368" y="41"/>
                  </a:lnTo>
                  <a:lnTo>
                    <a:pt x="361" y="34"/>
                  </a:lnTo>
                  <a:lnTo>
                    <a:pt x="351" y="31"/>
                  </a:lnTo>
                  <a:lnTo>
                    <a:pt x="351" y="31"/>
                  </a:lnTo>
                  <a:lnTo>
                    <a:pt x="349" y="29"/>
                  </a:lnTo>
                  <a:lnTo>
                    <a:pt x="347" y="29"/>
                  </a:lnTo>
                  <a:lnTo>
                    <a:pt x="354" y="29"/>
                  </a:lnTo>
                  <a:lnTo>
                    <a:pt x="368" y="27"/>
                  </a:lnTo>
                  <a:lnTo>
                    <a:pt x="368" y="27"/>
                  </a:lnTo>
                  <a:lnTo>
                    <a:pt x="372" y="25"/>
                  </a:lnTo>
                  <a:lnTo>
                    <a:pt x="377" y="20"/>
                  </a:lnTo>
                  <a:lnTo>
                    <a:pt x="377" y="16"/>
                  </a:lnTo>
                  <a:lnTo>
                    <a:pt x="377" y="9"/>
                  </a:lnTo>
                  <a:lnTo>
                    <a:pt x="377" y="9"/>
                  </a:lnTo>
                  <a:lnTo>
                    <a:pt x="372" y="6"/>
                  </a:lnTo>
                  <a:lnTo>
                    <a:pt x="368" y="0"/>
                  </a:lnTo>
                  <a:lnTo>
                    <a:pt x="365" y="0"/>
                  </a:lnTo>
                  <a:lnTo>
                    <a:pt x="361" y="6"/>
                  </a:lnTo>
                  <a:lnTo>
                    <a:pt x="361" y="6"/>
                  </a:lnTo>
                  <a:lnTo>
                    <a:pt x="356" y="9"/>
                  </a:lnTo>
                  <a:lnTo>
                    <a:pt x="351" y="15"/>
                  </a:lnTo>
                  <a:lnTo>
                    <a:pt x="347" y="20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42" y="20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24" y="36"/>
                  </a:lnTo>
                  <a:lnTo>
                    <a:pt x="308" y="57"/>
                  </a:lnTo>
                  <a:lnTo>
                    <a:pt x="308" y="57"/>
                  </a:lnTo>
                  <a:lnTo>
                    <a:pt x="301" y="66"/>
                  </a:lnTo>
                  <a:lnTo>
                    <a:pt x="294" y="73"/>
                  </a:lnTo>
                  <a:lnTo>
                    <a:pt x="288" y="75"/>
                  </a:lnTo>
                  <a:lnTo>
                    <a:pt x="285" y="77"/>
                  </a:lnTo>
                  <a:lnTo>
                    <a:pt x="279" y="79"/>
                  </a:lnTo>
                  <a:lnTo>
                    <a:pt x="276" y="80"/>
                  </a:lnTo>
                  <a:lnTo>
                    <a:pt x="276" y="80"/>
                  </a:lnTo>
                  <a:lnTo>
                    <a:pt x="269" y="80"/>
                  </a:lnTo>
                  <a:lnTo>
                    <a:pt x="263" y="82"/>
                  </a:lnTo>
                  <a:lnTo>
                    <a:pt x="256" y="89"/>
                  </a:lnTo>
                  <a:lnTo>
                    <a:pt x="249" y="93"/>
                  </a:lnTo>
                  <a:lnTo>
                    <a:pt x="246" y="98"/>
                  </a:lnTo>
                  <a:lnTo>
                    <a:pt x="246" y="98"/>
                  </a:lnTo>
                  <a:lnTo>
                    <a:pt x="244" y="98"/>
                  </a:lnTo>
                  <a:lnTo>
                    <a:pt x="244" y="100"/>
                  </a:lnTo>
                  <a:lnTo>
                    <a:pt x="246" y="104"/>
                  </a:lnTo>
                  <a:lnTo>
                    <a:pt x="247" y="107"/>
                  </a:lnTo>
                  <a:lnTo>
                    <a:pt x="246" y="111"/>
                  </a:lnTo>
                  <a:lnTo>
                    <a:pt x="244" y="114"/>
                  </a:lnTo>
                  <a:lnTo>
                    <a:pt x="242" y="120"/>
                  </a:lnTo>
                  <a:lnTo>
                    <a:pt x="242" y="120"/>
                  </a:lnTo>
                  <a:lnTo>
                    <a:pt x="239" y="125"/>
                  </a:lnTo>
                  <a:lnTo>
                    <a:pt x="235" y="132"/>
                  </a:lnTo>
                  <a:lnTo>
                    <a:pt x="226" y="141"/>
                  </a:lnTo>
                  <a:lnTo>
                    <a:pt x="221" y="144"/>
                  </a:lnTo>
                  <a:lnTo>
                    <a:pt x="217" y="150"/>
                  </a:lnTo>
                  <a:lnTo>
                    <a:pt x="217" y="153"/>
                  </a:lnTo>
                  <a:lnTo>
                    <a:pt x="217" y="153"/>
                  </a:lnTo>
                  <a:lnTo>
                    <a:pt x="219" y="157"/>
                  </a:lnTo>
                  <a:lnTo>
                    <a:pt x="221" y="162"/>
                  </a:lnTo>
                  <a:lnTo>
                    <a:pt x="224" y="169"/>
                  </a:lnTo>
                  <a:lnTo>
                    <a:pt x="224" y="173"/>
                  </a:lnTo>
                  <a:lnTo>
                    <a:pt x="224" y="175"/>
                  </a:lnTo>
                  <a:lnTo>
                    <a:pt x="224" y="175"/>
                  </a:lnTo>
                  <a:lnTo>
                    <a:pt x="224" y="184"/>
                  </a:lnTo>
                  <a:lnTo>
                    <a:pt x="224" y="192"/>
                  </a:lnTo>
                  <a:lnTo>
                    <a:pt x="224" y="192"/>
                  </a:lnTo>
                  <a:lnTo>
                    <a:pt x="226" y="198"/>
                  </a:lnTo>
                  <a:lnTo>
                    <a:pt x="228" y="205"/>
                  </a:lnTo>
                  <a:lnTo>
                    <a:pt x="231" y="214"/>
                  </a:lnTo>
                  <a:lnTo>
                    <a:pt x="231" y="216"/>
                  </a:lnTo>
                  <a:lnTo>
                    <a:pt x="226" y="217"/>
                  </a:lnTo>
                  <a:lnTo>
                    <a:pt x="226" y="217"/>
                  </a:lnTo>
                  <a:lnTo>
                    <a:pt x="214" y="235"/>
                  </a:lnTo>
                  <a:lnTo>
                    <a:pt x="205" y="239"/>
                  </a:lnTo>
                  <a:lnTo>
                    <a:pt x="203" y="239"/>
                  </a:lnTo>
                  <a:lnTo>
                    <a:pt x="203" y="237"/>
                  </a:lnTo>
                  <a:lnTo>
                    <a:pt x="203" y="237"/>
                  </a:lnTo>
                  <a:lnTo>
                    <a:pt x="203" y="230"/>
                  </a:lnTo>
                  <a:lnTo>
                    <a:pt x="201" y="217"/>
                  </a:lnTo>
                  <a:lnTo>
                    <a:pt x="199" y="205"/>
                  </a:lnTo>
                  <a:lnTo>
                    <a:pt x="196" y="192"/>
                  </a:lnTo>
                  <a:lnTo>
                    <a:pt x="196" y="192"/>
                  </a:lnTo>
                  <a:lnTo>
                    <a:pt x="180" y="157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sp3d>
              <a:bevelB h="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2" name="Freeform 101"/>
            <p:cNvSpPr>
              <a:spLocks/>
            </p:cNvSpPr>
            <p:nvPr/>
          </p:nvSpPr>
          <p:spPr bwMode="auto">
            <a:xfrm>
              <a:off x="3203846" y="2080931"/>
              <a:ext cx="336574" cy="264695"/>
            </a:xfrm>
            <a:custGeom>
              <a:avLst/>
              <a:gdLst>
                <a:gd name="T0" fmla="*/ 560 w 590"/>
                <a:gd name="T1" fmla="*/ 387 h 464"/>
                <a:gd name="T2" fmla="*/ 558 w 590"/>
                <a:gd name="T3" fmla="*/ 359 h 464"/>
                <a:gd name="T4" fmla="*/ 532 w 590"/>
                <a:gd name="T5" fmla="*/ 343 h 464"/>
                <a:gd name="T6" fmla="*/ 517 w 590"/>
                <a:gd name="T7" fmla="*/ 323 h 464"/>
                <a:gd name="T8" fmla="*/ 496 w 590"/>
                <a:gd name="T9" fmla="*/ 313 h 464"/>
                <a:gd name="T10" fmla="*/ 480 w 590"/>
                <a:gd name="T11" fmla="*/ 302 h 464"/>
                <a:gd name="T12" fmla="*/ 436 w 590"/>
                <a:gd name="T13" fmla="*/ 307 h 464"/>
                <a:gd name="T14" fmla="*/ 393 w 590"/>
                <a:gd name="T15" fmla="*/ 272 h 464"/>
                <a:gd name="T16" fmla="*/ 347 w 590"/>
                <a:gd name="T17" fmla="*/ 254 h 464"/>
                <a:gd name="T18" fmla="*/ 325 w 590"/>
                <a:gd name="T19" fmla="*/ 236 h 464"/>
                <a:gd name="T20" fmla="*/ 299 w 590"/>
                <a:gd name="T21" fmla="*/ 219 h 464"/>
                <a:gd name="T22" fmla="*/ 281 w 590"/>
                <a:gd name="T23" fmla="*/ 187 h 464"/>
                <a:gd name="T24" fmla="*/ 281 w 590"/>
                <a:gd name="T25" fmla="*/ 151 h 464"/>
                <a:gd name="T26" fmla="*/ 256 w 590"/>
                <a:gd name="T27" fmla="*/ 135 h 464"/>
                <a:gd name="T28" fmla="*/ 217 w 590"/>
                <a:gd name="T29" fmla="*/ 133 h 464"/>
                <a:gd name="T30" fmla="*/ 206 w 590"/>
                <a:gd name="T31" fmla="*/ 103 h 464"/>
                <a:gd name="T32" fmla="*/ 176 w 590"/>
                <a:gd name="T33" fmla="*/ 91 h 464"/>
                <a:gd name="T34" fmla="*/ 151 w 590"/>
                <a:gd name="T35" fmla="*/ 83 h 464"/>
                <a:gd name="T36" fmla="*/ 133 w 590"/>
                <a:gd name="T37" fmla="*/ 57 h 464"/>
                <a:gd name="T38" fmla="*/ 156 w 590"/>
                <a:gd name="T39" fmla="*/ 34 h 464"/>
                <a:gd name="T40" fmla="*/ 156 w 590"/>
                <a:gd name="T41" fmla="*/ 12 h 464"/>
                <a:gd name="T42" fmla="*/ 110 w 590"/>
                <a:gd name="T43" fmla="*/ 19 h 464"/>
                <a:gd name="T44" fmla="*/ 96 w 590"/>
                <a:gd name="T45" fmla="*/ 11 h 464"/>
                <a:gd name="T46" fmla="*/ 69 w 590"/>
                <a:gd name="T47" fmla="*/ 34 h 464"/>
                <a:gd name="T48" fmla="*/ 62 w 590"/>
                <a:gd name="T49" fmla="*/ 51 h 464"/>
                <a:gd name="T50" fmla="*/ 27 w 590"/>
                <a:gd name="T51" fmla="*/ 80 h 464"/>
                <a:gd name="T52" fmla="*/ 16 w 590"/>
                <a:gd name="T53" fmla="*/ 108 h 464"/>
                <a:gd name="T54" fmla="*/ 11 w 590"/>
                <a:gd name="T55" fmla="*/ 117 h 464"/>
                <a:gd name="T56" fmla="*/ 0 w 590"/>
                <a:gd name="T57" fmla="*/ 135 h 464"/>
                <a:gd name="T58" fmla="*/ 9 w 590"/>
                <a:gd name="T59" fmla="*/ 155 h 464"/>
                <a:gd name="T60" fmla="*/ 34 w 590"/>
                <a:gd name="T61" fmla="*/ 195 h 464"/>
                <a:gd name="T62" fmla="*/ 36 w 590"/>
                <a:gd name="T63" fmla="*/ 224 h 464"/>
                <a:gd name="T64" fmla="*/ 28 w 590"/>
                <a:gd name="T65" fmla="*/ 259 h 464"/>
                <a:gd name="T66" fmla="*/ 44 w 590"/>
                <a:gd name="T67" fmla="*/ 323 h 464"/>
                <a:gd name="T68" fmla="*/ 52 w 590"/>
                <a:gd name="T69" fmla="*/ 368 h 464"/>
                <a:gd name="T70" fmla="*/ 85 w 590"/>
                <a:gd name="T71" fmla="*/ 354 h 464"/>
                <a:gd name="T72" fmla="*/ 149 w 590"/>
                <a:gd name="T73" fmla="*/ 343 h 464"/>
                <a:gd name="T74" fmla="*/ 208 w 590"/>
                <a:gd name="T75" fmla="*/ 352 h 464"/>
                <a:gd name="T76" fmla="*/ 217 w 590"/>
                <a:gd name="T77" fmla="*/ 395 h 464"/>
                <a:gd name="T78" fmla="*/ 256 w 590"/>
                <a:gd name="T79" fmla="*/ 419 h 464"/>
                <a:gd name="T80" fmla="*/ 265 w 590"/>
                <a:gd name="T81" fmla="*/ 443 h 464"/>
                <a:gd name="T82" fmla="*/ 281 w 590"/>
                <a:gd name="T83" fmla="*/ 460 h 464"/>
                <a:gd name="T84" fmla="*/ 304 w 590"/>
                <a:gd name="T85" fmla="*/ 448 h 464"/>
                <a:gd name="T86" fmla="*/ 331 w 590"/>
                <a:gd name="T87" fmla="*/ 437 h 464"/>
                <a:gd name="T88" fmla="*/ 357 w 590"/>
                <a:gd name="T89" fmla="*/ 395 h 464"/>
                <a:gd name="T90" fmla="*/ 366 w 590"/>
                <a:gd name="T91" fmla="*/ 387 h 464"/>
                <a:gd name="T92" fmla="*/ 409 w 590"/>
                <a:gd name="T93" fmla="*/ 402 h 464"/>
                <a:gd name="T94" fmla="*/ 418 w 590"/>
                <a:gd name="T95" fmla="*/ 414 h 464"/>
                <a:gd name="T96" fmla="*/ 453 w 590"/>
                <a:gd name="T97" fmla="*/ 419 h 464"/>
                <a:gd name="T98" fmla="*/ 469 w 590"/>
                <a:gd name="T99" fmla="*/ 430 h 464"/>
                <a:gd name="T100" fmla="*/ 487 w 590"/>
                <a:gd name="T101" fmla="*/ 434 h 464"/>
                <a:gd name="T102" fmla="*/ 517 w 590"/>
                <a:gd name="T103" fmla="*/ 423 h 464"/>
                <a:gd name="T104" fmla="*/ 580 w 590"/>
                <a:gd name="T105" fmla="*/ 418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90" h="464">
                  <a:moveTo>
                    <a:pt x="587" y="409"/>
                  </a:moveTo>
                  <a:lnTo>
                    <a:pt x="581" y="405"/>
                  </a:lnTo>
                  <a:lnTo>
                    <a:pt x="571" y="396"/>
                  </a:lnTo>
                  <a:lnTo>
                    <a:pt x="562" y="393"/>
                  </a:lnTo>
                  <a:lnTo>
                    <a:pt x="560" y="387"/>
                  </a:lnTo>
                  <a:lnTo>
                    <a:pt x="558" y="380"/>
                  </a:lnTo>
                  <a:lnTo>
                    <a:pt x="560" y="375"/>
                  </a:lnTo>
                  <a:lnTo>
                    <a:pt x="562" y="368"/>
                  </a:lnTo>
                  <a:lnTo>
                    <a:pt x="558" y="363"/>
                  </a:lnTo>
                  <a:lnTo>
                    <a:pt x="558" y="359"/>
                  </a:lnTo>
                  <a:lnTo>
                    <a:pt x="555" y="355"/>
                  </a:lnTo>
                  <a:lnTo>
                    <a:pt x="551" y="343"/>
                  </a:lnTo>
                  <a:lnTo>
                    <a:pt x="540" y="345"/>
                  </a:lnTo>
                  <a:lnTo>
                    <a:pt x="537" y="345"/>
                  </a:lnTo>
                  <a:lnTo>
                    <a:pt x="532" y="343"/>
                  </a:lnTo>
                  <a:lnTo>
                    <a:pt x="533" y="339"/>
                  </a:lnTo>
                  <a:lnTo>
                    <a:pt x="528" y="334"/>
                  </a:lnTo>
                  <a:lnTo>
                    <a:pt x="528" y="327"/>
                  </a:lnTo>
                  <a:lnTo>
                    <a:pt x="521" y="323"/>
                  </a:lnTo>
                  <a:lnTo>
                    <a:pt x="517" y="323"/>
                  </a:lnTo>
                  <a:lnTo>
                    <a:pt x="514" y="323"/>
                  </a:lnTo>
                  <a:lnTo>
                    <a:pt x="503" y="323"/>
                  </a:lnTo>
                  <a:lnTo>
                    <a:pt x="501" y="322"/>
                  </a:lnTo>
                  <a:lnTo>
                    <a:pt x="494" y="316"/>
                  </a:lnTo>
                  <a:lnTo>
                    <a:pt x="496" y="313"/>
                  </a:lnTo>
                  <a:lnTo>
                    <a:pt x="492" y="304"/>
                  </a:lnTo>
                  <a:lnTo>
                    <a:pt x="492" y="300"/>
                  </a:lnTo>
                  <a:lnTo>
                    <a:pt x="491" y="297"/>
                  </a:lnTo>
                  <a:lnTo>
                    <a:pt x="482" y="299"/>
                  </a:lnTo>
                  <a:lnTo>
                    <a:pt x="480" y="302"/>
                  </a:lnTo>
                  <a:lnTo>
                    <a:pt x="468" y="306"/>
                  </a:lnTo>
                  <a:lnTo>
                    <a:pt x="460" y="309"/>
                  </a:lnTo>
                  <a:lnTo>
                    <a:pt x="457" y="318"/>
                  </a:lnTo>
                  <a:lnTo>
                    <a:pt x="441" y="315"/>
                  </a:lnTo>
                  <a:lnTo>
                    <a:pt x="436" y="307"/>
                  </a:lnTo>
                  <a:lnTo>
                    <a:pt x="418" y="307"/>
                  </a:lnTo>
                  <a:lnTo>
                    <a:pt x="414" y="307"/>
                  </a:lnTo>
                  <a:lnTo>
                    <a:pt x="400" y="286"/>
                  </a:lnTo>
                  <a:lnTo>
                    <a:pt x="400" y="277"/>
                  </a:lnTo>
                  <a:lnTo>
                    <a:pt x="393" y="272"/>
                  </a:lnTo>
                  <a:lnTo>
                    <a:pt x="382" y="274"/>
                  </a:lnTo>
                  <a:lnTo>
                    <a:pt x="382" y="267"/>
                  </a:lnTo>
                  <a:lnTo>
                    <a:pt x="372" y="259"/>
                  </a:lnTo>
                  <a:lnTo>
                    <a:pt x="357" y="258"/>
                  </a:lnTo>
                  <a:lnTo>
                    <a:pt x="347" y="254"/>
                  </a:lnTo>
                  <a:lnTo>
                    <a:pt x="345" y="247"/>
                  </a:lnTo>
                  <a:lnTo>
                    <a:pt x="340" y="243"/>
                  </a:lnTo>
                  <a:lnTo>
                    <a:pt x="336" y="240"/>
                  </a:lnTo>
                  <a:lnTo>
                    <a:pt x="329" y="238"/>
                  </a:lnTo>
                  <a:lnTo>
                    <a:pt x="325" y="236"/>
                  </a:lnTo>
                  <a:lnTo>
                    <a:pt x="322" y="235"/>
                  </a:lnTo>
                  <a:lnTo>
                    <a:pt x="320" y="220"/>
                  </a:lnTo>
                  <a:lnTo>
                    <a:pt x="316" y="220"/>
                  </a:lnTo>
                  <a:lnTo>
                    <a:pt x="311" y="224"/>
                  </a:lnTo>
                  <a:lnTo>
                    <a:pt x="299" y="219"/>
                  </a:lnTo>
                  <a:lnTo>
                    <a:pt x="290" y="219"/>
                  </a:lnTo>
                  <a:lnTo>
                    <a:pt x="286" y="220"/>
                  </a:lnTo>
                  <a:lnTo>
                    <a:pt x="292" y="197"/>
                  </a:lnTo>
                  <a:lnTo>
                    <a:pt x="292" y="192"/>
                  </a:lnTo>
                  <a:lnTo>
                    <a:pt x="281" y="187"/>
                  </a:lnTo>
                  <a:lnTo>
                    <a:pt x="281" y="176"/>
                  </a:lnTo>
                  <a:lnTo>
                    <a:pt x="281" y="169"/>
                  </a:lnTo>
                  <a:lnTo>
                    <a:pt x="290" y="163"/>
                  </a:lnTo>
                  <a:lnTo>
                    <a:pt x="286" y="158"/>
                  </a:lnTo>
                  <a:lnTo>
                    <a:pt x="281" y="151"/>
                  </a:lnTo>
                  <a:lnTo>
                    <a:pt x="276" y="149"/>
                  </a:lnTo>
                  <a:lnTo>
                    <a:pt x="272" y="144"/>
                  </a:lnTo>
                  <a:lnTo>
                    <a:pt x="267" y="139"/>
                  </a:lnTo>
                  <a:lnTo>
                    <a:pt x="265" y="137"/>
                  </a:lnTo>
                  <a:lnTo>
                    <a:pt x="256" y="135"/>
                  </a:lnTo>
                  <a:lnTo>
                    <a:pt x="256" y="139"/>
                  </a:lnTo>
                  <a:lnTo>
                    <a:pt x="252" y="142"/>
                  </a:lnTo>
                  <a:lnTo>
                    <a:pt x="245" y="135"/>
                  </a:lnTo>
                  <a:lnTo>
                    <a:pt x="226" y="139"/>
                  </a:lnTo>
                  <a:lnTo>
                    <a:pt x="217" y="133"/>
                  </a:lnTo>
                  <a:lnTo>
                    <a:pt x="210" y="123"/>
                  </a:lnTo>
                  <a:lnTo>
                    <a:pt x="213" y="115"/>
                  </a:lnTo>
                  <a:lnTo>
                    <a:pt x="219" y="112"/>
                  </a:lnTo>
                  <a:lnTo>
                    <a:pt x="215" y="105"/>
                  </a:lnTo>
                  <a:lnTo>
                    <a:pt x="206" y="103"/>
                  </a:lnTo>
                  <a:lnTo>
                    <a:pt x="204" y="98"/>
                  </a:lnTo>
                  <a:lnTo>
                    <a:pt x="197" y="96"/>
                  </a:lnTo>
                  <a:lnTo>
                    <a:pt x="190" y="92"/>
                  </a:lnTo>
                  <a:lnTo>
                    <a:pt x="185" y="92"/>
                  </a:lnTo>
                  <a:lnTo>
                    <a:pt x="176" y="91"/>
                  </a:lnTo>
                  <a:lnTo>
                    <a:pt x="172" y="91"/>
                  </a:lnTo>
                  <a:lnTo>
                    <a:pt x="171" y="89"/>
                  </a:lnTo>
                  <a:lnTo>
                    <a:pt x="165" y="89"/>
                  </a:lnTo>
                  <a:lnTo>
                    <a:pt x="156" y="83"/>
                  </a:lnTo>
                  <a:lnTo>
                    <a:pt x="151" y="83"/>
                  </a:lnTo>
                  <a:lnTo>
                    <a:pt x="146" y="76"/>
                  </a:lnTo>
                  <a:lnTo>
                    <a:pt x="149" y="75"/>
                  </a:lnTo>
                  <a:lnTo>
                    <a:pt x="148" y="67"/>
                  </a:lnTo>
                  <a:lnTo>
                    <a:pt x="137" y="64"/>
                  </a:lnTo>
                  <a:lnTo>
                    <a:pt x="133" y="57"/>
                  </a:lnTo>
                  <a:lnTo>
                    <a:pt x="137" y="53"/>
                  </a:lnTo>
                  <a:lnTo>
                    <a:pt x="142" y="53"/>
                  </a:lnTo>
                  <a:lnTo>
                    <a:pt x="146" y="48"/>
                  </a:lnTo>
                  <a:lnTo>
                    <a:pt x="146" y="43"/>
                  </a:lnTo>
                  <a:lnTo>
                    <a:pt x="156" y="34"/>
                  </a:lnTo>
                  <a:lnTo>
                    <a:pt x="162" y="28"/>
                  </a:lnTo>
                  <a:lnTo>
                    <a:pt x="156" y="23"/>
                  </a:lnTo>
                  <a:lnTo>
                    <a:pt x="155" y="19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8" y="11"/>
                  </a:lnTo>
                  <a:lnTo>
                    <a:pt x="156" y="0"/>
                  </a:lnTo>
                  <a:lnTo>
                    <a:pt x="149" y="2"/>
                  </a:lnTo>
                  <a:lnTo>
                    <a:pt x="121" y="16"/>
                  </a:lnTo>
                  <a:lnTo>
                    <a:pt x="110" y="19"/>
                  </a:lnTo>
                  <a:lnTo>
                    <a:pt x="108" y="18"/>
                  </a:lnTo>
                  <a:lnTo>
                    <a:pt x="108" y="14"/>
                  </a:lnTo>
                  <a:lnTo>
                    <a:pt x="107" y="11"/>
                  </a:lnTo>
                  <a:lnTo>
                    <a:pt x="105" y="9"/>
                  </a:lnTo>
                  <a:lnTo>
                    <a:pt x="96" y="11"/>
                  </a:lnTo>
                  <a:lnTo>
                    <a:pt x="91" y="12"/>
                  </a:lnTo>
                  <a:lnTo>
                    <a:pt x="87" y="12"/>
                  </a:lnTo>
                  <a:lnTo>
                    <a:pt x="82" y="19"/>
                  </a:lnTo>
                  <a:lnTo>
                    <a:pt x="73" y="27"/>
                  </a:lnTo>
                  <a:lnTo>
                    <a:pt x="69" y="34"/>
                  </a:lnTo>
                  <a:lnTo>
                    <a:pt x="69" y="43"/>
                  </a:lnTo>
                  <a:lnTo>
                    <a:pt x="69" y="46"/>
                  </a:lnTo>
                  <a:lnTo>
                    <a:pt x="68" y="48"/>
                  </a:lnTo>
                  <a:lnTo>
                    <a:pt x="64" y="50"/>
                  </a:lnTo>
                  <a:lnTo>
                    <a:pt x="62" y="51"/>
                  </a:lnTo>
                  <a:lnTo>
                    <a:pt x="59" y="53"/>
                  </a:lnTo>
                  <a:lnTo>
                    <a:pt x="53" y="57"/>
                  </a:lnTo>
                  <a:lnTo>
                    <a:pt x="43" y="64"/>
                  </a:lnTo>
                  <a:lnTo>
                    <a:pt x="32" y="76"/>
                  </a:lnTo>
                  <a:lnTo>
                    <a:pt x="27" y="80"/>
                  </a:lnTo>
                  <a:lnTo>
                    <a:pt x="25" y="83"/>
                  </a:lnTo>
                  <a:lnTo>
                    <a:pt x="25" y="91"/>
                  </a:lnTo>
                  <a:lnTo>
                    <a:pt x="25" y="92"/>
                  </a:lnTo>
                  <a:lnTo>
                    <a:pt x="25" y="96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6" y="114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1" y="117"/>
                  </a:lnTo>
                  <a:lnTo>
                    <a:pt x="7" y="123"/>
                  </a:lnTo>
                  <a:lnTo>
                    <a:pt x="4" y="130"/>
                  </a:lnTo>
                  <a:lnTo>
                    <a:pt x="2" y="133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0" y="137"/>
                  </a:lnTo>
                  <a:lnTo>
                    <a:pt x="5" y="140"/>
                  </a:lnTo>
                  <a:lnTo>
                    <a:pt x="4" y="149"/>
                  </a:lnTo>
                  <a:lnTo>
                    <a:pt x="4" y="151"/>
                  </a:lnTo>
                  <a:lnTo>
                    <a:pt x="9" y="155"/>
                  </a:lnTo>
                  <a:lnTo>
                    <a:pt x="16" y="160"/>
                  </a:lnTo>
                  <a:lnTo>
                    <a:pt x="20" y="162"/>
                  </a:lnTo>
                  <a:lnTo>
                    <a:pt x="21" y="169"/>
                  </a:lnTo>
                  <a:lnTo>
                    <a:pt x="27" y="176"/>
                  </a:lnTo>
                  <a:lnTo>
                    <a:pt x="34" y="195"/>
                  </a:lnTo>
                  <a:lnTo>
                    <a:pt x="39" y="204"/>
                  </a:lnTo>
                  <a:lnTo>
                    <a:pt x="41" y="210"/>
                  </a:lnTo>
                  <a:lnTo>
                    <a:pt x="41" y="211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34" y="227"/>
                  </a:lnTo>
                  <a:lnTo>
                    <a:pt x="32" y="233"/>
                  </a:lnTo>
                  <a:lnTo>
                    <a:pt x="30" y="240"/>
                  </a:lnTo>
                  <a:lnTo>
                    <a:pt x="28" y="256"/>
                  </a:lnTo>
                  <a:lnTo>
                    <a:pt x="28" y="259"/>
                  </a:lnTo>
                  <a:lnTo>
                    <a:pt x="27" y="259"/>
                  </a:lnTo>
                  <a:lnTo>
                    <a:pt x="32" y="272"/>
                  </a:lnTo>
                  <a:lnTo>
                    <a:pt x="21" y="300"/>
                  </a:lnTo>
                  <a:lnTo>
                    <a:pt x="21" y="306"/>
                  </a:lnTo>
                  <a:lnTo>
                    <a:pt x="44" y="323"/>
                  </a:lnTo>
                  <a:lnTo>
                    <a:pt x="44" y="332"/>
                  </a:lnTo>
                  <a:lnTo>
                    <a:pt x="44" y="338"/>
                  </a:lnTo>
                  <a:lnTo>
                    <a:pt x="39" y="352"/>
                  </a:lnTo>
                  <a:lnTo>
                    <a:pt x="41" y="366"/>
                  </a:lnTo>
                  <a:lnTo>
                    <a:pt x="52" y="368"/>
                  </a:lnTo>
                  <a:lnTo>
                    <a:pt x="59" y="368"/>
                  </a:lnTo>
                  <a:lnTo>
                    <a:pt x="64" y="368"/>
                  </a:lnTo>
                  <a:lnTo>
                    <a:pt x="75" y="363"/>
                  </a:lnTo>
                  <a:lnTo>
                    <a:pt x="85" y="359"/>
                  </a:lnTo>
                  <a:lnTo>
                    <a:pt x="85" y="354"/>
                  </a:lnTo>
                  <a:lnTo>
                    <a:pt x="116" y="354"/>
                  </a:lnTo>
                  <a:lnTo>
                    <a:pt x="124" y="352"/>
                  </a:lnTo>
                  <a:lnTo>
                    <a:pt x="133" y="348"/>
                  </a:lnTo>
                  <a:lnTo>
                    <a:pt x="144" y="347"/>
                  </a:lnTo>
                  <a:lnTo>
                    <a:pt x="149" y="343"/>
                  </a:lnTo>
                  <a:lnTo>
                    <a:pt x="153" y="339"/>
                  </a:lnTo>
                  <a:lnTo>
                    <a:pt x="158" y="336"/>
                  </a:lnTo>
                  <a:lnTo>
                    <a:pt x="169" y="332"/>
                  </a:lnTo>
                  <a:lnTo>
                    <a:pt x="185" y="352"/>
                  </a:lnTo>
                  <a:lnTo>
                    <a:pt x="208" y="352"/>
                  </a:lnTo>
                  <a:lnTo>
                    <a:pt x="208" y="377"/>
                  </a:lnTo>
                  <a:lnTo>
                    <a:pt x="208" y="380"/>
                  </a:lnTo>
                  <a:lnTo>
                    <a:pt x="210" y="382"/>
                  </a:lnTo>
                  <a:lnTo>
                    <a:pt x="213" y="389"/>
                  </a:lnTo>
                  <a:lnTo>
                    <a:pt x="217" y="395"/>
                  </a:lnTo>
                  <a:lnTo>
                    <a:pt x="222" y="398"/>
                  </a:lnTo>
                  <a:lnTo>
                    <a:pt x="233" y="407"/>
                  </a:lnTo>
                  <a:lnTo>
                    <a:pt x="240" y="418"/>
                  </a:lnTo>
                  <a:lnTo>
                    <a:pt x="256" y="418"/>
                  </a:lnTo>
                  <a:lnTo>
                    <a:pt x="256" y="419"/>
                  </a:lnTo>
                  <a:lnTo>
                    <a:pt x="256" y="427"/>
                  </a:lnTo>
                  <a:lnTo>
                    <a:pt x="256" y="434"/>
                  </a:lnTo>
                  <a:lnTo>
                    <a:pt x="258" y="437"/>
                  </a:lnTo>
                  <a:lnTo>
                    <a:pt x="260" y="441"/>
                  </a:lnTo>
                  <a:lnTo>
                    <a:pt x="265" y="443"/>
                  </a:lnTo>
                  <a:lnTo>
                    <a:pt x="268" y="446"/>
                  </a:lnTo>
                  <a:lnTo>
                    <a:pt x="268" y="448"/>
                  </a:lnTo>
                  <a:lnTo>
                    <a:pt x="268" y="451"/>
                  </a:lnTo>
                  <a:lnTo>
                    <a:pt x="272" y="455"/>
                  </a:lnTo>
                  <a:lnTo>
                    <a:pt x="281" y="460"/>
                  </a:lnTo>
                  <a:lnTo>
                    <a:pt x="288" y="464"/>
                  </a:lnTo>
                  <a:lnTo>
                    <a:pt x="292" y="460"/>
                  </a:lnTo>
                  <a:lnTo>
                    <a:pt x="293" y="457"/>
                  </a:lnTo>
                  <a:lnTo>
                    <a:pt x="295" y="451"/>
                  </a:lnTo>
                  <a:lnTo>
                    <a:pt x="304" y="448"/>
                  </a:lnTo>
                  <a:lnTo>
                    <a:pt x="308" y="446"/>
                  </a:lnTo>
                  <a:lnTo>
                    <a:pt x="313" y="443"/>
                  </a:lnTo>
                  <a:lnTo>
                    <a:pt x="325" y="441"/>
                  </a:lnTo>
                  <a:lnTo>
                    <a:pt x="329" y="439"/>
                  </a:lnTo>
                  <a:lnTo>
                    <a:pt x="331" y="437"/>
                  </a:lnTo>
                  <a:lnTo>
                    <a:pt x="334" y="428"/>
                  </a:lnTo>
                  <a:lnTo>
                    <a:pt x="338" y="419"/>
                  </a:lnTo>
                  <a:lnTo>
                    <a:pt x="347" y="411"/>
                  </a:lnTo>
                  <a:lnTo>
                    <a:pt x="356" y="398"/>
                  </a:lnTo>
                  <a:lnTo>
                    <a:pt x="357" y="395"/>
                  </a:lnTo>
                  <a:lnTo>
                    <a:pt x="359" y="389"/>
                  </a:lnTo>
                  <a:lnTo>
                    <a:pt x="359" y="387"/>
                  </a:lnTo>
                  <a:lnTo>
                    <a:pt x="361" y="386"/>
                  </a:lnTo>
                  <a:lnTo>
                    <a:pt x="364" y="386"/>
                  </a:lnTo>
                  <a:lnTo>
                    <a:pt x="366" y="387"/>
                  </a:lnTo>
                  <a:lnTo>
                    <a:pt x="373" y="393"/>
                  </a:lnTo>
                  <a:lnTo>
                    <a:pt x="380" y="395"/>
                  </a:lnTo>
                  <a:lnTo>
                    <a:pt x="386" y="396"/>
                  </a:lnTo>
                  <a:lnTo>
                    <a:pt x="402" y="400"/>
                  </a:lnTo>
                  <a:lnTo>
                    <a:pt x="409" y="402"/>
                  </a:lnTo>
                  <a:lnTo>
                    <a:pt x="411" y="403"/>
                  </a:lnTo>
                  <a:lnTo>
                    <a:pt x="412" y="403"/>
                  </a:lnTo>
                  <a:lnTo>
                    <a:pt x="412" y="407"/>
                  </a:lnTo>
                  <a:lnTo>
                    <a:pt x="414" y="411"/>
                  </a:lnTo>
                  <a:lnTo>
                    <a:pt x="418" y="414"/>
                  </a:lnTo>
                  <a:lnTo>
                    <a:pt x="423" y="416"/>
                  </a:lnTo>
                  <a:lnTo>
                    <a:pt x="437" y="416"/>
                  </a:lnTo>
                  <a:lnTo>
                    <a:pt x="450" y="418"/>
                  </a:lnTo>
                  <a:lnTo>
                    <a:pt x="453" y="418"/>
                  </a:lnTo>
                  <a:lnTo>
                    <a:pt x="453" y="419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7" y="425"/>
                  </a:lnTo>
                  <a:lnTo>
                    <a:pt x="464" y="428"/>
                  </a:lnTo>
                  <a:lnTo>
                    <a:pt x="469" y="430"/>
                  </a:lnTo>
                  <a:lnTo>
                    <a:pt x="473" y="434"/>
                  </a:lnTo>
                  <a:lnTo>
                    <a:pt x="476" y="437"/>
                  </a:lnTo>
                  <a:lnTo>
                    <a:pt x="478" y="437"/>
                  </a:lnTo>
                  <a:lnTo>
                    <a:pt x="482" y="437"/>
                  </a:lnTo>
                  <a:lnTo>
                    <a:pt x="487" y="434"/>
                  </a:lnTo>
                  <a:lnTo>
                    <a:pt x="492" y="430"/>
                  </a:lnTo>
                  <a:lnTo>
                    <a:pt x="500" y="425"/>
                  </a:lnTo>
                  <a:lnTo>
                    <a:pt x="510" y="421"/>
                  </a:lnTo>
                  <a:lnTo>
                    <a:pt x="516" y="421"/>
                  </a:lnTo>
                  <a:lnTo>
                    <a:pt x="517" y="423"/>
                  </a:lnTo>
                  <a:lnTo>
                    <a:pt x="523" y="427"/>
                  </a:lnTo>
                  <a:lnTo>
                    <a:pt x="528" y="430"/>
                  </a:lnTo>
                  <a:lnTo>
                    <a:pt x="533" y="435"/>
                  </a:lnTo>
                  <a:lnTo>
                    <a:pt x="580" y="423"/>
                  </a:lnTo>
                  <a:lnTo>
                    <a:pt x="580" y="418"/>
                  </a:lnTo>
                  <a:lnTo>
                    <a:pt x="585" y="416"/>
                  </a:lnTo>
                  <a:lnTo>
                    <a:pt x="590" y="414"/>
                  </a:lnTo>
                  <a:lnTo>
                    <a:pt x="590" y="411"/>
                  </a:lnTo>
                  <a:lnTo>
                    <a:pt x="587" y="409"/>
                  </a:lnTo>
                  <a:close/>
                </a:path>
              </a:pathLst>
            </a:custGeom>
            <a:grpFill/>
            <a:ln w="127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sp3d>
              <a:bevelB h="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07" name="Прямая соединительная линия 306"/>
          <p:cNvCxnSpPr/>
          <p:nvPr/>
        </p:nvCxnSpPr>
        <p:spPr>
          <a:xfrm>
            <a:off x="896370" y="2011963"/>
            <a:ext cx="1367974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TextBox 307"/>
          <p:cNvSpPr txBox="1"/>
          <p:nvPr/>
        </p:nvSpPr>
        <p:spPr>
          <a:xfrm>
            <a:off x="1460045" y="2011964"/>
            <a:ext cx="335028" cy="184666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600" dirty="0" smtClean="0">
                <a:latin typeface="+mj-lt"/>
              </a:rPr>
              <a:t>РОССИЯ</a:t>
            </a:r>
          </a:p>
        </p:txBody>
      </p:sp>
      <p:cxnSp>
        <p:nvCxnSpPr>
          <p:cNvPr id="310" name="Прямая соединительная линия 309"/>
          <p:cNvCxnSpPr/>
          <p:nvPr/>
        </p:nvCxnSpPr>
        <p:spPr>
          <a:xfrm>
            <a:off x="3491880" y="2011963"/>
            <a:ext cx="1367974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1" name="TextBox 310"/>
          <p:cNvSpPr txBox="1"/>
          <p:nvPr/>
        </p:nvSpPr>
        <p:spPr>
          <a:xfrm>
            <a:off x="3879246" y="2011964"/>
            <a:ext cx="533800" cy="184666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600" dirty="0" smtClean="0">
                <a:latin typeface="+mj-lt"/>
              </a:rPr>
              <a:t>ХМАО и ЯНАО</a:t>
            </a:r>
          </a:p>
        </p:txBody>
      </p:sp>
      <p:sp>
        <p:nvSpPr>
          <p:cNvPr id="314" name="TextBox 313"/>
          <p:cNvSpPr txBox="1"/>
          <p:nvPr/>
        </p:nvSpPr>
        <p:spPr>
          <a:xfrm>
            <a:off x="5243235" y="822529"/>
            <a:ext cx="889667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1000" dirty="0" smtClean="0"/>
              <a:t>ПЛОЩАДЬ </a:t>
            </a:r>
            <a:endParaRPr lang="en-US" sz="1000" dirty="0" smtClean="0"/>
          </a:p>
          <a:p>
            <a:r>
              <a:rPr lang="ru-RU" sz="1000" dirty="0" smtClean="0"/>
              <a:t>ХМАО и ЯНАО</a:t>
            </a:r>
          </a:p>
        </p:txBody>
      </p:sp>
      <p:sp>
        <p:nvSpPr>
          <p:cNvPr id="315" name="Прямоугольник 314"/>
          <p:cNvSpPr/>
          <p:nvPr/>
        </p:nvSpPr>
        <p:spPr>
          <a:xfrm>
            <a:off x="6840252" y="807554"/>
            <a:ext cx="16946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 smtClean="0">
                <a:latin typeface="Impact" panose="020B0806030902050204" pitchFamily="34" charset="0"/>
              </a:rPr>
              <a:t>&gt;</a:t>
            </a:r>
            <a:r>
              <a:rPr lang="ru-RU" sz="1400" dirty="0" smtClean="0">
                <a:latin typeface="Impact" panose="020B0806030902050204" pitchFamily="34" charset="0"/>
              </a:rPr>
              <a:t> </a:t>
            </a:r>
            <a:r>
              <a:rPr lang="en-US" dirty="0" smtClean="0">
                <a:latin typeface="Impact" panose="020B0806030902050204" pitchFamily="34" charset="0"/>
              </a:rPr>
              <a:t>1,3</a:t>
            </a:r>
            <a:endParaRPr lang="ru-RU" sz="900" dirty="0"/>
          </a:p>
        </p:txBody>
      </p:sp>
      <p:sp>
        <p:nvSpPr>
          <p:cNvPr id="316" name="TextBox 315"/>
          <p:cNvSpPr txBox="1"/>
          <p:nvPr/>
        </p:nvSpPr>
        <p:spPr>
          <a:xfrm>
            <a:off x="5253118" y="1254576"/>
            <a:ext cx="1510029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1000" dirty="0" smtClean="0"/>
              <a:t>ПЛОЩАДЬ</a:t>
            </a:r>
            <a:br>
              <a:rPr lang="ru-RU" sz="1000" dirty="0" smtClean="0"/>
            </a:br>
            <a:r>
              <a:rPr lang="ru-RU" sz="1000" dirty="0" smtClean="0"/>
              <a:t>БАЖЕНОВСКОЙ СВИТЫ</a:t>
            </a:r>
          </a:p>
        </p:txBody>
      </p:sp>
      <p:sp>
        <p:nvSpPr>
          <p:cNvPr id="317" name="Прямоугольник 316"/>
          <p:cNvSpPr/>
          <p:nvPr/>
        </p:nvSpPr>
        <p:spPr>
          <a:xfrm>
            <a:off x="6881193" y="1239602"/>
            <a:ext cx="16946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 smtClean="0">
                <a:latin typeface="Impact" panose="020B0806030902050204" pitchFamily="34" charset="0"/>
              </a:rPr>
              <a:t>&gt;</a:t>
            </a:r>
            <a:r>
              <a:rPr lang="ru-RU" sz="1400" dirty="0" smtClean="0">
                <a:latin typeface="Impact" panose="020B0806030902050204" pitchFamily="34" charset="0"/>
              </a:rPr>
              <a:t> </a:t>
            </a:r>
            <a:r>
              <a:rPr lang="en-US" dirty="0" smtClean="0">
                <a:latin typeface="Impact" panose="020B0806030902050204" pitchFamily="34" charset="0"/>
              </a:rPr>
              <a:t>1</a:t>
            </a:r>
            <a:endParaRPr lang="ru-RU" sz="900" dirty="0"/>
          </a:p>
        </p:txBody>
      </p:sp>
      <p:sp>
        <p:nvSpPr>
          <p:cNvPr id="318" name="TextBox 317"/>
          <p:cNvSpPr txBox="1"/>
          <p:nvPr/>
        </p:nvSpPr>
        <p:spPr>
          <a:xfrm>
            <a:off x="5253113" y="1779157"/>
            <a:ext cx="1160574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1000" dirty="0" smtClean="0"/>
              <a:t>РЕСУРСНАЯ БАЗА</a:t>
            </a:r>
          </a:p>
        </p:txBody>
      </p:sp>
      <p:sp>
        <p:nvSpPr>
          <p:cNvPr id="319" name="Прямоугольник 318"/>
          <p:cNvSpPr/>
          <p:nvPr/>
        </p:nvSpPr>
        <p:spPr>
          <a:xfrm>
            <a:off x="6984274" y="1698362"/>
            <a:ext cx="16946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dirty="0" smtClean="0">
                <a:latin typeface="Impact" panose="020B0806030902050204" pitchFamily="34" charset="0"/>
              </a:rPr>
              <a:t>10</a:t>
            </a:r>
            <a:endParaRPr lang="ru-RU" sz="900" dirty="0"/>
          </a:p>
        </p:txBody>
      </p:sp>
      <p:sp>
        <p:nvSpPr>
          <p:cNvPr id="320" name="TextBox 319"/>
          <p:cNvSpPr txBox="1"/>
          <p:nvPr/>
        </p:nvSpPr>
        <p:spPr>
          <a:xfrm>
            <a:off x="994694" y="2223617"/>
            <a:ext cx="1647887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1000" dirty="0" smtClean="0"/>
              <a:t>ДОСТУПНЫЕ КОМПАНИИ </a:t>
            </a:r>
          </a:p>
          <a:p>
            <a:r>
              <a:rPr lang="ru-RU" sz="1000" dirty="0" smtClean="0"/>
              <a:t>ИЗВЛЕКАЕМЫЕ РЕСУРСЫ</a:t>
            </a:r>
          </a:p>
        </p:txBody>
      </p:sp>
      <p:sp>
        <p:nvSpPr>
          <p:cNvPr id="321" name="Прямоугольник 320"/>
          <p:cNvSpPr/>
          <p:nvPr/>
        </p:nvSpPr>
        <p:spPr>
          <a:xfrm>
            <a:off x="2781727" y="2228459"/>
            <a:ext cx="1694695" cy="369332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dirty="0" smtClean="0"/>
              <a:t>&gt; </a:t>
            </a:r>
            <a:r>
              <a:rPr lang="ru-RU" dirty="0" smtClean="0">
                <a:latin typeface="Impact" panose="020B0806030902050204" pitchFamily="34" charset="0"/>
              </a:rPr>
              <a:t>400</a:t>
            </a:r>
            <a:endParaRPr lang="ru-RU" sz="700" dirty="0">
              <a:latin typeface="Impact" panose="020B0806030902050204" pitchFamily="34" charset="0"/>
            </a:endParaRPr>
          </a:p>
        </p:txBody>
      </p:sp>
      <p:sp>
        <p:nvSpPr>
          <p:cNvPr id="323" name="TextBox 322"/>
          <p:cNvSpPr txBox="1"/>
          <p:nvPr/>
        </p:nvSpPr>
        <p:spPr>
          <a:xfrm>
            <a:off x="5084485" y="2228382"/>
            <a:ext cx="1647887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1000" dirty="0" smtClean="0"/>
              <a:t>ИЗВЛЕКАЕМЫЕ РЕСУРСЫ</a:t>
            </a:r>
            <a:endParaRPr lang="ru-RU" sz="1000" dirty="0"/>
          </a:p>
          <a:p>
            <a:r>
              <a:rPr lang="ru-RU" sz="1000" dirty="0" smtClean="0"/>
              <a:t>ТЕКУЩЕГО ПОРТФЕЛЯ</a:t>
            </a:r>
          </a:p>
        </p:txBody>
      </p:sp>
      <p:sp>
        <p:nvSpPr>
          <p:cNvPr id="324" name="Прямоугольник 323"/>
          <p:cNvSpPr/>
          <p:nvPr/>
        </p:nvSpPr>
        <p:spPr>
          <a:xfrm>
            <a:off x="6924086" y="2206305"/>
            <a:ext cx="1694695" cy="369332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r>
              <a:rPr lang="en-US" sz="1400" dirty="0" smtClean="0">
                <a:latin typeface="Impact" panose="020B0806030902050204" pitchFamily="34" charset="0"/>
              </a:rPr>
              <a:t>&gt;</a:t>
            </a:r>
            <a:r>
              <a:rPr lang="ru-RU" sz="1400" dirty="0" smtClean="0">
                <a:latin typeface="Impact" panose="020B0806030902050204" pitchFamily="34" charset="0"/>
              </a:rPr>
              <a:t> </a:t>
            </a:r>
            <a:r>
              <a:rPr lang="ru-RU" dirty="0" smtClean="0">
                <a:latin typeface="Impact" panose="020B0806030902050204" pitchFamily="34" charset="0"/>
              </a:rPr>
              <a:t>96</a:t>
            </a:r>
            <a:endParaRPr lang="ru-RU" sz="700" dirty="0"/>
          </a:p>
        </p:txBody>
      </p:sp>
      <p:pic>
        <p:nvPicPr>
          <p:cNvPr id="334" name="Рисунок 3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587" y="2197748"/>
            <a:ext cx="420443" cy="351825"/>
          </a:xfrm>
          <a:prstGeom prst="rect">
            <a:avLst/>
          </a:prstGeom>
        </p:spPr>
      </p:pic>
      <p:pic>
        <p:nvPicPr>
          <p:cNvPr id="335" name="Рисунок 334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667" b="95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40" y="2028041"/>
            <a:ext cx="685076" cy="624721"/>
          </a:xfrm>
          <a:prstGeom prst="rect">
            <a:avLst/>
          </a:prstGeom>
        </p:spPr>
      </p:pic>
      <p:sp>
        <p:nvSpPr>
          <p:cNvPr id="346" name="TextBox 345"/>
          <p:cNvSpPr txBox="1"/>
          <p:nvPr/>
        </p:nvSpPr>
        <p:spPr>
          <a:xfrm>
            <a:off x="6744396" y="4500312"/>
            <a:ext cx="1300036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900" dirty="0" smtClean="0"/>
              <a:t>СТАТУС ЗАВЕРШЕНИЯ</a:t>
            </a:r>
          </a:p>
          <a:p>
            <a:r>
              <a:rPr lang="ru-RU" sz="900" dirty="0" smtClean="0"/>
              <a:t>ЭТАПА ПОИСК </a:t>
            </a:r>
            <a:endParaRPr lang="ru-RU" sz="900" dirty="0"/>
          </a:p>
        </p:txBody>
      </p:sp>
      <p:sp>
        <p:nvSpPr>
          <p:cNvPr id="347" name="Прямоугольник 346"/>
          <p:cNvSpPr/>
          <p:nvPr/>
        </p:nvSpPr>
        <p:spPr>
          <a:xfrm>
            <a:off x="8135157" y="4384918"/>
            <a:ext cx="1250028" cy="369332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 smtClean="0">
                <a:latin typeface="Impact" panose="020B0806030902050204" pitchFamily="34" charset="0"/>
              </a:rPr>
              <a:t>70</a:t>
            </a:r>
            <a:r>
              <a:rPr lang="ru-RU" sz="1100" dirty="0" smtClean="0"/>
              <a:t> </a:t>
            </a:r>
            <a:r>
              <a:rPr lang="ru-RU" sz="700" dirty="0" smtClean="0"/>
              <a:t>%</a:t>
            </a:r>
            <a:endParaRPr lang="ru-RU" sz="700" dirty="0"/>
          </a:p>
        </p:txBody>
      </p:sp>
      <p:graphicFrame>
        <p:nvGraphicFramePr>
          <p:cNvPr id="348" name="Диаграмма 347"/>
          <p:cNvGraphicFramePr/>
          <p:nvPr>
            <p:extLst/>
          </p:nvPr>
        </p:nvGraphicFramePr>
        <p:xfrm>
          <a:off x="6298856" y="3014187"/>
          <a:ext cx="1837540" cy="1094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0" name="TextBox 349"/>
          <p:cNvSpPr txBox="1"/>
          <p:nvPr/>
        </p:nvSpPr>
        <p:spPr>
          <a:xfrm>
            <a:off x="6662533" y="2699859"/>
            <a:ext cx="181274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900" dirty="0" smtClean="0"/>
              <a:t>ИСТОРИЧЕСКИЕ</a:t>
            </a:r>
            <a:r>
              <a:rPr lang="en-US" sz="900" dirty="0" smtClean="0"/>
              <a:t> </a:t>
            </a:r>
            <a:r>
              <a:rPr lang="ru-RU" sz="900" dirty="0" smtClean="0"/>
              <a:t>ИНВЕСТИЦИИ </a:t>
            </a:r>
          </a:p>
        </p:txBody>
      </p:sp>
      <p:sp>
        <p:nvSpPr>
          <p:cNvPr id="351" name="Прямоугольник 350"/>
          <p:cNvSpPr/>
          <p:nvPr/>
        </p:nvSpPr>
        <p:spPr>
          <a:xfrm>
            <a:off x="7197374" y="3282804"/>
            <a:ext cx="394087" cy="4616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ru-RU" dirty="0" smtClean="0">
                <a:latin typeface="Impact" panose="020B0806030902050204" pitchFamily="34" charset="0"/>
              </a:rPr>
              <a:t>5,3</a:t>
            </a:r>
            <a:r>
              <a:rPr lang="ru-RU" dirty="0" smtClean="0"/>
              <a:t> </a:t>
            </a:r>
            <a:r>
              <a:rPr lang="ru-RU" sz="1100" dirty="0" smtClean="0"/>
              <a:t> </a:t>
            </a:r>
            <a:endParaRPr lang="en-US" sz="1100" dirty="0" smtClean="0"/>
          </a:p>
          <a:p>
            <a:pPr algn="ctr"/>
            <a:r>
              <a:rPr lang="ru-RU" sz="600" dirty="0" smtClean="0"/>
              <a:t>МЛРД.РУБ</a:t>
            </a:r>
            <a:endParaRPr lang="ru-RU" sz="600" dirty="0"/>
          </a:p>
        </p:txBody>
      </p:sp>
      <p:sp>
        <p:nvSpPr>
          <p:cNvPr id="352" name="TextBox 351"/>
          <p:cNvSpPr txBox="1"/>
          <p:nvPr/>
        </p:nvSpPr>
        <p:spPr>
          <a:xfrm>
            <a:off x="3464689" y="3725016"/>
            <a:ext cx="1284280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900" dirty="0" smtClean="0"/>
              <a:t>ОТОБРАНО КЕРНА </a:t>
            </a:r>
          </a:p>
          <a:p>
            <a:r>
              <a:rPr lang="ru-RU" sz="900" dirty="0" smtClean="0"/>
              <a:t>ДЛЯ ИССЛЕДОВАНИЙ</a:t>
            </a:r>
            <a:endParaRPr lang="ru-RU" sz="900" dirty="0"/>
          </a:p>
        </p:txBody>
      </p:sp>
      <p:sp>
        <p:nvSpPr>
          <p:cNvPr id="354" name="Прямоугольник 353"/>
          <p:cNvSpPr/>
          <p:nvPr/>
        </p:nvSpPr>
        <p:spPr>
          <a:xfrm>
            <a:off x="4756658" y="3725019"/>
            <a:ext cx="627700" cy="307777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 smtClean="0">
                <a:latin typeface="Impact" panose="020B0806030902050204" pitchFamily="34" charset="0"/>
              </a:rPr>
              <a:t>617</a:t>
            </a:r>
            <a:endParaRPr lang="ru-RU" sz="500" dirty="0"/>
          </a:p>
        </p:txBody>
      </p:sp>
      <p:sp>
        <p:nvSpPr>
          <p:cNvPr id="355" name="TextBox 354"/>
          <p:cNvSpPr txBox="1"/>
          <p:nvPr/>
        </p:nvSpPr>
        <p:spPr>
          <a:xfrm>
            <a:off x="3470063" y="4362360"/>
            <a:ext cx="1468141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900" dirty="0" smtClean="0"/>
              <a:t>НАКОПЛЕННАЯ </a:t>
            </a:r>
          </a:p>
          <a:p>
            <a:r>
              <a:rPr lang="ru-RU" sz="900" dirty="0" smtClean="0"/>
              <a:t>ДОБЫЧА НЕФТИ</a:t>
            </a:r>
            <a:endParaRPr lang="ru-RU" sz="900" dirty="0"/>
          </a:p>
        </p:txBody>
      </p:sp>
      <p:sp>
        <p:nvSpPr>
          <p:cNvPr id="356" name="Прямоугольник 355"/>
          <p:cNvSpPr/>
          <p:nvPr/>
        </p:nvSpPr>
        <p:spPr>
          <a:xfrm>
            <a:off x="4831265" y="3259354"/>
            <a:ext cx="410131" cy="307777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 smtClean="0">
                <a:latin typeface="Impact" panose="020B0806030902050204" pitchFamily="34" charset="0"/>
              </a:rPr>
              <a:t>16</a:t>
            </a:r>
            <a:endParaRPr lang="ru-RU" sz="500" dirty="0"/>
          </a:p>
        </p:txBody>
      </p:sp>
      <p:sp>
        <p:nvSpPr>
          <p:cNvPr id="357" name="Прямоугольник 356"/>
          <p:cNvSpPr/>
          <p:nvPr/>
        </p:nvSpPr>
        <p:spPr>
          <a:xfrm>
            <a:off x="4784609" y="4352603"/>
            <a:ext cx="682239" cy="307777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100" dirty="0" smtClean="0">
                <a:latin typeface="Impact" panose="020B0806030902050204" pitchFamily="34" charset="0"/>
              </a:rPr>
              <a:t>&gt;</a:t>
            </a:r>
            <a:r>
              <a:rPr lang="ru-RU" sz="1100" dirty="0" smtClean="0">
                <a:latin typeface="Impact" panose="020B0806030902050204" pitchFamily="34" charset="0"/>
              </a:rPr>
              <a:t> </a:t>
            </a:r>
            <a:r>
              <a:rPr lang="ru-RU" sz="1400" dirty="0" smtClean="0">
                <a:latin typeface="Impact" panose="020B0806030902050204" pitchFamily="34" charset="0"/>
              </a:rPr>
              <a:t>50</a:t>
            </a:r>
            <a:endParaRPr lang="ru-RU" sz="500" dirty="0"/>
          </a:p>
        </p:txBody>
      </p:sp>
      <p:sp>
        <p:nvSpPr>
          <p:cNvPr id="359" name="TextBox 358"/>
          <p:cNvSpPr txBox="1"/>
          <p:nvPr/>
        </p:nvSpPr>
        <p:spPr>
          <a:xfrm>
            <a:off x="3464694" y="3311288"/>
            <a:ext cx="726161" cy="2308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900" dirty="0" smtClean="0"/>
              <a:t>ПРОБУРЕНО</a:t>
            </a:r>
            <a:endParaRPr lang="ru-RU" sz="900" dirty="0"/>
          </a:p>
        </p:txBody>
      </p:sp>
      <p:sp>
        <p:nvSpPr>
          <p:cNvPr id="363" name="Прямоугольник 362"/>
          <p:cNvSpPr/>
          <p:nvPr/>
        </p:nvSpPr>
        <p:spPr>
          <a:xfrm>
            <a:off x="6744401" y="4332293"/>
            <a:ext cx="1300035" cy="182151"/>
          </a:xfrm>
          <a:prstGeom prst="rect">
            <a:avLst/>
          </a:prstGeom>
          <a:gradFill>
            <a:gsLst>
              <a:gs pos="71000">
                <a:schemeClr val="bg1"/>
              </a:gs>
              <a:gs pos="0">
                <a:schemeClr val="accent1"/>
              </a:gs>
              <a:gs pos="70000">
                <a:schemeClr val="accent1"/>
              </a:gs>
            </a:gsLst>
            <a:lin ang="0" scaled="1"/>
          </a:gra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36000" defTabSz="72000">
              <a:spcBef>
                <a:spcPts val="100"/>
              </a:spcBef>
              <a:spcAft>
                <a:spcPts val="100"/>
              </a:spcAft>
              <a:tabLst>
                <a:tab pos="2690813" algn="l"/>
              </a:tabLst>
            </a:pPr>
            <a:endParaRPr lang="ru-RU" sz="7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64" name="Прямоугольник 363"/>
          <p:cNvSpPr/>
          <p:nvPr/>
        </p:nvSpPr>
        <p:spPr>
          <a:xfrm>
            <a:off x="7931435" y="3663463"/>
            <a:ext cx="80178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Impact" panose="020B0806030902050204" pitchFamily="34" charset="0"/>
              </a:rPr>
              <a:t>28</a:t>
            </a:r>
            <a:r>
              <a:rPr lang="ru-RU" sz="800" dirty="0" smtClean="0">
                <a:latin typeface="Impact" panose="020B0806030902050204" pitchFamily="34" charset="0"/>
              </a:rPr>
              <a:t> </a:t>
            </a:r>
            <a:r>
              <a:rPr lang="ru-RU" sz="800" dirty="0">
                <a:latin typeface="Impact" panose="020B0806030902050204" pitchFamily="34" charset="0"/>
              </a:rPr>
              <a:t>%</a:t>
            </a:r>
            <a:endParaRPr lang="ru-RU" sz="1400" dirty="0" smtClean="0"/>
          </a:p>
          <a:p>
            <a:r>
              <a:rPr lang="ru-RU" sz="800" dirty="0" smtClean="0"/>
              <a:t>ПАРТНЕРЫ</a:t>
            </a:r>
            <a:endParaRPr lang="ru-RU" sz="100" dirty="0"/>
          </a:p>
        </p:txBody>
      </p:sp>
      <p:sp>
        <p:nvSpPr>
          <p:cNvPr id="365" name="Прямоугольник 364"/>
          <p:cNvSpPr/>
          <p:nvPr/>
        </p:nvSpPr>
        <p:spPr>
          <a:xfrm>
            <a:off x="7931435" y="2923033"/>
            <a:ext cx="108766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 smtClean="0">
                <a:latin typeface="Impact" panose="020B0806030902050204" pitchFamily="34" charset="0"/>
              </a:rPr>
              <a:t>72</a:t>
            </a:r>
            <a:r>
              <a:rPr lang="ru-RU" sz="800" dirty="0" smtClean="0">
                <a:latin typeface="Impact" panose="020B0806030902050204" pitchFamily="34" charset="0"/>
              </a:rPr>
              <a:t> % </a:t>
            </a:r>
            <a:br>
              <a:rPr lang="ru-RU" sz="800" dirty="0" smtClean="0">
                <a:latin typeface="Impact" panose="020B0806030902050204" pitchFamily="34" charset="0"/>
              </a:rPr>
            </a:br>
            <a:r>
              <a:rPr lang="ru-RU" sz="800" dirty="0" smtClean="0"/>
              <a:t>ГАЗПРОМ НЕФТЬ</a:t>
            </a:r>
            <a:endParaRPr lang="ru-RU" sz="100" dirty="0"/>
          </a:p>
        </p:txBody>
      </p:sp>
      <p:cxnSp>
        <p:nvCxnSpPr>
          <p:cNvPr id="362" name="Прямая соединительная линия 361"/>
          <p:cNvCxnSpPr/>
          <p:nvPr/>
        </p:nvCxnSpPr>
        <p:spPr>
          <a:xfrm>
            <a:off x="6294695" y="4129214"/>
            <a:ext cx="2442977" cy="0"/>
          </a:xfrm>
          <a:prstGeom prst="line">
            <a:avLst/>
          </a:prstGeom>
          <a:ln w="12700">
            <a:gradFill>
              <a:gsLst>
                <a:gs pos="65000">
                  <a:schemeClr val="accent1">
                    <a:lumMod val="99000"/>
                    <a:lumOff val="1000"/>
                  </a:schemeClr>
                </a:gs>
                <a:gs pos="35000">
                  <a:schemeClr val="accent1"/>
                </a:gs>
                <a:gs pos="0">
                  <a:schemeClr val="bg1">
                    <a:lumMod val="99000"/>
                    <a:lumOff val="1000"/>
                  </a:schemeClr>
                </a:gs>
                <a:gs pos="50000">
                  <a:schemeClr val="accent1"/>
                </a:gs>
                <a:gs pos="100000">
                  <a:schemeClr val="bg1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" name="TextBox 367"/>
          <p:cNvSpPr txBox="1"/>
          <p:nvPr/>
        </p:nvSpPr>
        <p:spPr>
          <a:xfrm>
            <a:off x="465956" y="3259499"/>
            <a:ext cx="1468141" cy="3693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900" dirty="0" smtClean="0"/>
              <a:t>ТЕХНОЛОГИЧЕСКИЙ</a:t>
            </a:r>
          </a:p>
          <a:p>
            <a:r>
              <a:rPr lang="ru-RU" sz="900" dirty="0" smtClean="0"/>
              <a:t>ПОЯС</a:t>
            </a:r>
            <a:endParaRPr lang="ru-RU" sz="900" dirty="0"/>
          </a:p>
        </p:txBody>
      </p:sp>
      <p:sp>
        <p:nvSpPr>
          <p:cNvPr id="369" name="Прямоугольник 368"/>
          <p:cNvSpPr/>
          <p:nvPr/>
        </p:nvSpPr>
        <p:spPr>
          <a:xfrm>
            <a:off x="1952264" y="3259503"/>
            <a:ext cx="653603" cy="307777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 smtClean="0">
                <a:latin typeface="Impact" panose="020B0806030902050204" pitchFamily="34" charset="0"/>
              </a:rPr>
              <a:t>20</a:t>
            </a:r>
            <a:endParaRPr lang="ru-RU" sz="500" dirty="0"/>
          </a:p>
        </p:txBody>
      </p:sp>
      <p:sp>
        <p:nvSpPr>
          <p:cNvPr id="370" name="Прямоугольник 369"/>
          <p:cNvSpPr/>
          <p:nvPr/>
        </p:nvSpPr>
        <p:spPr>
          <a:xfrm>
            <a:off x="7478643" y="898166"/>
            <a:ext cx="86129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50" dirty="0" smtClean="0"/>
              <a:t>МЛН. КМ</a:t>
            </a:r>
            <a:r>
              <a:rPr lang="ru-RU" sz="1050" baseline="30000" dirty="0" smtClean="0"/>
              <a:t>2</a:t>
            </a:r>
            <a:endParaRPr lang="ru-RU" sz="1050" dirty="0"/>
          </a:p>
        </p:txBody>
      </p:sp>
      <p:sp>
        <p:nvSpPr>
          <p:cNvPr id="371" name="Прямоугольник 370"/>
          <p:cNvSpPr/>
          <p:nvPr/>
        </p:nvSpPr>
        <p:spPr>
          <a:xfrm>
            <a:off x="7478648" y="1329914"/>
            <a:ext cx="79227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50" dirty="0" smtClean="0"/>
              <a:t>МЛН. КМ</a:t>
            </a:r>
            <a:r>
              <a:rPr lang="ru-RU" sz="1050" baseline="30000" dirty="0" smtClean="0"/>
              <a:t>2</a:t>
            </a:r>
            <a:endParaRPr lang="ru-RU" sz="1050" dirty="0"/>
          </a:p>
        </p:txBody>
      </p:sp>
      <p:sp>
        <p:nvSpPr>
          <p:cNvPr id="372" name="Прямоугольник 371"/>
          <p:cNvSpPr/>
          <p:nvPr/>
        </p:nvSpPr>
        <p:spPr>
          <a:xfrm>
            <a:off x="7478212" y="1773384"/>
            <a:ext cx="74464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50" dirty="0" smtClean="0"/>
              <a:t>МЛРД.Т.</a:t>
            </a:r>
            <a:endParaRPr lang="ru-RU" sz="1050" dirty="0"/>
          </a:p>
        </p:txBody>
      </p:sp>
      <p:sp>
        <p:nvSpPr>
          <p:cNvPr id="374" name="Прямоугольник 373"/>
          <p:cNvSpPr/>
          <p:nvPr/>
        </p:nvSpPr>
        <p:spPr>
          <a:xfrm>
            <a:off x="7502244" y="2264013"/>
            <a:ext cx="74507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50" dirty="0" smtClean="0"/>
              <a:t>МЛН.Т.</a:t>
            </a:r>
            <a:endParaRPr lang="ru-RU" sz="1050" dirty="0"/>
          </a:p>
        </p:txBody>
      </p:sp>
      <p:sp>
        <p:nvSpPr>
          <p:cNvPr id="375" name="Прямоугольник 374"/>
          <p:cNvSpPr/>
          <p:nvPr/>
        </p:nvSpPr>
        <p:spPr>
          <a:xfrm>
            <a:off x="3430882" y="2286168"/>
            <a:ext cx="74507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50" dirty="0" smtClean="0"/>
              <a:t>МЛН.Т.</a:t>
            </a:r>
            <a:endParaRPr lang="ru-RU" sz="1050" dirty="0"/>
          </a:p>
        </p:txBody>
      </p:sp>
      <p:sp>
        <p:nvSpPr>
          <p:cNvPr id="376" name="Прямоугольник 375"/>
          <p:cNvSpPr/>
          <p:nvPr/>
        </p:nvSpPr>
        <p:spPr>
          <a:xfrm>
            <a:off x="5285628" y="3305517"/>
            <a:ext cx="86129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/>
              <a:t>СКВАЖИН</a:t>
            </a:r>
          </a:p>
        </p:txBody>
      </p:sp>
      <p:sp>
        <p:nvSpPr>
          <p:cNvPr id="377" name="Прямоугольник 376"/>
          <p:cNvSpPr/>
          <p:nvPr/>
        </p:nvSpPr>
        <p:spPr>
          <a:xfrm>
            <a:off x="5320143" y="3771182"/>
            <a:ext cx="79227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/>
              <a:t>МЕТРОВ</a:t>
            </a:r>
          </a:p>
        </p:txBody>
      </p:sp>
      <p:sp>
        <p:nvSpPr>
          <p:cNvPr id="378" name="Прямоугольник 377"/>
          <p:cNvSpPr/>
          <p:nvPr/>
        </p:nvSpPr>
        <p:spPr>
          <a:xfrm>
            <a:off x="5285628" y="4397896"/>
            <a:ext cx="74464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/>
              <a:t>ТЫС.Т.</a:t>
            </a:r>
          </a:p>
        </p:txBody>
      </p:sp>
      <p:sp>
        <p:nvSpPr>
          <p:cNvPr id="380" name="Прямоугольник 379"/>
          <p:cNvSpPr/>
          <p:nvPr/>
        </p:nvSpPr>
        <p:spPr>
          <a:xfrm>
            <a:off x="2254390" y="3312606"/>
            <a:ext cx="86129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 smtClean="0"/>
              <a:t>ПАРТНЕРОВ</a:t>
            </a:r>
            <a:endParaRPr lang="ru-RU" sz="800" dirty="0"/>
          </a:p>
        </p:txBody>
      </p:sp>
      <p:sp>
        <p:nvSpPr>
          <p:cNvPr id="381" name="TextBox 380"/>
          <p:cNvSpPr txBox="1"/>
          <p:nvPr/>
        </p:nvSpPr>
        <p:spPr>
          <a:xfrm>
            <a:off x="3470063" y="2782572"/>
            <a:ext cx="146814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900" dirty="0" smtClean="0"/>
              <a:t>ПИЛОТНЫЕ УЧАСТКИ</a:t>
            </a:r>
            <a:endParaRPr lang="ru-RU" sz="900" dirty="0"/>
          </a:p>
        </p:txBody>
      </p:sp>
      <p:sp>
        <p:nvSpPr>
          <p:cNvPr id="382" name="Прямоугольник 381"/>
          <p:cNvSpPr/>
          <p:nvPr/>
        </p:nvSpPr>
        <p:spPr>
          <a:xfrm>
            <a:off x="4867895" y="2730638"/>
            <a:ext cx="228389" cy="307777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 smtClean="0">
                <a:latin typeface="Impact" panose="020B0806030902050204" pitchFamily="34" charset="0"/>
              </a:rPr>
              <a:t>2</a:t>
            </a:r>
            <a:endParaRPr lang="ru-RU" sz="500" dirty="0"/>
          </a:p>
        </p:txBody>
      </p:sp>
      <p:sp>
        <p:nvSpPr>
          <p:cNvPr id="384" name="TextBox 383"/>
          <p:cNvSpPr txBox="1"/>
          <p:nvPr/>
        </p:nvSpPr>
        <p:spPr>
          <a:xfrm>
            <a:off x="459606" y="3714124"/>
            <a:ext cx="1468141" cy="5078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900" dirty="0" smtClean="0"/>
              <a:t>ДЕЙСТВУЮЩИЕ ТЕХНОЛОГИЧЕСКИЕ</a:t>
            </a:r>
          </a:p>
          <a:p>
            <a:r>
              <a:rPr lang="ru-RU" sz="900" dirty="0" smtClean="0"/>
              <a:t>ПРОЕКТЫ</a:t>
            </a:r>
          </a:p>
        </p:txBody>
      </p:sp>
      <p:sp>
        <p:nvSpPr>
          <p:cNvPr id="387" name="Прямоугольник 386"/>
          <p:cNvSpPr/>
          <p:nvPr/>
        </p:nvSpPr>
        <p:spPr>
          <a:xfrm>
            <a:off x="2029345" y="3814151"/>
            <a:ext cx="193477" cy="307777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latin typeface="Impact" panose="020B0806030902050204" pitchFamily="34" charset="0"/>
              </a:rPr>
              <a:t>5</a:t>
            </a:r>
            <a:endParaRPr lang="ru-RU" sz="500" dirty="0"/>
          </a:p>
        </p:txBody>
      </p:sp>
      <p:cxnSp>
        <p:nvCxnSpPr>
          <p:cNvPr id="191" name="Прямая соединительная линия 190"/>
          <p:cNvCxnSpPr/>
          <p:nvPr/>
        </p:nvCxnSpPr>
        <p:spPr>
          <a:xfrm>
            <a:off x="287340" y="2660911"/>
            <a:ext cx="845032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/>
          <p:cNvSpPr txBox="1"/>
          <p:nvPr/>
        </p:nvSpPr>
        <p:spPr>
          <a:xfrm>
            <a:off x="465956" y="2744854"/>
            <a:ext cx="1468141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900" dirty="0" smtClean="0"/>
              <a:t>КОМАНДА ПРОЕКТА</a:t>
            </a:r>
            <a:endParaRPr lang="ru-RU" sz="900" dirty="0"/>
          </a:p>
        </p:txBody>
      </p:sp>
      <p:sp>
        <p:nvSpPr>
          <p:cNvPr id="194" name="Прямоугольник 193"/>
          <p:cNvSpPr/>
          <p:nvPr/>
        </p:nvSpPr>
        <p:spPr>
          <a:xfrm>
            <a:off x="1930430" y="2730771"/>
            <a:ext cx="326801" cy="307777"/>
          </a:xfrm>
          <a:prstGeom prst="rect">
            <a:avLst/>
          </a:prstGeom>
          <a:ln>
            <a:noFill/>
          </a:ln>
        </p:spPr>
        <p:txBody>
          <a:bodyPr wrap="square" lIns="36000" r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dirty="0" smtClean="0">
                <a:latin typeface="Impact" panose="020B0806030902050204" pitchFamily="34" charset="0"/>
              </a:rPr>
              <a:t> </a:t>
            </a:r>
            <a:r>
              <a:rPr lang="ru-RU" sz="1400" dirty="0" smtClean="0">
                <a:latin typeface="Impact" panose="020B0806030902050204" pitchFamily="34" charset="0"/>
              </a:rPr>
              <a:t>54</a:t>
            </a:r>
            <a:endParaRPr lang="ru-RU" sz="500" dirty="0"/>
          </a:p>
        </p:txBody>
      </p:sp>
      <p:sp>
        <p:nvSpPr>
          <p:cNvPr id="195" name="Прямоугольник 194"/>
          <p:cNvSpPr/>
          <p:nvPr/>
        </p:nvSpPr>
        <p:spPr>
          <a:xfrm>
            <a:off x="2254390" y="2776802"/>
            <a:ext cx="86129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 smtClean="0"/>
              <a:t>ЧЕЛОВЕКА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562514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7536940"/>
              </p:ext>
            </p:extLst>
          </p:nvPr>
        </p:nvGraphicFramePr>
        <p:xfrm>
          <a:off x="287841" y="1177888"/>
          <a:ext cx="4284662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87315"/>
            <a:ext cx="8562975" cy="612775"/>
          </a:xfrm>
        </p:spPr>
        <p:txBody>
          <a:bodyPr/>
          <a:lstStyle/>
          <a:p>
            <a:r>
              <a:rPr lang="ru-RU" sz="2000" dirty="0" smtClean="0"/>
              <a:t>Результаты бурения и освоения ГС подтверждают промышленный потенциал баженовской свиты</a:t>
            </a:r>
            <a:endParaRPr lang="ru-RU" sz="20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366859" y="3193946"/>
            <a:ext cx="4189613" cy="16828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87524" y="1219936"/>
            <a:ext cx="4284980" cy="16828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79977" y="2952610"/>
            <a:ext cx="3555460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dirty="0"/>
              <a:t>ПОКАЗАТЕЛИ ОТРАБОТКИ СКВАЖИНЫ (Запуск </a:t>
            </a:r>
            <a:r>
              <a:rPr lang="ru-RU" sz="900" dirty="0" smtClean="0"/>
              <a:t>02.03.16, УЭЦН)</a:t>
            </a:r>
            <a:endParaRPr lang="ru-RU" sz="900" dirty="0"/>
          </a:p>
        </p:txBody>
      </p:sp>
      <p:sp>
        <p:nvSpPr>
          <p:cNvPr id="34" name="TextBox 33"/>
          <p:cNvSpPr txBox="1"/>
          <p:nvPr/>
        </p:nvSpPr>
        <p:spPr>
          <a:xfrm>
            <a:off x="287524" y="1023578"/>
            <a:ext cx="276998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dirty="0" smtClean="0"/>
              <a:t>ПЛАН/ФАКТ ЗАКАЧКИ ПРОППАНТА ПО СТАДИЯМ</a:t>
            </a:r>
            <a:endParaRPr lang="ru-RU" sz="900" dirty="0"/>
          </a:p>
        </p:txBody>
      </p:sp>
      <p:sp>
        <p:nvSpPr>
          <p:cNvPr id="35" name="TextBox 34"/>
          <p:cNvSpPr txBox="1"/>
          <p:nvPr/>
        </p:nvSpPr>
        <p:spPr>
          <a:xfrm>
            <a:off x="4068447" y="1114071"/>
            <a:ext cx="25006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700" i="1" dirty="0" smtClean="0">
                <a:latin typeface="+mj-lt"/>
              </a:rPr>
              <a:t>ПЛАН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698872" y="1114071"/>
            <a:ext cx="23884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700" i="1" dirty="0" smtClean="0">
                <a:latin typeface="+mj-lt"/>
              </a:rPr>
              <a:t>ФАКТ</a:t>
            </a:r>
          </a:p>
        </p:txBody>
      </p:sp>
      <p:graphicFrame>
        <p:nvGraphicFramePr>
          <p:cNvPr id="24" name="Диаграмма 23" descr="обводненость, %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2721741"/>
              </p:ext>
            </p:extLst>
          </p:nvPr>
        </p:nvGraphicFramePr>
        <p:xfrm>
          <a:off x="479978" y="3181946"/>
          <a:ext cx="3895967" cy="1694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TextBox 25"/>
          <p:cNvSpPr txBox="1"/>
          <p:nvPr/>
        </p:nvSpPr>
        <p:spPr>
          <a:xfrm rot="16200000">
            <a:off x="227825" y="3844706"/>
            <a:ext cx="873637" cy="3693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/>
            <a:r>
              <a:rPr lang="ru-RU" sz="600" dirty="0" smtClean="0"/>
              <a:t>Дебит нефти, т/сут</a:t>
            </a:r>
          </a:p>
          <a:p>
            <a:pPr algn="ctr"/>
            <a:r>
              <a:rPr lang="ru-RU" sz="600" dirty="0" smtClean="0"/>
              <a:t>Дебит жидкости, м3/сут</a:t>
            </a:r>
          </a:p>
          <a:p>
            <a:pPr algn="ctr"/>
            <a:r>
              <a:rPr lang="ru-RU" sz="600" dirty="0" smtClean="0"/>
              <a:t>Дебит газа , тыс. м3/сут </a:t>
            </a:r>
          </a:p>
        </p:txBody>
      </p:sp>
      <p:sp>
        <p:nvSpPr>
          <p:cNvPr id="27" name="TextBox 26"/>
          <p:cNvSpPr txBox="1"/>
          <p:nvPr/>
        </p:nvSpPr>
        <p:spPr>
          <a:xfrm rot="16200000">
            <a:off x="3826663" y="3899223"/>
            <a:ext cx="888064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600" dirty="0" smtClean="0"/>
              <a:t>Давление забойное, атм</a:t>
            </a:r>
          </a:p>
          <a:p>
            <a:r>
              <a:rPr lang="ru-RU" sz="600" dirty="0" smtClean="0"/>
              <a:t>Обводненность, %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3708" y="726642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1400" b="1" dirty="0" smtClean="0"/>
              <a:t>134 ГС</a:t>
            </a:r>
          </a:p>
        </p:txBody>
      </p:sp>
      <p:graphicFrame>
        <p:nvGraphicFramePr>
          <p:cNvPr id="25" name="Диаграмма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1875795"/>
              </p:ext>
            </p:extLst>
          </p:nvPr>
        </p:nvGraphicFramePr>
        <p:xfrm>
          <a:off x="4572000" y="1199826"/>
          <a:ext cx="4284979" cy="1731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7539404" y="1201917"/>
            <a:ext cx="25006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700" i="1" dirty="0" smtClean="0">
                <a:latin typeface="+mj-lt"/>
              </a:rPr>
              <a:t>ПЛАН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169829" y="1201917"/>
            <a:ext cx="23884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700" i="1" dirty="0" smtClean="0">
                <a:latin typeface="+mj-lt"/>
              </a:rPr>
              <a:t>ФАКТ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572000" y="1005830"/>
            <a:ext cx="276998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dirty="0" smtClean="0"/>
              <a:t>ПЛАН/ФАКТ ЗАКАЧКИ ПРОППАНТА ПО СТАДИЯМ</a:t>
            </a:r>
            <a:endParaRPr lang="ru-RU" sz="900" dirty="0"/>
          </a:p>
        </p:txBody>
      </p:sp>
      <p:sp>
        <p:nvSpPr>
          <p:cNvPr id="32" name="TextBox 31"/>
          <p:cNvSpPr txBox="1"/>
          <p:nvPr/>
        </p:nvSpPr>
        <p:spPr>
          <a:xfrm>
            <a:off x="6246437" y="726642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1400" b="1" dirty="0" smtClean="0"/>
              <a:t>152 ГС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667370" y="3147198"/>
            <a:ext cx="4189613" cy="16828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677929" y="2939892"/>
            <a:ext cx="420788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dirty="0" smtClean="0">
                <a:latin typeface="+mj-lt"/>
              </a:rPr>
              <a:t>ПОКАЗАТЕЛИ ОТРАБОТКИ СКВАЖИНЫ </a:t>
            </a:r>
            <a:r>
              <a:rPr lang="en-US" sz="900" dirty="0"/>
              <a:t>(</a:t>
            </a:r>
            <a:r>
              <a:rPr lang="ru-RU" sz="900" dirty="0"/>
              <a:t>Запуск </a:t>
            </a:r>
            <a:r>
              <a:rPr lang="ru-RU" sz="900" dirty="0" smtClean="0"/>
              <a:t>13.07.16, фонтанирование) </a:t>
            </a:r>
            <a:r>
              <a:rPr lang="ru-RU" sz="900" dirty="0" smtClean="0">
                <a:latin typeface="+mj-lt"/>
              </a:rPr>
              <a:t> </a:t>
            </a:r>
          </a:p>
        </p:txBody>
      </p:sp>
      <p:sp>
        <p:nvSpPr>
          <p:cNvPr id="40" name="TextBox 39"/>
          <p:cNvSpPr txBox="1"/>
          <p:nvPr/>
        </p:nvSpPr>
        <p:spPr>
          <a:xfrm rot="16200000">
            <a:off x="4232260" y="3665901"/>
            <a:ext cx="1148872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800" dirty="0" smtClean="0"/>
              <a:t>Дебит нефти, т/сут</a:t>
            </a:r>
          </a:p>
          <a:p>
            <a:pPr algn="ctr"/>
            <a:r>
              <a:rPr lang="ru-RU" sz="800" dirty="0" smtClean="0"/>
              <a:t>Дебит жидкости, м3/сут</a:t>
            </a:r>
          </a:p>
          <a:p>
            <a:pPr algn="ctr"/>
            <a:r>
              <a:rPr lang="ru-RU" sz="800" dirty="0" smtClean="0"/>
              <a:t>Дебит газа , тыс. м3/</a:t>
            </a:r>
            <a:r>
              <a:rPr lang="ru-RU" sz="800" dirty="0" err="1" smtClean="0"/>
              <a:t>сут</a:t>
            </a:r>
            <a:endParaRPr lang="ru-RU" sz="800" dirty="0" smtClean="0"/>
          </a:p>
          <a:p>
            <a:pPr algn="ctr"/>
            <a:r>
              <a:rPr lang="ru-RU" sz="800" dirty="0" err="1" smtClean="0"/>
              <a:t>Обводненость</a:t>
            </a:r>
            <a:r>
              <a:rPr lang="ru-RU" sz="800" dirty="0" smtClean="0"/>
              <a:t>, % </a:t>
            </a:r>
          </a:p>
        </p:txBody>
      </p:sp>
      <p:sp>
        <p:nvSpPr>
          <p:cNvPr id="41" name="TextBox 40"/>
          <p:cNvSpPr txBox="1"/>
          <p:nvPr/>
        </p:nvSpPr>
        <p:spPr>
          <a:xfrm rot="16200000">
            <a:off x="7783053" y="3667022"/>
            <a:ext cx="158964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800" dirty="0" smtClean="0"/>
              <a:t>Забойное давление, </a:t>
            </a:r>
            <a:r>
              <a:rPr lang="ru-RU" sz="800" dirty="0" err="1" smtClean="0"/>
              <a:t>атм</a:t>
            </a:r>
            <a:endParaRPr lang="ru-RU" sz="800" dirty="0" smtClean="0"/>
          </a:p>
        </p:txBody>
      </p:sp>
      <p:graphicFrame>
        <p:nvGraphicFramePr>
          <p:cNvPr id="42" name="Диаграмма 41" descr="обводненость, %"/>
          <p:cNvGraphicFramePr>
            <a:graphicFrameLocks/>
          </p:cNvGraphicFramePr>
          <p:nvPr>
            <p:extLst/>
          </p:nvPr>
        </p:nvGraphicFramePr>
        <p:xfrm>
          <a:off x="4572000" y="3112439"/>
          <a:ext cx="4176967" cy="1762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06222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87315"/>
            <a:ext cx="8562975" cy="612775"/>
          </a:xfrm>
        </p:spPr>
        <p:txBody>
          <a:bodyPr/>
          <a:lstStyle/>
          <a:p>
            <a:r>
              <a:rPr lang="ru-RU" sz="2000" dirty="0" smtClean="0"/>
              <a:t>Преодоление технологических вызовов – создание технологии освоения Баженовской свиты</a:t>
            </a:r>
            <a:endParaRPr lang="ru-RU" sz="2000" dirty="0"/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688273"/>
              </p:ext>
            </p:extLst>
          </p:nvPr>
        </p:nvGraphicFramePr>
        <p:xfrm>
          <a:off x="451520" y="1216752"/>
          <a:ext cx="2470352" cy="2882368"/>
        </p:xfrm>
        <a:graphic>
          <a:graphicData uri="http://schemas.openxmlformats.org/drawingml/2006/table">
            <a:tbl>
              <a:tblPr/>
              <a:tblGrid>
                <a:gridCol w="3087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87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87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87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087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0879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087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60296"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5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8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6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0" i="0" u="none" strike="noStrike" dirty="0">
                          <a:solidFill>
                            <a:srgbClr val="3C3C3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5" name="TextBox 54"/>
          <p:cNvSpPr txBox="1"/>
          <p:nvPr/>
        </p:nvSpPr>
        <p:spPr>
          <a:xfrm>
            <a:off x="402145" y="1013608"/>
            <a:ext cx="258396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800" dirty="0" smtClean="0">
                <a:latin typeface="Arial" pitchFamily="34" charset="0"/>
                <a:cs typeface="Arial" pitchFamily="34" charset="0"/>
              </a:rPr>
              <a:t>Накопленная добыча одной скважины, тыс. т.</a:t>
            </a:r>
            <a:endParaRPr lang="ru-RU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 rot="16200000">
            <a:off x="-484563" y="2458881"/>
            <a:ext cx="16337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>
              <a:defRPr/>
            </a:pPr>
            <a:r>
              <a:rPr lang="ru-RU" sz="800" dirty="0">
                <a:latin typeface="Arial" pitchFamily="34" charset="0"/>
                <a:cs typeface="Arial" pitchFamily="34" charset="0"/>
              </a:rPr>
              <a:t>Стоимость 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>скважины, млн.руб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6" name="Прямая со стрелкой 65"/>
          <p:cNvCxnSpPr/>
          <p:nvPr/>
        </p:nvCxnSpPr>
        <p:spPr>
          <a:xfrm>
            <a:off x="440048" y="1216750"/>
            <a:ext cx="2508156" cy="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>
            <a:off x="440048" y="1213762"/>
            <a:ext cx="0" cy="290794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Группа 71"/>
          <p:cNvGrpSpPr/>
          <p:nvPr/>
        </p:nvGrpSpPr>
        <p:grpSpPr>
          <a:xfrm>
            <a:off x="1053606" y="2110155"/>
            <a:ext cx="1698100" cy="1508763"/>
            <a:chOff x="970078" y="2275269"/>
            <a:chExt cx="1698100" cy="1508763"/>
          </a:xfrm>
        </p:grpSpPr>
        <p:grpSp>
          <p:nvGrpSpPr>
            <p:cNvPr id="73" name="Группа 72"/>
            <p:cNvGrpSpPr/>
            <p:nvPr/>
          </p:nvGrpSpPr>
          <p:grpSpPr>
            <a:xfrm rot="18900000">
              <a:off x="1055364" y="2668390"/>
              <a:ext cx="1612814" cy="443836"/>
              <a:chOff x="1264147" y="2998677"/>
              <a:chExt cx="1112771" cy="545181"/>
            </a:xfrm>
          </p:grpSpPr>
          <p:sp>
            <p:nvSpPr>
              <p:cNvPr id="85" name="Стрелка вправо с вырезом 84"/>
              <p:cNvSpPr/>
              <p:nvPr/>
            </p:nvSpPr>
            <p:spPr>
              <a:xfrm>
                <a:off x="1264147" y="2998677"/>
                <a:ext cx="1112771" cy="545181"/>
              </a:xfrm>
              <a:prstGeom prst="notchedRightArrow">
                <a:avLst>
                  <a:gd name="adj1" fmla="val 50000"/>
                  <a:gd name="adj2" fmla="val 57587"/>
                </a:avLst>
              </a:prstGeom>
              <a:solidFill>
                <a:schemeClr val="accent1">
                  <a:alpha val="85098"/>
                </a:schemeClr>
              </a:solidFill>
              <a:ln w="127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1471015" y="3140757"/>
                <a:ext cx="874912" cy="24573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700" b="1" i="1" dirty="0">
                    <a:solidFill>
                      <a:schemeClr val="bg1"/>
                    </a:solidFill>
                  </a:rPr>
                  <a:t>т</a:t>
                </a:r>
                <a:r>
                  <a:rPr lang="ru-RU" sz="700" b="1" i="1" dirty="0" smtClean="0">
                    <a:solidFill>
                      <a:schemeClr val="bg1"/>
                    </a:solidFill>
                  </a:rPr>
                  <a:t>ехнологические вызовы</a:t>
                </a:r>
              </a:p>
            </p:txBody>
          </p:sp>
        </p:grpSp>
        <p:grpSp>
          <p:nvGrpSpPr>
            <p:cNvPr id="74" name="Группа 73"/>
            <p:cNvGrpSpPr/>
            <p:nvPr/>
          </p:nvGrpSpPr>
          <p:grpSpPr>
            <a:xfrm>
              <a:off x="1352596" y="3238851"/>
              <a:ext cx="1091248" cy="545181"/>
              <a:chOff x="1264147" y="2998677"/>
              <a:chExt cx="1135671" cy="545181"/>
            </a:xfrm>
          </p:grpSpPr>
          <p:sp>
            <p:nvSpPr>
              <p:cNvPr id="83" name="Стрелка вправо с вырезом 82"/>
              <p:cNvSpPr/>
              <p:nvPr/>
            </p:nvSpPr>
            <p:spPr>
              <a:xfrm>
                <a:off x="1264147" y="2998677"/>
                <a:ext cx="1135671" cy="545181"/>
              </a:xfrm>
              <a:prstGeom prst="notchedRightArrow">
                <a:avLst/>
              </a:prstGeom>
              <a:solidFill>
                <a:srgbClr val="FFFFFF">
                  <a:alpha val="85098"/>
                </a:srgbClr>
              </a:solidFill>
              <a:ln w="127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1411984" y="3111810"/>
                <a:ext cx="960166" cy="307777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700" b="1" dirty="0" smtClean="0"/>
                  <a:t>увеличение Σдобычи/скв.</a:t>
                </a:r>
              </a:p>
            </p:txBody>
          </p:sp>
        </p:grpSp>
        <p:grpSp>
          <p:nvGrpSpPr>
            <p:cNvPr id="75" name="Группа 74"/>
            <p:cNvGrpSpPr/>
            <p:nvPr/>
          </p:nvGrpSpPr>
          <p:grpSpPr>
            <a:xfrm rot="16200000">
              <a:off x="687675" y="2570514"/>
              <a:ext cx="1135671" cy="545181"/>
              <a:chOff x="1264147" y="2998677"/>
              <a:chExt cx="1135671" cy="545181"/>
            </a:xfrm>
          </p:grpSpPr>
          <p:sp>
            <p:nvSpPr>
              <p:cNvPr id="81" name="Стрелка вправо с вырезом 80"/>
              <p:cNvSpPr/>
              <p:nvPr/>
            </p:nvSpPr>
            <p:spPr>
              <a:xfrm>
                <a:off x="1264147" y="2998677"/>
                <a:ext cx="1135671" cy="545181"/>
              </a:xfrm>
              <a:prstGeom prst="notchedRightArrow">
                <a:avLst/>
              </a:prstGeom>
              <a:solidFill>
                <a:srgbClr val="FFFFFF">
                  <a:alpha val="85098"/>
                </a:srgbClr>
              </a:solidFill>
              <a:ln w="127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1423716" y="3117379"/>
                <a:ext cx="836659" cy="307777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700" b="1" dirty="0" smtClean="0"/>
                  <a:t>Оптимизация</a:t>
                </a:r>
                <a:br>
                  <a:rPr lang="ru-RU" sz="700" b="1" dirty="0" smtClean="0"/>
                </a:br>
                <a:r>
                  <a:rPr lang="ru-RU" sz="700" b="1" dirty="0" smtClean="0"/>
                  <a:t>стоимости скв.</a:t>
                </a:r>
              </a:p>
            </p:txBody>
          </p:sp>
        </p:grpSp>
        <p:grpSp>
          <p:nvGrpSpPr>
            <p:cNvPr id="76" name="Группа 75"/>
            <p:cNvGrpSpPr/>
            <p:nvPr/>
          </p:nvGrpSpPr>
          <p:grpSpPr>
            <a:xfrm rot="304261">
              <a:off x="970078" y="3248634"/>
              <a:ext cx="648072" cy="484859"/>
              <a:chOff x="954074" y="3015992"/>
              <a:chExt cx="648072" cy="484859"/>
            </a:xfrm>
          </p:grpSpPr>
          <p:sp>
            <p:nvSpPr>
              <p:cNvPr id="79" name="Скругленный прямоугольник 78"/>
              <p:cNvSpPr/>
              <p:nvPr/>
            </p:nvSpPr>
            <p:spPr>
              <a:xfrm rot="21295739">
                <a:off x="991054" y="3015992"/>
                <a:ext cx="608977" cy="484859"/>
              </a:xfrm>
              <a:prstGeom prst="roundRect">
                <a:avLst/>
              </a:prstGeom>
              <a:solidFill>
                <a:schemeClr val="accent1"/>
              </a:solidFill>
              <a:ln w="127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 rot="21295739">
                <a:off x="954074" y="3017224"/>
                <a:ext cx="648072" cy="461665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pPr algn="ctr">
                  <a:spcBef>
                    <a:spcPts val="600"/>
                  </a:spcBef>
                </a:pPr>
                <a:r>
                  <a:rPr lang="ru-RU" sz="800" dirty="0" smtClean="0">
                    <a:solidFill>
                      <a:schemeClr val="bg1"/>
                    </a:solidFill>
                  </a:rPr>
                  <a:t>Текущий статус проекта</a:t>
                </a:r>
              </a:p>
            </p:txBody>
          </p:sp>
        </p:grpSp>
        <p:cxnSp>
          <p:nvCxnSpPr>
            <p:cNvPr id="77" name="Прямая соединительная линия 76"/>
            <p:cNvCxnSpPr/>
            <p:nvPr/>
          </p:nvCxnSpPr>
          <p:spPr>
            <a:xfrm>
              <a:off x="1301388" y="2285009"/>
              <a:ext cx="1142456" cy="0"/>
            </a:xfrm>
            <a:prstGeom prst="line">
              <a:avLst/>
            </a:prstGeom>
            <a:ln w="1905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единительная линия 77"/>
            <p:cNvCxnSpPr/>
            <p:nvPr/>
          </p:nvCxnSpPr>
          <p:spPr>
            <a:xfrm flipV="1">
              <a:off x="2443844" y="2285009"/>
              <a:ext cx="0" cy="1176072"/>
            </a:xfrm>
            <a:prstGeom prst="line">
              <a:avLst/>
            </a:prstGeom>
            <a:ln w="1905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87" name="Таблица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44386"/>
              </p:ext>
            </p:extLst>
          </p:nvPr>
        </p:nvGraphicFramePr>
        <p:xfrm>
          <a:off x="2947912" y="1205724"/>
          <a:ext cx="2452227" cy="32774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44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3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3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Технологические проекты</a:t>
                      </a:r>
                      <a:endParaRPr lang="ru-RU" sz="800" dirty="0"/>
                    </a:p>
                  </a:txBody>
                  <a:tcPr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Разработка </a:t>
                      </a:r>
                      <a:r>
                        <a:rPr lang="ru-RU" sz="700" b="1" dirty="0" smtClean="0"/>
                        <a:t>технологии прогноза перспективности </a:t>
                      </a:r>
                      <a:r>
                        <a:rPr lang="ru-RU" sz="700" dirty="0" smtClean="0"/>
                        <a:t>нефтегазоносности баженовских отложений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0352"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Разработка технологий </a:t>
                      </a:r>
                      <a:r>
                        <a:rPr lang="ru-RU" sz="700" b="1" dirty="0" smtClean="0"/>
                        <a:t>геолого-гидродинамического моделирования 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5790"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Технологии </a:t>
                      </a:r>
                      <a:r>
                        <a:rPr lang="ru-RU" sz="700" b="1" dirty="0" smtClean="0"/>
                        <a:t>оптимизации строительства горизонтальных скважин</a:t>
                      </a:r>
                      <a:r>
                        <a:rPr lang="ru-RU" sz="700" dirty="0" smtClean="0"/>
                        <a:t> c МГРП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0352">
                <a:tc>
                  <a:txBody>
                    <a:bodyPr/>
                    <a:lstStyle/>
                    <a:p>
                      <a:r>
                        <a:rPr lang="ru-RU" sz="700" b="1" dirty="0" smtClean="0"/>
                        <a:t>Разработка новых элементов технологий ГРП </a:t>
                      </a:r>
                      <a:r>
                        <a:rPr lang="ru-RU" sz="700" dirty="0" smtClean="0"/>
                        <a:t>и интенсификации для бажена и аналогов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Разработка технологий </a:t>
                      </a:r>
                      <a:r>
                        <a:rPr lang="ru-RU" sz="700" b="1" dirty="0" smtClean="0"/>
                        <a:t>генерации углеводородов </a:t>
                      </a:r>
                      <a:r>
                        <a:rPr lang="ru-RU" sz="700" dirty="0" smtClean="0"/>
                        <a:t>из баженовской свиты</a:t>
                      </a:r>
                    </a:p>
                  </a:txBody>
                  <a:tcPr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88" name="Рисунок 8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629" y="1289527"/>
            <a:ext cx="194158" cy="194158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413" y="1298003"/>
            <a:ext cx="180000" cy="180000"/>
          </a:xfrm>
          <a:prstGeom prst="rect">
            <a:avLst/>
          </a:prstGeom>
        </p:spPr>
      </p:pic>
      <p:sp>
        <p:nvSpPr>
          <p:cNvPr id="90" name="TextBox 89"/>
          <p:cNvSpPr txBox="1"/>
          <p:nvPr/>
        </p:nvSpPr>
        <p:spPr>
          <a:xfrm>
            <a:off x="4665185" y="1256498"/>
            <a:ext cx="262892" cy="276999"/>
          </a:xfrm>
          <a:prstGeom prst="rect">
            <a:avLst/>
          </a:prstGeom>
          <a:noFill/>
        </p:spPr>
        <p:txBody>
          <a:bodyPr wrap="none" lIns="0" rIns="0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>
              <a:spcBef>
                <a:spcPts val="600"/>
              </a:spcBef>
            </a:pPr>
            <a:r>
              <a:rPr lang="en-US" sz="1200" b="1" dirty="0">
                <a:ln w="3175" cmpd="sng">
                  <a:noFill/>
                  <a:prstDash val="solid"/>
                </a:ln>
                <a:solidFill>
                  <a:srgbClr val="0AF00A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$</a:t>
            </a:r>
            <a:r>
              <a:rPr lang="ru-RU" sz="200" b="1" dirty="0" smtClean="0">
                <a:ln w="3175" cmpd="sng">
                  <a:noFill/>
                  <a:prstDash val="solid"/>
                </a:ln>
                <a:solidFill>
                  <a:srgbClr val="0AF00A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ru-RU" sz="800" b="1" dirty="0" smtClean="0">
                <a:ln w="3175" cmpd="sng">
                  <a:noFill/>
                  <a:prstDash val="solid"/>
                </a:ln>
                <a:solidFill>
                  <a:srgbClr val="0AF00A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скв</a:t>
            </a:r>
            <a:endParaRPr lang="ru-RU" sz="1200" b="1" dirty="0" smtClean="0">
              <a:ln w="3175" cmpd="sng">
                <a:noFill/>
                <a:prstDash val="solid"/>
              </a:ln>
              <a:solidFill>
                <a:srgbClr val="0AF00A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177318" y="1256498"/>
            <a:ext cx="200376" cy="276999"/>
          </a:xfrm>
          <a:prstGeom prst="rect">
            <a:avLst/>
          </a:prstGeom>
          <a:noFill/>
        </p:spPr>
        <p:txBody>
          <a:bodyPr wrap="none" lIns="0" rIns="0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>
              <a:spcBef>
                <a:spcPts val="600"/>
              </a:spcBef>
            </a:pPr>
            <a:r>
              <a:rPr lang="el-GR" sz="1050" b="1" dirty="0" smtClean="0">
                <a:ln w="3175" cmpd="sng">
                  <a:noFill/>
                  <a:prstDash val="solid"/>
                </a:ln>
                <a:solidFill>
                  <a:srgbClr val="0AF00A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Σ</a:t>
            </a:r>
            <a:r>
              <a:rPr lang="en-US" sz="1200" b="1" dirty="0" smtClean="0">
                <a:ln w="3175" cmpd="sng">
                  <a:noFill/>
                  <a:prstDash val="solid"/>
                </a:ln>
                <a:solidFill>
                  <a:srgbClr val="0AF00A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Q</a:t>
            </a:r>
            <a:endParaRPr lang="ru-RU" sz="1200" b="1" dirty="0" smtClean="0">
              <a:ln w="3175" cmpd="sng">
                <a:noFill/>
                <a:prstDash val="solid"/>
              </a:ln>
              <a:solidFill>
                <a:srgbClr val="0AF00A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417193" y="1190903"/>
            <a:ext cx="45719" cy="45719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93" name="Рисунок 9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545" y="1792915"/>
            <a:ext cx="251606" cy="25160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545" y="2463738"/>
            <a:ext cx="251606" cy="251607"/>
          </a:xfrm>
          <a:prstGeom prst="rect">
            <a:avLst/>
          </a:prstGeom>
        </p:spPr>
      </p:pic>
      <p:pic>
        <p:nvPicPr>
          <p:cNvPr id="95" name="Рисунок 9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586" y="2463738"/>
            <a:ext cx="251606" cy="251607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545" y="3553964"/>
            <a:ext cx="251606" cy="251607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586" y="3553964"/>
            <a:ext cx="251606" cy="251607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545" y="4022017"/>
            <a:ext cx="251606" cy="251607"/>
          </a:xfrm>
          <a:prstGeom prst="rect">
            <a:avLst/>
          </a:prstGeom>
        </p:spPr>
      </p:pic>
      <p:pic>
        <p:nvPicPr>
          <p:cNvPr id="100" name="Рисунок 9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586" y="2952562"/>
            <a:ext cx="251606" cy="251607"/>
          </a:xfrm>
          <a:prstGeom prst="rect">
            <a:avLst/>
          </a:prstGeom>
        </p:spPr>
      </p:pic>
      <p:sp>
        <p:nvSpPr>
          <p:cNvPr id="101" name="TextBox 100"/>
          <p:cNvSpPr txBox="1"/>
          <p:nvPr/>
        </p:nvSpPr>
        <p:spPr>
          <a:xfrm>
            <a:off x="5543550" y="2281708"/>
            <a:ext cx="3305175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700" dirty="0" smtClean="0"/>
              <a:t>СКОРОСТЬ </a:t>
            </a:r>
            <a:r>
              <a:rPr lang="ru-RU" sz="700" dirty="0"/>
              <a:t>ЗАКАЧКИ </a:t>
            </a:r>
            <a:r>
              <a:rPr lang="ru-RU" sz="700" dirty="0" smtClean="0"/>
              <a:t>ГРП</a:t>
            </a:r>
            <a:r>
              <a:rPr lang="en-US" sz="700" dirty="0" smtClean="0"/>
              <a:t> 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(+165 млн.руб.)</a:t>
            </a:r>
          </a:p>
          <a:p>
            <a:pPr>
              <a:lnSpc>
                <a:spcPct val="150000"/>
              </a:lnSpc>
            </a:pPr>
            <a:r>
              <a:rPr lang="ru-RU" sz="700" dirty="0" smtClean="0">
                <a:latin typeface="Arial" pitchFamily="34" charset="0"/>
                <a:cs typeface="Arial" pitchFamily="34" charset="0"/>
              </a:rPr>
              <a:t>ВЯЗКОСТЬ </a:t>
            </a:r>
            <a:r>
              <a:rPr lang="ru-RU" sz="700" dirty="0">
                <a:latin typeface="Arial" pitchFamily="34" charset="0"/>
                <a:cs typeface="Arial" pitchFamily="34" charset="0"/>
              </a:rPr>
              <a:t>ЖИДКОСТИ 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ГРП (+10 млн.руб.)</a:t>
            </a:r>
          </a:p>
          <a:p>
            <a:pPr>
              <a:lnSpc>
                <a:spcPct val="150000"/>
              </a:lnSpc>
            </a:pPr>
            <a:r>
              <a:rPr lang="ru-RU" sz="700" dirty="0" smtClean="0">
                <a:latin typeface="Arial" pitchFamily="34" charset="0"/>
                <a:cs typeface="Arial" pitchFamily="34" charset="0"/>
              </a:rPr>
              <a:t>СОВМЕСТИМОСТЬ </a:t>
            </a:r>
            <a:r>
              <a:rPr lang="ru-RU" sz="700" dirty="0">
                <a:latin typeface="Arial" pitchFamily="34" charset="0"/>
                <a:cs typeface="Arial" pitchFamily="34" charset="0"/>
              </a:rPr>
              <a:t>ЖИДКОСТИ ГРП С КОЛЛЕКТОРОМ 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(+50 млн.руб.)</a:t>
            </a:r>
          </a:p>
          <a:p>
            <a:pPr>
              <a:lnSpc>
                <a:spcPct val="150000"/>
              </a:lnSpc>
            </a:pPr>
            <a:r>
              <a:rPr lang="ru-RU" sz="700" dirty="0" smtClean="0">
                <a:latin typeface="Arial" pitchFamily="34" charset="0"/>
                <a:cs typeface="Arial" pitchFamily="34" charset="0"/>
              </a:rPr>
              <a:t>ПЛОТНОСТЬ ПЕРФОРАЦИИ (+50 млн.руб.)</a:t>
            </a:r>
          </a:p>
          <a:p>
            <a:pPr>
              <a:lnSpc>
                <a:spcPct val="150000"/>
              </a:lnSpc>
            </a:pPr>
            <a:r>
              <a:rPr lang="ru-RU" sz="700" dirty="0" smtClean="0">
                <a:latin typeface="Arial" pitchFamily="34" charset="0"/>
                <a:cs typeface="Arial" pitchFamily="34" charset="0"/>
              </a:rPr>
              <a:t>ДЛИНА </a:t>
            </a:r>
            <a:r>
              <a:rPr lang="ru-RU" sz="700" dirty="0">
                <a:latin typeface="Arial" pitchFamily="34" charset="0"/>
                <a:cs typeface="Arial" pitchFamily="34" charset="0"/>
              </a:rPr>
              <a:t>СТАДИИ 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ГРП </a:t>
            </a:r>
            <a:r>
              <a:rPr lang="en-US" sz="7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(+50 млн.руб.)</a:t>
            </a:r>
          </a:p>
          <a:p>
            <a:pPr>
              <a:lnSpc>
                <a:spcPct val="150000"/>
              </a:lnSpc>
            </a:pPr>
            <a:r>
              <a:rPr lang="ru-RU" sz="700" dirty="0" smtClean="0"/>
              <a:t>ДЛИНА ГС 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(+50  </a:t>
            </a:r>
            <a:r>
              <a:rPr lang="ru-RU" sz="700" dirty="0"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.)</a:t>
            </a:r>
          </a:p>
          <a:p>
            <a:endParaRPr lang="ru-RU" sz="700" b="1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700" b="1" dirty="0" smtClean="0">
                <a:latin typeface="Arial" pitchFamily="34" charset="0"/>
                <a:cs typeface="Arial" pitchFamily="34" charset="0"/>
              </a:rPr>
              <a:t>Маркетинговая стратегия + оптимизация технологий (-250 млн.руб.) </a:t>
            </a:r>
            <a:endParaRPr lang="ru-RU" sz="700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2" name="Диаграмма 10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9121089"/>
              </p:ext>
            </p:extLst>
          </p:nvPr>
        </p:nvGraphicFramePr>
        <p:xfrm>
          <a:off x="5492624" y="3351604"/>
          <a:ext cx="3356105" cy="10875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3" name="TextBox 6"/>
          <p:cNvSpPr txBox="1"/>
          <p:nvPr/>
        </p:nvSpPr>
        <p:spPr>
          <a:xfrm>
            <a:off x="5770307" y="3537605"/>
            <a:ext cx="1383165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800"/>
              </a:spcBef>
            </a:pPr>
            <a:r>
              <a:rPr lang="ru-RU" sz="600" b="1" dirty="0" smtClean="0"/>
              <a:t>Добыча нефти на одну скв., тыс.т.</a:t>
            </a:r>
          </a:p>
        </p:txBody>
      </p:sp>
      <p:graphicFrame>
        <p:nvGraphicFramePr>
          <p:cNvPr id="104" name="Таблица 1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3112081"/>
              </p:ext>
            </p:extLst>
          </p:nvPr>
        </p:nvGraphicFramePr>
        <p:xfrm>
          <a:off x="5725975" y="4427342"/>
          <a:ext cx="3122750" cy="422473"/>
        </p:xfrm>
        <a:graphic>
          <a:graphicData uri="http://schemas.openxmlformats.org/drawingml/2006/table">
            <a:tbl>
              <a:tblPr/>
              <a:tblGrid>
                <a:gridCol w="5102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02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02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02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02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139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247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Потенциал</a:t>
                      </a:r>
                    </a:p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  <a:r>
                        <a:rPr lang="ru-RU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ГРП</a:t>
                      </a:r>
                      <a:endParaRPr lang="ru-RU" sz="5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904" marR="9904" marT="990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ГС 1000 м, </a:t>
                      </a:r>
                    </a:p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0 МГРП</a:t>
                      </a:r>
                    </a:p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Коэфф. 0,5</a:t>
                      </a:r>
                      <a:endParaRPr lang="ru-RU" sz="5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904" marR="9904" marT="990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Потенциал текущей технологии</a:t>
                      </a:r>
                      <a:endParaRPr lang="ru-RU" sz="5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904" marR="9904" marT="990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величение длины ГС</a:t>
                      </a:r>
                    </a:p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ГС</a:t>
                      </a:r>
                      <a:r>
                        <a:rPr lang="ru-RU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1500м,</a:t>
                      </a:r>
                    </a:p>
                    <a:p>
                      <a:pPr algn="ctr" rtl="0" fontAlgn="ctr"/>
                      <a:r>
                        <a:rPr lang="ru-RU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5 МГРП,</a:t>
                      </a:r>
                    </a:p>
                    <a:p>
                      <a:pPr algn="ctr" rtl="0" fontAlgn="ctr"/>
                      <a:r>
                        <a:rPr lang="ru-RU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Коэфф 0,5</a:t>
                      </a:r>
                      <a:endParaRPr lang="ru-RU" sz="5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904" marR="9904" marT="990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ластерный ГРП</a:t>
                      </a:r>
                    </a:p>
                    <a:p>
                      <a:pPr algn="ctr" rtl="0" fontAlgn="ctr"/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С</a:t>
                      </a:r>
                      <a:r>
                        <a:rPr lang="ru-RU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500м, </a:t>
                      </a:r>
                    </a:p>
                    <a:p>
                      <a:pPr algn="ctr" rtl="0" fontAlgn="ctr"/>
                      <a:r>
                        <a:rPr lang="ru-RU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 МГРП,</a:t>
                      </a:r>
                    </a:p>
                    <a:p>
                      <a:pPr algn="ctr" rtl="0" fontAlgn="ctr"/>
                      <a:r>
                        <a:rPr lang="ru-RU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эфф 0,8</a:t>
                      </a:r>
                      <a:endParaRPr lang="ru-RU" sz="5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904" marR="9904" marT="990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Добыча </a:t>
                      </a:r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при</a:t>
                      </a:r>
                      <a:r>
                        <a:rPr lang="en-US" sz="5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реализованной тех. стратегии </a:t>
                      </a:r>
                      <a:r>
                        <a:rPr lang="ru-RU" sz="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НТР</a:t>
                      </a:r>
                    </a:p>
                  </a:txBody>
                  <a:tcPr marL="9904" marR="9904" marT="990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6" name="Диаграмма 10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5297653"/>
              </p:ext>
            </p:extLst>
          </p:nvPr>
        </p:nvGraphicFramePr>
        <p:xfrm>
          <a:off x="5429250" y="725426"/>
          <a:ext cx="3427730" cy="1704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2986108" y="1013608"/>
            <a:ext cx="2583963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700" dirty="0" smtClean="0">
                <a:latin typeface="Arial" pitchFamily="34" charset="0"/>
                <a:cs typeface="Arial" pitchFamily="34" charset="0"/>
              </a:rPr>
              <a:t>Преодоление вызовов через технологические проекты</a:t>
            </a:r>
            <a:endParaRPr lang="ru-RU" sz="7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879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778" y="1287343"/>
            <a:ext cx="1072294" cy="1381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215909"/>
              </p:ext>
            </p:extLst>
          </p:nvPr>
        </p:nvGraphicFramePr>
        <p:xfrm>
          <a:off x="287338" y="2688273"/>
          <a:ext cx="6203219" cy="227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97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00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80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939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14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4239"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dirty="0" smtClean="0"/>
                        <a:t>ГИПОТЕЗА</a:t>
                      </a:r>
                      <a:endParaRPr lang="ru-RU" sz="700" dirty="0"/>
                    </a:p>
                  </a:txBody>
                  <a:tcPr marL="36000" marR="36000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700" dirty="0"/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/>
                        <a:t>ДЕЙСТВИЯ</a:t>
                      </a:r>
                      <a:endParaRPr lang="ru-RU" sz="700" dirty="0"/>
                    </a:p>
                  </a:txBody>
                  <a:tcPr marL="36000" marR="36000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aseline="0" dirty="0" smtClean="0"/>
                        <a:t>ПАРАМЕТР</a:t>
                      </a:r>
                      <a:endParaRPr lang="ru-RU" sz="700" dirty="0"/>
                    </a:p>
                  </a:txBody>
                  <a:tcPr marL="36000" marR="36000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/>
                        <a:t>ЭКСПЕРИМЕНТ</a:t>
                      </a:r>
                      <a:r>
                        <a:rPr lang="en-US" sz="700" dirty="0" smtClean="0"/>
                        <a:t> * </a:t>
                      </a:r>
                      <a:endParaRPr lang="ru-RU" sz="700" dirty="0"/>
                    </a:p>
                  </a:txBody>
                  <a:tcPr marL="36000" marR="36000"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0133">
                <a:tc rowSpan="5">
                  <a:txBody>
                    <a:bodyPr/>
                    <a:lstStyle/>
                    <a:p>
                      <a:endParaRPr lang="ru-RU" sz="700" dirty="0"/>
                    </a:p>
                  </a:txBody>
                  <a:tcPr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СКОРОСТЬ ЗАКАЧКИ ГРП</a:t>
                      </a:r>
                      <a:endParaRPr lang="ru-RU" sz="700" dirty="0"/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/>
                        <a:t>Оценить</a:t>
                      </a:r>
                      <a:r>
                        <a:rPr lang="ru-RU" sz="600" baseline="0" dirty="0" smtClean="0"/>
                        <a:t> количество инициируемых и закрепляемых проппантом искусственных трещин</a:t>
                      </a:r>
                      <a:endParaRPr lang="ru-RU" sz="600" dirty="0" smtClean="0"/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 smtClean="0"/>
                        <a:t>8 м</a:t>
                      </a:r>
                      <a:r>
                        <a:rPr lang="ru-RU" sz="600" baseline="30000" dirty="0" smtClean="0"/>
                        <a:t>3</a:t>
                      </a:r>
                      <a:r>
                        <a:rPr lang="ru-RU" sz="600" dirty="0" smtClean="0"/>
                        <a:t>/мин, 10 м</a:t>
                      </a:r>
                      <a:r>
                        <a:rPr lang="ru-RU" sz="600" baseline="30000" dirty="0" smtClean="0"/>
                        <a:t>3</a:t>
                      </a:r>
                      <a:r>
                        <a:rPr lang="ru-RU" sz="600" dirty="0" smtClean="0"/>
                        <a:t>/мин,</a:t>
                      </a:r>
                      <a:r>
                        <a:rPr lang="en-US" sz="600" dirty="0" smtClean="0"/>
                        <a:t> </a:t>
                      </a:r>
                      <a:endParaRPr lang="ru-RU" sz="600" dirty="0" smtClean="0"/>
                    </a:p>
                    <a:p>
                      <a:r>
                        <a:rPr lang="ru-RU" sz="600" dirty="0" smtClean="0"/>
                        <a:t>12 м</a:t>
                      </a:r>
                      <a:r>
                        <a:rPr lang="ru-RU" sz="600" baseline="30000" dirty="0" smtClean="0"/>
                        <a:t>3</a:t>
                      </a:r>
                      <a:r>
                        <a:rPr lang="ru-RU" sz="600" dirty="0" smtClean="0"/>
                        <a:t>/мин, 14 м</a:t>
                      </a:r>
                      <a:r>
                        <a:rPr lang="ru-RU" sz="600" baseline="30000" dirty="0" smtClean="0"/>
                        <a:t>3</a:t>
                      </a:r>
                      <a:r>
                        <a:rPr lang="ru-RU" sz="600" dirty="0" smtClean="0"/>
                        <a:t>/мин,</a:t>
                      </a:r>
                    </a:p>
                    <a:p>
                      <a:r>
                        <a:rPr lang="ru-RU" sz="600" dirty="0" smtClean="0"/>
                        <a:t>16 м</a:t>
                      </a:r>
                      <a:r>
                        <a:rPr lang="ru-RU" sz="600" baseline="30000" dirty="0" smtClean="0"/>
                        <a:t>3</a:t>
                      </a:r>
                      <a:r>
                        <a:rPr lang="ru-RU" sz="600" dirty="0" smtClean="0"/>
                        <a:t>/мин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/>
                        <a:t>15 СКВАЖИН</a:t>
                      </a:r>
                    </a:p>
                  </a:txBody>
                  <a:tcPr marL="72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0133">
                <a:tc vMerge="1">
                  <a:txBody>
                    <a:bodyPr/>
                    <a:lstStyle/>
                    <a:p>
                      <a:endParaRPr lang="ru-RU" sz="700" dirty="0"/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ВЯЗКОСТЬ ЖИДКОСТИ ГРП</a:t>
                      </a:r>
                      <a:endParaRPr lang="ru-RU" sz="700" dirty="0"/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/>
                        <a:t>Определить</a:t>
                      </a:r>
                      <a:r>
                        <a:rPr lang="ru-RU" sz="600" baseline="0" dirty="0" smtClean="0"/>
                        <a:t> глубину стимулируемой зоны в зависимости от реологии жидкости</a:t>
                      </a:r>
                      <a:endParaRPr lang="ru-RU" sz="600" dirty="0" smtClean="0"/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 smtClean="0"/>
                        <a:t>Гелевая </a:t>
                      </a:r>
                      <a:r>
                        <a:rPr lang="en-US" sz="600" dirty="0" smtClean="0"/>
                        <a:t>(</a:t>
                      </a:r>
                      <a:r>
                        <a:rPr lang="ru-RU" sz="600" dirty="0" smtClean="0"/>
                        <a:t>стандарт)</a:t>
                      </a:r>
                      <a:r>
                        <a:rPr lang="en-US" sz="600" dirty="0" smtClean="0"/>
                        <a:t>, </a:t>
                      </a:r>
                    </a:p>
                    <a:p>
                      <a:r>
                        <a:rPr lang="ru-RU" sz="600" dirty="0" smtClean="0"/>
                        <a:t>Безгелевая (</a:t>
                      </a:r>
                      <a:r>
                        <a:rPr lang="en-US" sz="600" dirty="0" smtClean="0"/>
                        <a:t>Slick Water)</a:t>
                      </a:r>
                      <a:r>
                        <a:rPr lang="ru-RU" sz="600" dirty="0" smtClean="0"/>
                        <a:t>, </a:t>
                      </a:r>
                      <a:endParaRPr lang="en-US" sz="600" dirty="0" smtClean="0"/>
                    </a:p>
                    <a:p>
                      <a:r>
                        <a:rPr lang="ru-RU" sz="600" dirty="0" smtClean="0"/>
                        <a:t>Гибридная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9 СКВАЖИН</a:t>
                      </a:r>
                      <a:endParaRPr lang="ru-RU" sz="700" dirty="0"/>
                    </a:p>
                  </a:txBody>
                  <a:tcPr marL="72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0133">
                <a:tc vMerge="1">
                  <a:txBody>
                    <a:bodyPr/>
                    <a:lstStyle/>
                    <a:p>
                      <a:endParaRPr lang="ru-RU" sz="700" dirty="0"/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СОВМЕСТИМОСТЬ ЖИДКОСТИ ГРП С КОЛЛЕКТОРОМ</a:t>
                      </a:r>
                      <a:endParaRPr lang="ru-RU" sz="700" dirty="0"/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 smtClean="0"/>
                        <a:t>Оценить</a:t>
                      </a:r>
                      <a:r>
                        <a:rPr lang="ru-RU" sz="600" baseline="0" dirty="0" smtClean="0"/>
                        <a:t> влияние </a:t>
                      </a:r>
                      <a:r>
                        <a:rPr lang="ru-RU" sz="600" dirty="0" smtClean="0"/>
                        <a:t>состава</a:t>
                      </a:r>
                      <a:r>
                        <a:rPr lang="ru-RU" sz="600" baseline="0" dirty="0" smtClean="0"/>
                        <a:t> </a:t>
                      </a:r>
                      <a:r>
                        <a:rPr lang="ru-RU" sz="600" dirty="0" smtClean="0"/>
                        <a:t>жидкости на проводимость полученной системы трещин</a:t>
                      </a:r>
                      <a:r>
                        <a:rPr lang="ru-RU" sz="600" baseline="0" dirty="0" smtClean="0"/>
                        <a:t> и динамику технологических показателей</a:t>
                      </a:r>
                      <a:endParaRPr lang="ru-RU" sz="600" dirty="0"/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/>
                        <a:t>Нефть (ДТ, керосин), </a:t>
                      </a:r>
                      <a:br>
                        <a:rPr lang="ru-RU" sz="600" dirty="0" smtClean="0"/>
                      </a:br>
                      <a:r>
                        <a:rPr lang="ru-RU" sz="600" dirty="0" smtClean="0"/>
                        <a:t>Вода (гели, эмульсии), </a:t>
                      </a:r>
                      <a:br>
                        <a:rPr lang="ru-RU" sz="600" dirty="0" smtClean="0"/>
                      </a:br>
                      <a:r>
                        <a:rPr lang="ru-RU" sz="600" dirty="0" smtClean="0"/>
                        <a:t>Газ (</a:t>
                      </a:r>
                      <a:r>
                        <a:rPr lang="en-US" sz="600" dirty="0" smtClean="0"/>
                        <a:t>CO</a:t>
                      </a:r>
                      <a:r>
                        <a:rPr lang="en-US" sz="600" baseline="-25000" dirty="0" smtClean="0"/>
                        <a:t>2</a:t>
                      </a:r>
                      <a:r>
                        <a:rPr lang="ru-RU" sz="600" dirty="0" smtClean="0"/>
                        <a:t>, </a:t>
                      </a:r>
                      <a:r>
                        <a:rPr lang="en-US" sz="600" dirty="0" smtClean="0"/>
                        <a:t>N</a:t>
                      </a:r>
                      <a:r>
                        <a:rPr lang="en-US" sz="600" baseline="-25000" dirty="0" smtClean="0"/>
                        <a:t>2</a:t>
                      </a:r>
                      <a:r>
                        <a:rPr lang="en-US" sz="600" dirty="0" smtClean="0"/>
                        <a:t>)</a:t>
                      </a:r>
                      <a:endParaRPr lang="ru-RU" sz="600" dirty="0" smtClean="0"/>
                    </a:p>
                  </a:txBody>
                  <a:tcPr marL="36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9 СКВАЖИН</a:t>
                      </a:r>
                      <a:endParaRPr lang="ru-RU" sz="700" dirty="0"/>
                    </a:p>
                  </a:txBody>
                  <a:tcPr marL="72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1167">
                <a:tc vMerge="1">
                  <a:txBody>
                    <a:bodyPr/>
                    <a:lstStyle/>
                    <a:p>
                      <a:endParaRPr lang="ru-RU" sz="700" dirty="0"/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ПЛОТНОСТЬ ПЕРФОРАЦИИ</a:t>
                      </a:r>
                      <a:endParaRPr lang="ru-RU" sz="700" dirty="0"/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aseline="0" dirty="0" smtClean="0"/>
                        <a:t>Оценить оптимальное количество перфорационных отверстий для максимизации системы проводящих искусственных трещин</a:t>
                      </a:r>
                      <a:endParaRPr lang="ru-RU" sz="600" dirty="0"/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600" dirty="0" smtClean="0"/>
                        <a:t>2 </a:t>
                      </a:r>
                      <a:r>
                        <a:rPr lang="ru-RU" sz="600" dirty="0" smtClean="0"/>
                        <a:t>отв. / м. (муфта), </a:t>
                      </a:r>
                    </a:p>
                    <a:p>
                      <a:r>
                        <a:rPr lang="en-US" sz="600" dirty="0" smtClean="0"/>
                        <a:t>4</a:t>
                      </a:r>
                      <a:r>
                        <a:rPr lang="ru-RU" sz="600" dirty="0" smtClean="0"/>
                        <a:t> отв.</a:t>
                      </a:r>
                      <a:r>
                        <a:rPr lang="en-US" sz="600" dirty="0" smtClean="0"/>
                        <a:t> </a:t>
                      </a:r>
                      <a:r>
                        <a:rPr lang="ru-RU" sz="600" dirty="0" smtClean="0"/>
                        <a:t>/</a:t>
                      </a:r>
                      <a:r>
                        <a:rPr lang="en-US" sz="600" dirty="0" smtClean="0"/>
                        <a:t> </a:t>
                      </a:r>
                      <a:r>
                        <a:rPr lang="ru-RU" sz="600" dirty="0" smtClean="0"/>
                        <a:t>м., </a:t>
                      </a:r>
                    </a:p>
                    <a:p>
                      <a:r>
                        <a:rPr lang="en-US" sz="600" dirty="0" smtClean="0"/>
                        <a:t>8</a:t>
                      </a:r>
                      <a:r>
                        <a:rPr lang="ru-RU" sz="600" dirty="0" smtClean="0"/>
                        <a:t> отв. / м.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9 СКВАЖИН</a:t>
                      </a:r>
                      <a:endParaRPr lang="ru-RU" sz="700" dirty="0"/>
                    </a:p>
                  </a:txBody>
                  <a:tcPr marL="72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0633">
                <a:tc vMerge="1">
                  <a:txBody>
                    <a:bodyPr/>
                    <a:lstStyle/>
                    <a:p>
                      <a:endParaRPr lang="ru-RU" sz="700" dirty="0"/>
                    </a:p>
                  </a:txBody>
                  <a:tcPr anchor="ctr"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ДЛИНА СТАДИИ ГРП</a:t>
                      </a:r>
                      <a:endParaRPr lang="ru-RU" sz="700" dirty="0"/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00" baseline="0" dirty="0" smtClean="0"/>
                        <a:t>Подобрать длину стадии для оптимальной равномерной стимуляции ГС</a:t>
                      </a:r>
                      <a:endParaRPr lang="ru-RU" sz="600" dirty="0"/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/>
                        <a:t>20 м., 60 м., 100 м.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9 СКВАЖИН</a:t>
                      </a:r>
                      <a:endParaRPr lang="ru-RU" sz="700" dirty="0"/>
                    </a:p>
                  </a:txBody>
                  <a:tcPr marL="72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100">
                <a:tc>
                  <a:txBody>
                    <a:bodyPr/>
                    <a:lstStyle/>
                    <a:p>
                      <a:endParaRPr lang="ru-RU" sz="700" dirty="0"/>
                    </a:p>
                  </a:txBody>
                  <a:tcPr anchor="ctr"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ДЛИНА</a:t>
                      </a:r>
                      <a:r>
                        <a:rPr lang="ru-RU" sz="700" baseline="0" dirty="0" smtClean="0"/>
                        <a:t> ГС</a:t>
                      </a:r>
                      <a:endParaRPr lang="ru-RU" sz="700" dirty="0"/>
                    </a:p>
                  </a:txBody>
                  <a:tcPr marL="0" marR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00" dirty="0" smtClean="0"/>
                        <a:t>Определить</a:t>
                      </a:r>
                      <a:r>
                        <a:rPr lang="ru-RU" sz="600" baseline="0" dirty="0" smtClean="0"/>
                        <a:t> влияние количества </a:t>
                      </a:r>
                      <a:r>
                        <a:rPr lang="en-US" sz="600" baseline="0" dirty="0" smtClean="0"/>
                        <a:t>SRV </a:t>
                      </a:r>
                      <a:r>
                        <a:rPr lang="ru-RU" sz="600" baseline="0" dirty="0" smtClean="0"/>
                        <a:t>на прирост добычи скважины</a:t>
                      </a:r>
                      <a:endParaRPr lang="ru-RU" sz="600" dirty="0"/>
                    </a:p>
                  </a:txBody>
                  <a:tcPr marL="36000" marR="3600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/>
                        <a:t>1000 м., 1200 м., 1500 м.</a:t>
                      </a:r>
                    </a:p>
                  </a:txBody>
                  <a:tcPr marL="36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/>
                        <a:t>9 СКВАЖИН</a:t>
                      </a:r>
                      <a:endParaRPr lang="ru-RU" sz="700" dirty="0"/>
                    </a:p>
                  </a:txBody>
                  <a:tcPr marL="72000" marR="3600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9" y="87314"/>
            <a:ext cx="8569325" cy="612775"/>
          </a:xfrm>
        </p:spPr>
        <p:txBody>
          <a:bodyPr/>
          <a:lstStyle/>
          <a:p>
            <a:r>
              <a:rPr lang="ru-RU" sz="2000" dirty="0" smtClean="0"/>
              <a:t>Цель: создание стимулированного объема коллектора (</a:t>
            </a:r>
            <a:r>
              <a:rPr lang="en-US" sz="2000" dirty="0" smtClean="0"/>
              <a:t>SRV</a:t>
            </a:r>
            <a:r>
              <a:rPr lang="ru-RU" sz="2000" dirty="0" smtClean="0"/>
              <a:t>) </a:t>
            </a:r>
            <a:br>
              <a:rPr lang="ru-RU" sz="2000" dirty="0" smtClean="0"/>
            </a:br>
            <a:r>
              <a:rPr lang="ru-RU" sz="1600" dirty="0" smtClean="0"/>
              <a:t>позволяющего экономически эффективно извлекать УВ из </a:t>
            </a:r>
            <a:r>
              <a:rPr lang="ru-RU" sz="1600" dirty="0" err="1" smtClean="0"/>
              <a:t>Бажена</a:t>
            </a:r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143508" y="1249042"/>
            <a:ext cx="2914319" cy="1587653"/>
            <a:chOff x="3598034" y="731043"/>
            <a:chExt cx="1640988" cy="1016000"/>
          </a:xfrm>
        </p:grpSpPr>
        <p:sp>
          <p:nvSpPr>
            <p:cNvPr id="4" name="Прямоугольник 2"/>
            <p:cNvSpPr/>
            <p:nvPr/>
          </p:nvSpPr>
          <p:spPr>
            <a:xfrm>
              <a:off x="4067956" y="873759"/>
              <a:ext cx="348615" cy="644155"/>
            </a:xfrm>
            <a:custGeom>
              <a:avLst/>
              <a:gdLst>
                <a:gd name="connsiteX0" fmla="*/ 0 w 348615"/>
                <a:gd name="connsiteY0" fmla="*/ 0 h 563404"/>
                <a:gd name="connsiteX1" fmla="*/ 348615 w 348615"/>
                <a:gd name="connsiteY1" fmla="*/ 0 h 563404"/>
                <a:gd name="connsiteX2" fmla="*/ 348615 w 348615"/>
                <a:gd name="connsiteY2" fmla="*/ 563404 h 563404"/>
                <a:gd name="connsiteX3" fmla="*/ 0 w 348615"/>
                <a:gd name="connsiteY3" fmla="*/ 563404 h 563404"/>
                <a:gd name="connsiteX4" fmla="*/ 0 w 348615"/>
                <a:gd name="connsiteY4" fmla="*/ 0 h 563404"/>
                <a:gd name="connsiteX0" fmla="*/ 0 w 348615"/>
                <a:gd name="connsiteY0" fmla="*/ 46196 h 609600"/>
                <a:gd name="connsiteX1" fmla="*/ 93821 w 348615"/>
                <a:gd name="connsiteY1" fmla="*/ 0 h 609600"/>
                <a:gd name="connsiteX2" fmla="*/ 348615 w 348615"/>
                <a:gd name="connsiteY2" fmla="*/ 46196 h 609600"/>
                <a:gd name="connsiteX3" fmla="*/ 348615 w 348615"/>
                <a:gd name="connsiteY3" fmla="*/ 609600 h 609600"/>
                <a:gd name="connsiteX4" fmla="*/ 0 w 348615"/>
                <a:gd name="connsiteY4" fmla="*/ 609600 h 609600"/>
                <a:gd name="connsiteX5" fmla="*/ 0 w 348615"/>
                <a:gd name="connsiteY5" fmla="*/ 46196 h 609600"/>
                <a:gd name="connsiteX0" fmla="*/ 0 w 348615"/>
                <a:gd name="connsiteY0" fmla="*/ 47365 h 610769"/>
                <a:gd name="connsiteX1" fmla="*/ 93821 w 348615"/>
                <a:gd name="connsiteY1" fmla="*/ 1169 h 610769"/>
                <a:gd name="connsiteX2" fmla="*/ 348615 w 348615"/>
                <a:gd name="connsiteY2" fmla="*/ 47365 h 610769"/>
                <a:gd name="connsiteX3" fmla="*/ 348615 w 348615"/>
                <a:gd name="connsiteY3" fmla="*/ 610769 h 610769"/>
                <a:gd name="connsiteX4" fmla="*/ 0 w 348615"/>
                <a:gd name="connsiteY4" fmla="*/ 610769 h 610769"/>
                <a:gd name="connsiteX5" fmla="*/ 0 w 348615"/>
                <a:gd name="connsiteY5" fmla="*/ 47365 h 610769"/>
                <a:gd name="connsiteX0" fmla="*/ 0 w 348615"/>
                <a:gd name="connsiteY0" fmla="*/ 53105 h 610769"/>
                <a:gd name="connsiteX1" fmla="*/ 93821 w 348615"/>
                <a:gd name="connsiteY1" fmla="*/ 1169 h 610769"/>
                <a:gd name="connsiteX2" fmla="*/ 348615 w 348615"/>
                <a:gd name="connsiteY2" fmla="*/ 47365 h 610769"/>
                <a:gd name="connsiteX3" fmla="*/ 348615 w 348615"/>
                <a:gd name="connsiteY3" fmla="*/ 610769 h 610769"/>
                <a:gd name="connsiteX4" fmla="*/ 0 w 348615"/>
                <a:gd name="connsiteY4" fmla="*/ 610769 h 610769"/>
                <a:gd name="connsiteX5" fmla="*/ 0 w 348615"/>
                <a:gd name="connsiteY5" fmla="*/ 53105 h 610769"/>
                <a:gd name="connsiteX0" fmla="*/ 0 w 348615"/>
                <a:gd name="connsiteY0" fmla="*/ 53105 h 610769"/>
                <a:gd name="connsiteX1" fmla="*/ 93821 w 348615"/>
                <a:gd name="connsiteY1" fmla="*/ 1169 h 610769"/>
                <a:gd name="connsiteX2" fmla="*/ 348615 w 348615"/>
                <a:gd name="connsiteY2" fmla="*/ 47365 h 610769"/>
                <a:gd name="connsiteX3" fmla="*/ 348615 w 348615"/>
                <a:gd name="connsiteY3" fmla="*/ 610769 h 610769"/>
                <a:gd name="connsiteX4" fmla="*/ 0 w 348615"/>
                <a:gd name="connsiteY4" fmla="*/ 610769 h 610769"/>
                <a:gd name="connsiteX5" fmla="*/ 0 w 348615"/>
                <a:gd name="connsiteY5" fmla="*/ 53105 h 610769"/>
                <a:gd name="connsiteX0" fmla="*/ 1341 w 348615"/>
                <a:gd name="connsiteY0" fmla="*/ 55975 h 610769"/>
                <a:gd name="connsiteX1" fmla="*/ 93821 w 348615"/>
                <a:gd name="connsiteY1" fmla="*/ 1169 h 610769"/>
                <a:gd name="connsiteX2" fmla="*/ 348615 w 348615"/>
                <a:gd name="connsiteY2" fmla="*/ 47365 h 610769"/>
                <a:gd name="connsiteX3" fmla="*/ 348615 w 348615"/>
                <a:gd name="connsiteY3" fmla="*/ 610769 h 610769"/>
                <a:gd name="connsiteX4" fmla="*/ 0 w 348615"/>
                <a:gd name="connsiteY4" fmla="*/ 610769 h 610769"/>
                <a:gd name="connsiteX5" fmla="*/ 1341 w 348615"/>
                <a:gd name="connsiteY5" fmla="*/ 55975 h 610769"/>
                <a:gd name="connsiteX0" fmla="*/ 1341 w 348615"/>
                <a:gd name="connsiteY0" fmla="*/ 55975 h 610769"/>
                <a:gd name="connsiteX1" fmla="*/ 93821 w 348615"/>
                <a:gd name="connsiteY1" fmla="*/ 1169 h 610769"/>
                <a:gd name="connsiteX2" fmla="*/ 348615 w 348615"/>
                <a:gd name="connsiteY2" fmla="*/ 47365 h 610769"/>
                <a:gd name="connsiteX3" fmla="*/ 348615 w 348615"/>
                <a:gd name="connsiteY3" fmla="*/ 610769 h 610769"/>
                <a:gd name="connsiteX4" fmla="*/ 0 w 348615"/>
                <a:gd name="connsiteY4" fmla="*/ 610769 h 610769"/>
                <a:gd name="connsiteX5" fmla="*/ 1341 w 348615"/>
                <a:gd name="connsiteY5" fmla="*/ 55975 h 610769"/>
                <a:gd name="connsiteX0" fmla="*/ 1341 w 348615"/>
                <a:gd name="connsiteY0" fmla="*/ 51792 h 606586"/>
                <a:gd name="connsiteX1" fmla="*/ 93821 w 348615"/>
                <a:gd name="connsiteY1" fmla="*/ 1291 h 606586"/>
                <a:gd name="connsiteX2" fmla="*/ 348615 w 348615"/>
                <a:gd name="connsiteY2" fmla="*/ 43182 h 606586"/>
                <a:gd name="connsiteX3" fmla="*/ 348615 w 348615"/>
                <a:gd name="connsiteY3" fmla="*/ 606586 h 606586"/>
                <a:gd name="connsiteX4" fmla="*/ 0 w 348615"/>
                <a:gd name="connsiteY4" fmla="*/ 606586 h 606586"/>
                <a:gd name="connsiteX5" fmla="*/ 1341 w 348615"/>
                <a:gd name="connsiteY5" fmla="*/ 51792 h 606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615" h="606586">
                  <a:moveTo>
                    <a:pt x="1341" y="51792"/>
                  </a:moveTo>
                  <a:cubicBezTo>
                    <a:pt x="32916" y="22774"/>
                    <a:pt x="64928" y="1608"/>
                    <a:pt x="93821" y="1291"/>
                  </a:cubicBezTo>
                  <a:cubicBezTo>
                    <a:pt x="197802" y="-7122"/>
                    <a:pt x="263684" y="27783"/>
                    <a:pt x="348615" y="43182"/>
                  </a:cubicBezTo>
                  <a:lnTo>
                    <a:pt x="348615" y="606586"/>
                  </a:lnTo>
                  <a:lnTo>
                    <a:pt x="0" y="606586"/>
                  </a:lnTo>
                  <a:lnTo>
                    <a:pt x="1341" y="51792"/>
                  </a:lnTo>
                  <a:close/>
                </a:path>
              </a:pathLst>
            </a:custGeom>
            <a:pattFill prst="wdUpDiag">
              <a:fgClr>
                <a:schemeClr val="accent1"/>
              </a:fgClr>
              <a:bgClr>
                <a:schemeClr val="bg1"/>
              </a:bgClr>
            </a:patt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graphicFrame>
          <p:nvGraphicFramePr>
            <p:cNvPr id="5" name="Диаграмма 4"/>
            <p:cNvGraphicFramePr/>
            <p:nvPr>
              <p:extLst>
                <p:ext uri="{D42A27DB-BD31-4B8C-83A1-F6EECF244321}">
                  <p14:modId xmlns:p14="http://schemas.microsoft.com/office/powerpoint/2010/main" val="2436391145"/>
                </p:ext>
              </p:extLst>
            </p:nvPr>
          </p:nvGraphicFramePr>
          <p:xfrm>
            <a:off x="3598034" y="731043"/>
            <a:ext cx="1640988" cy="101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1785197629"/>
              </p:ext>
            </p:extLst>
          </p:nvPr>
        </p:nvGraphicFramePr>
        <p:xfrm>
          <a:off x="3599892" y="1222123"/>
          <a:ext cx="2534163" cy="1487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Полилиния 19"/>
          <p:cNvSpPr/>
          <p:nvPr/>
        </p:nvSpPr>
        <p:spPr>
          <a:xfrm>
            <a:off x="3836240" y="1784094"/>
            <a:ext cx="1504937" cy="671665"/>
          </a:xfrm>
          <a:custGeom>
            <a:avLst/>
            <a:gdLst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909637"/>
              <a:gd name="connsiteY0" fmla="*/ 409575 h 409575"/>
              <a:gd name="connsiteX1" fmla="*/ 909637 w 909637"/>
              <a:gd name="connsiteY1" fmla="*/ 0 h 409575"/>
              <a:gd name="connsiteX0" fmla="*/ 0 w 892687"/>
              <a:gd name="connsiteY0" fmla="*/ 406692 h 406692"/>
              <a:gd name="connsiteX1" fmla="*/ 892687 w 892687"/>
              <a:gd name="connsiteY1" fmla="*/ 0 h 406692"/>
              <a:gd name="connsiteX0" fmla="*/ 0 w 892687"/>
              <a:gd name="connsiteY0" fmla="*/ 406692 h 406692"/>
              <a:gd name="connsiteX1" fmla="*/ 892687 w 892687"/>
              <a:gd name="connsiteY1" fmla="*/ 0 h 406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92687" h="406692">
                <a:moveTo>
                  <a:pt x="0" y="406692"/>
                </a:moveTo>
                <a:cubicBezTo>
                  <a:pt x="203200" y="222542"/>
                  <a:pt x="348723" y="30561"/>
                  <a:pt x="892687" y="0"/>
                </a:cubicBezTo>
              </a:path>
            </a:pathLst>
          </a:custGeom>
          <a:noFill/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Полилиния 20"/>
          <p:cNvSpPr/>
          <p:nvPr/>
        </p:nvSpPr>
        <p:spPr>
          <a:xfrm>
            <a:off x="3836241" y="1944507"/>
            <a:ext cx="1517454" cy="511251"/>
          </a:xfrm>
          <a:custGeom>
            <a:avLst/>
            <a:gdLst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909637"/>
              <a:gd name="connsiteY0" fmla="*/ 409575 h 409575"/>
              <a:gd name="connsiteX1" fmla="*/ 909637 w 909637"/>
              <a:gd name="connsiteY1" fmla="*/ 0 h 409575"/>
              <a:gd name="connsiteX0" fmla="*/ 0 w 900112"/>
              <a:gd name="connsiteY0" fmla="*/ 309562 h 309562"/>
              <a:gd name="connsiteX1" fmla="*/ 900112 w 900112"/>
              <a:gd name="connsiteY1" fmla="*/ 0 h 309562"/>
              <a:gd name="connsiteX0" fmla="*/ 0 w 900112"/>
              <a:gd name="connsiteY0" fmla="*/ 309562 h 309562"/>
              <a:gd name="connsiteX1" fmla="*/ 900112 w 900112"/>
              <a:gd name="connsiteY1" fmla="*/ 0 h 309562"/>
              <a:gd name="connsiteX0" fmla="*/ 0 w 900112"/>
              <a:gd name="connsiteY0" fmla="*/ 309562 h 309562"/>
              <a:gd name="connsiteX1" fmla="*/ 900112 w 900112"/>
              <a:gd name="connsiteY1" fmla="*/ 0 h 30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00112" h="309562">
                <a:moveTo>
                  <a:pt x="0" y="309562"/>
                </a:moveTo>
                <a:cubicBezTo>
                  <a:pt x="203200" y="125412"/>
                  <a:pt x="558216" y="5383"/>
                  <a:pt x="900112" y="0"/>
                </a:cubicBezTo>
              </a:path>
            </a:pathLst>
          </a:custGeom>
          <a:noFill/>
          <a:ln w="19050">
            <a:solidFill>
              <a:srgbClr val="FF474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Полилиния 18"/>
          <p:cNvSpPr/>
          <p:nvPr/>
        </p:nvSpPr>
        <p:spPr>
          <a:xfrm>
            <a:off x="3836241" y="1637755"/>
            <a:ext cx="1509426" cy="818003"/>
          </a:xfrm>
          <a:custGeom>
            <a:avLst/>
            <a:gdLst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  <a:gd name="connsiteX0" fmla="*/ 0 w 895350"/>
              <a:gd name="connsiteY0" fmla="*/ 495300 h 495300"/>
              <a:gd name="connsiteX1" fmla="*/ 895350 w 895350"/>
              <a:gd name="connsiteY1" fmla="*/ 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95350" h="495300">
                <a:moveTo>
                  <a:pt x="0" y="495300"/>
                </a:moveTo>
                <a:cubicBezTo>
                  <a:pt x="203200" y="311150"/>
                  <a:pt x="224938" y="44148"/>
                  <a:pt x="895350" y="0"/>
                </a:cubicBezTo>
              </a:path>
            </a:pathLst>
          </a:custGeom>
          <a:noFill/>
          <a:ln w="19050">
            <a:solidFill>
              <a:srgbClr val="89FF6D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3407645" y="774213"/>
            <a:ext cx="2484000" cy="576000"/>
          </a:xfrm>
          <a:prstGeom prst="rect">
            <a:avLst/>
          </a:prstGeom>
          <a:solidFill>
            <a:srgbClr val="004077">
              <a:alpha val="94902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600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800" dirty="0" smtClean="0"/>
              <a:t>Добыча нефти зависит от </a:t>
            </a:r>
            <a:r>
              <a:rPr lang="en-US" sz="800" dirty="0" smtClean="0"/>
              <a:t>SRV</a:t>
            </a:r>
            <a:endParaRPr lang="ru-RU" sz="800" dirty="0" smtClean="0"/>
          </a:p>
        </p:txBody>
      </p:sp>
      <p:sp>
        <p:nvSpPr>
          <p:cNvPr id="29" name="TextBox 28"/>
          <p:cNvSpPr txBox="1"/>
          <p:nvPr/>
        </p:nvSpPr>
        <p:spPr>
          <a:xfrm>
            <a:off x="287338" y="774213"/>
            <a:ext cx="2484000" cy="576000"/>
          </a:xfrm>
          <a:prstGeom prst="rect">
            <a:avLst/>
          </a:prstGeom>
          <a:solidFill>
            <a:srgbClr val="004077">
              <a:alpha val="94902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600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800" dirty="0" smtClean="0"/>
              <a:t>Диапазон экономической эффективности проекта</a:t>
            </a:r>
            <a:br>
              <a:rPr lang="ru-RU" sz="800" dirty="0" smtClean="0"/>
            </a:br>
            <a:r>
              <a:rPr lang="ru-RU" sz="800" dirty="0" smtClean="0"/>
              <a:t>зависит от добычи и затрат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347278" y="774213"/>
            <a:ext cx="2484000" cy="576000"/>
          </a:xfrm>
          <a:prstGeom prst="rect">
            <a:avLst/>
          </a:prstGeom>
          <a:solidFill>
            <a:srgbClr val="004077">
              <a:alpha val="94902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3600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800" dirty="0" smtClean="0"/>
              <a:t>SRV </a:t>
            </a:r>
            <a:r>
              <a:rPr lang="ru-RU" sz="800" dirty="0" smtClean="0"/>
              <a:t>зависит от комбинации технологических решений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250647" y="1080846"/>
            <a:ext cx="91403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050" b="1" dirty="0" smtClean="0">
                <a:solidFill>
                  <a:schemeClr val="bg1"/>
                </a:solidFill>
              </a:rPr>
              <a:t>Σ</a:t>
            </a:r>
            <a:r>
              <a:rPr lang="en-US" sz="1050" b="1" dirty="0" smtClean="0">
                <a:solidFill>
                  <a:schemeClr val="bg1"/>
                </a:solidFill>
              </a:rPr>
              <a:t>Q</a:t>
            </a:r>
            <a:r>
              <a:rPr lang="ru-RU" sz="1050" b="1" baseline="-25000" dirty="0" smtClean="0">
                <a:solidFill>
                  <a:schemeClr val="bg1"/>
                </a:solidFill>
              </a:rPr>
              <a:t>н</a:t>
            </a:r>
            <a:r>
              <a:rPr lang="en-US" sz="1050" b="1" dirty="0" smtClean="0">
                <a:solidFill>
                  <a:schemeClr val="bg1"/>
                </a:solidFill>
              </a:rPr>
              <a:t>=f(SRV)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036060" y="1096235"/>
            <a:ext cx="109677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NPV=f(Q</a:t>
            </a:r>
            <a:r>
              <a:rPr lang="ru-RU" sz="1000" b="1" baseline="-25000" dirty="0">
                <a:solidFill>
                  <a:schemeClr val="bg1"/>
                </a:solidFill>
              </a:rPr>
              <a:t>н</a:t>
            </a:r>
            <a:r>
              <a:rPr lang="ru-RU" sz="1000" b="1" dirty="0" smtClean="0">
                <a:solidFill>
                  <a:schemeClr val="bg1"/>
                </a:solidFill>
              </a:rPr>
              <a:t>;</a:t>
            </a:r>
            <a:r>
              <a:rPr lang="en-US" sz="1000" b="1" dirty="0">
                <a:solidFill>
                  <a:schemeClr val="bg1"/>
                </a:solidFill>
              </a:rPr>
              <a:t> $</a:t>
            </a:r>
            <a:r>
              <a:rPr lang="ru-RU" sz="1000" b="1" baseline="-25000" dirty="0">
                <a:solidFill>
                  <a:schemeClr val="bg1"/>
                </a:solidFill>
              </a:rPr>
              <a:t>скв</a:t>
            </a:r>
            <a:r>
              <a:rPr lang="en-US" sz="1000" b="1" dirty="0" smtClean="0">
                <a:solidFill>
                  <a:schemeClr val="bg1"/>
                </a:solidFill>
              </a:rPr>
              <a:t>)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876256" y="1080846"/>
            <a:ext cx="155523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chemeClr val="bg1"/>
                </a:solidFill>
              </a:rPr>
              <a:t>SRV = f (</a:t>
            </a:r>
            <a:r>
              <a:rPr lang="ru-RU" sz="1050" b="1" dirty="0" smtClean="0">
                <a:solidFill>
                  <a:schemeClr val="bg1"/>
                </a:solidFill>
              </a:rPr>
              <a:t>технологии)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77" y="3131846"/>
            <a:ext cx="713885" cy="482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Левая круглая скобка 32"/>
          <p:cNvSpPr/>
          <p:nvPr/>
        </p:nvSpPr>
        <p:spPr>
          <a:xfrm>
            <a:off x="1179217" y="3062990"/>
            <a:ext cx="50488" cy="149472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Левая круглая скобка 39"/>
          <p:cNvSpPr/>
          <p:nvPr/>
        </p:nvSpPr>
        <p:spPr>
          <a:xfrm>
            <a:off x="1179217" y="3429000"/>
            <a:ext cx="50488" cy="808691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 flipH="1">
            <a:off x="1100263" y="3776441"/>
            <a:ext cx="1294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225426" y="3640449"/>
            <a:ext cx="93955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dirty="0"/>
              <a:t>SRV </a:t>
            </a:r>
            <a:r>
              <a:rPr lang="ru-RU" sz="800" dirty="0"/>
              <a:t>зависит от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6696236" y="3766527"/>
            <a:ext cx="114739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 smtClean="0">
                <a:solidFill>
                  <a:schemeClr val="accent1"/>
                </a:solidFill>
              </a:rPr>
              <a:t>60 скважин</a:t>
            </a:r>
            <a:endParaRPr lang="en-US" dirty="0" smtClean="0">
              <a:solidFill>
                <a:schemeClr val="accent1"/>
              </a:solidFill>
            </a:endParaRPr>
          </a:p>
        </p:txBody>
      </p:sp>
      <p:sp>
        <p:nvSpPr>
          <p:cNvPr id="56" name="Picture167"/>
          <p:cNvSpPr>
            <a:spLocks noChangeAspect="1" noEditPoints="1"/>
          </p:cNvSpPr>
          <p:nvPr/>
        </p:nvSpPr>
        <p:spPr bwMode="auto">
          <a:xfrm>
            <a:off x="6814600" y="3269481"/>
            <a:ext cx="539395" cy="361070"/>
          </a:xfrm>
          <a:custGeom>
            <a:avLst/>
            <a:gdLst>
              <a:gd name="T0" fmla="*/ 912 w 1222"/>
              <a:gd name="T1" fmla="*/ 422 h 818"/>
              <a:gd name="T2" fmla="*/ 797 w 1222"/>
              <a:gd name="T3" fmla="*/ 379 h 818"/>
              <a:gd name="T4" fmla="*/ 777 w 1222"/>
              <a:gd name="T5" fmla="*/ 576 h 818"/>
              <a:gd name="T6" fmla="*/ 1200 w 1222"/>
              <a:gd name="T7" fmla="*/ 122 h 818"/>
              <a:gd name="T8" fmla="*/ 1176 w 1222"/>
              <a:gd name="T9" fmla="*/ 78 h 818"/>
              <a:gd name="T10" fmla="*/ 1146 w 1222"/>
              <a:gd name="T11" fmla="*/ 43 h 818"/>
              <a:gd name="T12" fmla="*/ 1089 w 1222"/>
              <a:gd name="T13" fmla="*/ 6 h 818"/>
              <a:gd name="T14" fmla="*/ 1059 w 1222"/>
              <a:gd name="T15" fmla="*/ 167 h 818"/>
              <a:gd name="T16" fmla="*/ 991 w 1222"/>
              <a:gd name="T17" fmla="*/ 216 h 818"/>
              <a:gd name="T18" fmla="*/ 1187 w 1222"/>
              <a:gd name="T19" fmla="*/ 360 h 818"/>
              <a:gd name="T20" fmla="*/ 1221 w 1222"/>
              <a:gd name="T21" fmla="*/ 331 h 818"/>
              <a:gd name="T22" fmla="*/ 1222 w 1222"/>
              <a:gd name="T23" fmla="*/ 238 h 818"/>
              <a:gd name="T24" fmla="*/ 1212 w 1222"/>
              <a:gd name="T25" fmla="*/ 160 h 818"/>
              <a:gd name="T26" fmla="*/ 1200 w 1222"/>
              <a:gd name="T27" fmla="*/ 122 h 818"/>
              <a:gd name="T28" fmla="*/ 953 w 1222"/>
              <a:gd name="T29" fmla="*/ 433 h 818"/>
              <a:gd name="T30" fmla="*/ 852 w 1222"/>
              <a:gd name="T31" fmla="*/ 678 h 818"/>
              <a:gd name="T32" fmla="*/ 1097 w 1222"/>
              <a:gd name="T33" fmla="*/ 678 h 818"/>
              <a:gd name="T34" fmla="*/ 709 w 1222"/>
              <a:gd name="T35" fmla="*/ 482 h 818"/>
              <a:gd name="T36" fmla="*/ 666 w 1222"/>
              <a:gd name="T37" fmla="*/ 491 h 818"/>
              <a:gd name="T38" fmla="*/ 529 w 1222"/>
              <a:gd name="T39" fmla="*/ 758 h 818"/>
              <a:gd name="T40" fmla="*/ 771 w 1222"/>
              <a:gd name="T41" fmla="*/ 714 h 818"/>
              <a:gd name="T42" fmla="*/ 932 w 1222"/>
              <a:gd name="T43" fmla="*/ 397 h 818"/>
              <a:gd name="T44" fmla="*/ 967 w 1222"/>
              <a:gd name="T45" fmla="*/ 367 h 818"/>
              <a:gd name="T46" fmla="*/ 968 w 1222"/>
              <a:gd name="T47" fmla="*/ 271 h 818"/>
              <a:gd name="T48" fmla="*/ 957 w 1222"/>
              <a:gd name="T49" fmla="*/ 190 h 818"/>
              <a:gd name="T50" fmla="*/ 945 w 1222"/>
              <a:gd name="T51" fmla="*/ 151 h 818"/>
              <a:gd name="T52" fmla="*/ 921 w 1222"/>
              <a:gd name="T53" fmla="*/ 104 h 818"/>
              <a:gd name="T54" fmla="*/ 888 w 1222"/>
              <a:gd name="T55" fmla="*/ 68 h 818"/>
              <a:gd name="T56" fmla="*/ 830 w 1222"/>
              <a:gd name="T57" fmla="*/ 29 h 818"/>
              <a:gd name="T58" fmla="*/ 798 w 1222"/>
              <a:gd name="T59" fmla="*/ 196 h 818"/>
              <a:gd name="T60" fmla="*/ 728 w 1222"/>
              <a:gd name="T61" fmla="*/ 249 h 818"/>
              <a:gd name="T62" fmla="*/ 512 w 1222"/>
              <a:gd name="T63" fmla="*/ 696 h 818"/>
              <a:gd name="T64" fmla="*/ 552 w 1222"/>
              <a:gd name="T65" fmla="*/ 377 h 818"/>
              <a:gd name="T66" fmla="*/ 509 w 1222"/>
              <a:gd name="T67" fmla="*/ 458 h 818"/>
              <a:gd name="T68" fmla="*/ 512 w 1222"/>
              <a:gd name="T69" fmla="*/ 696 h 818"/>
              <a:gd name="T70" fmla="*/ 440 w 1222"/>
              <a:gd name="T71" fmla="*/ 478 h 818"/>
              <a:gd name="T72" fmla="*/ 380 w 1222"/>
              <a:gd name="T73" fmla="*/ 382 h 818"/>
              <a:gd name="T74" fmla="*/ 395 w 1222"/>
              <a:gd name="T75" fmla="*/ 353 h 818"/>
              <a:gd name="T76" fmla="*/ 659 w 1222"/>
              <a:gd name="T77" fmla="*/ 454 h 818"/>
              <a:gd name="T78" fmla="*/ 695 w 1222"/>
              <a:gd name="T79" fmla="*/ 422 h 818"/>
              <a:gd name="T80" fmla="*/ 696 w 1222"/>
              <a:gd name="T81" fmla="*/ 321 h 818"/>
              <a:gd name="T82" fmla="*/ 684 w 1222"/>
              <a:gd name="T83" fmla="*/ 236 h 818"/>
              <a:gd name="T84" fmla="*/ 673 w 1222"/>
              <a:gd name="T85" fmla="*/ 196 h 818"/>
              <a:gd name="T86" fmla="*/ 646 w 1222"/>
              <a:gd name="T87" fmla="*/ 145 h 818"/>
              <a:gd name="T88" fmla="*/ 612 w 1222"/>
              <a:gd name="T89" fmla="*/ 108 h 818"/>
              <a:gd name="T90" fmla="*/ 569 w 1222"/>
              <a:gd name="T91" fmla="*/ 76 h 818"/>
              <a:gd name="T92" fmla="*/ 520 w 1222"/>
              <a:gd name="T93" fmla="*/ 71 h 818"/>
              <a:gd name="T94" fmla="*/ 376 w 1222"/>
              <a:gd name="T95" fmla="*/ 292 h 818"/>
              <a:gd name="T96" fmla="*/ 344 w 1222"/>
              <a:gd name="T97" fmla="*/ 277 h 818"/>
              <a:gd name="T98" fmla="*/ 320 w 1222"/>
              <a:gd name="T99" fmla="*/ 277 h 818"/>
              <a:gd name="T100" fmla="*/ 290 w 1222"/>
              <a:gd name="T101" fmla="*/ 291 h 818"/>
              <a:gd name="T102" fmla="*/ 271 w 1222"/>
              <a:gd name="T103" fmla="*/ 318 h 818"/>
              <a:gd name="T104" fmla="*/ 118 w 1222"/>
              <a:gd name="T105" fmla="*/ 366 h 818"/>
              <a:gd name="T106" fmla="*/ 147 w 1222"/>
              <a:gd name="T107" fmla="*/ 446 h 818"/>
              <a:gd name="T108" fmla="*/ 258 w 1222"/>
              <a:gd name="T109" fmla="*/ 478 h 818"/>
              <a:gd name="T110" fmla="*/ 246 w 1222"/>
              <a:gd name="T111" fmla="*/ 520 h 818"/>
              <a:gd name="T112" fmla="*/ 140 w 1222"/>
              <a:gd name="T113" fmla="*/ 818 h 818"/>
              <a:gd name="T114" fmla="*/ 486 w 1222"/>
              <a:gd name="T115" fmla="*/ 775 h 818"/>
              <a:gd name="T116" fmla="*/ 323 w 1222"/>
              <a:gd name="T117" fmla="*/ 403 h 818"/>
              <a:gd name="T118" fmla="*/ 342 w 1222"/>
              <a:gd name="T119" fmla="*/ 403 h 818"/>
              <a:gd name="T120" fmla="*/ 323 w 1222"/>
              <a:gd name="T121" fmla="*/ 403 h 818"/>
              <a:gd name="T122" fmla="*/ 373 w 1222"/>
              <a:gd name="T123" fmla="*/ 520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22" h="818">
                <a:moveTo>
                  <a:pt x="800" y="660"/>
                </a:moveTo>
                <a:lnTo>
                  <a:pt x="863" y="422"/>
                </a:lnTo>
                <a:lnTo>
                  <a:pt x="912" y="422"/>
                </a:lnTo>
                <a:lnTo>
                  <a:pt x="843" y="328"/>
                </a:lnTo>
                <a:lnTo>
                  <a:pt x="830" y="379"/>
                </a:lnTo>
                <a:lnTo>
                  <a:pt x="797" y="379"/>
                </a:lnTo>
                <a:lnTo>
                  <a:pt x="797" y="422"/>
                </a:lnTo>
                <a:lnTo>
                  <a:pt x="819" y="422"/>
                </a:lnTo>
                <a:lnTo>
                  <a:pt x="777" y="576"/>
                </a:lnTo>
                <a:lnTo>
                  <a:pt x="800" y="660"/>
                </a:lnTo>
                <a:close/>
                <a:moveTo>
                  <a:pt x="1200" y="122"/>
                </a:moveTo>
                <a:lnTo>
                  <a:pt x="1200" y="122"/>
                </a:lnTo>
                <a:lnTo>
                  <a:pt x="1193" y="107"/>
                </a:lnTo>
                <a:lnTo>
                  <a:pt x="1185" y="91"/>
                </a:lnTo>
                <a:lnTo>
                  <a:pt x="1176" y="78"/>
                </a:lnTo>
                <a:lnTo>
                  <a:pt x="1166" y="65"/>
                </a:lnTo>
                <a:lnTo>
                  <a:pt x="1156" y="53"/>
                </a:lnTo>
                <a:lnTo>
                  <a:pt x="1146" y="43"/>
                </a:lnTo>
                <a:lnTo>
                  <a:pt x="1124" y="27"/>
                </a:lnTo>
                <a:lnTo>
                  <a:pt x="1105" y="14"/>
                </a:lnTo>
                <a:lnTo>
                  <a:pt x="1089" y="6"/>
                </a:lnTo>
                <a:lnTo>
                  <a:pt x="1075" y="0"/>
                </a:lnTo>
                <a:lnTo>
                  <a:pt x="1061" y="9"/>
                </a:lnTo>
                <a:lnTo>
                  <a:pt x="1059" y="167"/>
                </a:lnTo>
                <a:lnTo>
                  <a:pt x="987" y="192"/>
                </a:lnTo>
                <a:lnTo>
                  <a:pt x="987" y="192"/>
                </a:lnTo>
                <a:lnTo>
                  <a:pt x="991" y="216"/>
                </a:lnTo>
                <a:lnTo>
                  <a:pt x="994" y="242"/>
                </a:lnTo>
                <a:lnTo>
                  <a:pt x="1078" y="212"/>
                </a:lnTo>
                <a:lnTo>
                  <a:pt x="1187" y="360"/>
                </a:lnTo>
                <a:lnTo>
                  <a:pt x="1218" y="353"/>
                </a:lnTo>
                <a:lnTo>
                  <a:pt x="1218" y="353"/>
                </a:lnTo>
                <a:lnTo>
                  <a:pt x="1221" y="331"/>
                </a:lnTo>
                <a:lnTo>
                  <a:pt x="1222" y="305"/>
                </a:lnTo>
                <a:lnTo>
                  <a:pt x="1222" y="274"/>
                </a:lnTo>
                <a:lnTo>
                  <a:pt x="1222" y="238"/>
                </a:lnTo>
                <a:lnTo>
                  <a:pt x="1218" y="199"/>
                </a:lnTo>
                <a:lnTo>
                  <a:pt x="1215" y="180"/>
                </a:lnTo>
                <a:lnTo>
                  <a:pt x="1212" y="160"/>
                </a:lnTo>
                <a:lnTo>
                  <a:pt x="1206" y="141"/>
                </a:lnTo>
                <a:lnTo>
                  <a:pt x="1200" y="122"/>
                </a:lnTo>
                <a:lnTo>
                  <a:pt x="1200" y="122"/>
                </a:lnTo>
                <a:close/>
                <a:moveTo>
                  <a:pt x="991" y="425"/>
                </a:moveTo>
                <a:lnTo>
                  <a:pt x="984" y="426"/>
                </a:lnTo>
                <a:lnTo>
                  <a:pt x="953" y="433"/>
                </a:lnTo>
                <a:lnTo>
                  <a:pt x="950" y="433"/>
                </a:lnTo>
                <a:lnTo>
                  <a:pt x="1014" y="678"/>
                </a:lnTo>
                <a:lnTo>
                  <a:pt x="852" y="678"/>
                </a:lnTo>
                <a:lnTo>
                  <a:pt x="852" y="720"/>
                </a:lnTo>
                <a:lnTo>
                  <a:pt x="1097" y="720"/>
                </a:lnTo>
                <a:lnTo>
                  <a:pt x="1097" y="678"/>
                </a:lnTo>
                <a:lnTo>
                  <a:pt x="1059" y="678"/>
                </a:lnTo>
                <a:lnTo>
                  <a:pt x="991" y="425"/>
                </a:lnTo>
                <a:close/>
                <a:moveTo>
                  <a:pt x="709" y="482"/>
                </a:moveTo>
                <a:lnTo>
                  <a:pt x="700" y="484"/>
                </a:lnTo>
                <a:lnTo>
                  <a:pt x="667" y="491"/>
                </a:lnTo>
                <a:lnTo>
                  <a:pt x="666" y="491"/>
                </a:lnTo>
                <a:lnTo>
                  <a:pt x="726" y="714"/>
                </a:lnTo>
                <a:lnTo>
                  <a:pt x="516" y="714"/>
                </a:lnTo>
                <a:lnTo>
                  <a:pt x="529" y="758"/>
                </a:lnTo>
                <a:lnTo>
                  <a:pt x="808" y="758"/>
                </a:lnTo>
                <a:lnTo>
                  <a:pt x="808" y="714"/>
                </a:lnTo>
                <a:lnTo>
                  <a:pt x="771" y="714"/>
                </a:lnTo>
                <a:lnTo>
                  <a:pt x="709" y="482"/>
                </a:lnTo>
                <a:close/>
                <a:moveTo>
                  <a:pt x="819" y="245"/>
                </a:moveTo>
                <a:lnTo>
                  <a:pt x="932" y="397"/>
                </a:lnTo>
                <a:lnTo>
                  <a:pt x="964" y="392"/>
                </a:lnTo>
                <a:lnTo>
                  <a:pt x="964" y="392"/>
                </a:lnTo>
                <a:lnTo>
                  <a:pt x="967" y="367"/>
                </a:lnTo>
                <a:lnTo>
                  <a:pt x="968" y="341"/>
                </a:lnTo>
                <a:lnTo>
                  <a:pt x="970" y="308"/>
                </a:lnTo>
                <a:lnTo>
                  <a:pt x="968" y="271"/>
                </a:lnTo>
                <a:lnTo>
                  <a:pt x="964" y="230"/>
                </a:lnTo>
                <a:lnTo>
                  <a:pt x="961" y="210"/>
                </a:lnTo>
                <a:lnTo>
                  <a:pt x="957" y="190"/>
                </a:lnTo>
                <a:lnTo>
                  <a:pt x="953" y="170"/>
                </a:lnTo>
                <a:lnTo>
                  <a:pt x="945" y="151"/>
                </a:lnTo>
                <a:lnTo>
                  <a:pt x="945" y="151"/>
                </a:lnTo>
                <a:lnTo>
                  <a:pt x="938" y="134"/>
                </a:lnTo>
                <a:lnTo>
                  <a:pt x="929" y="118"/>
                </a:lnTo>
                <a:lnTo>
                  <a:pt x="921" y="104"/>
                </a:lnTo>
                <a:lnTo>
                  <a:pt x="909" y="91"/>
                </a:lnTo>
                <a:lnTo>
                  <a:pt x="899" y="78"/>
                </a:lnTo>
                <a:lnTo>
                  <a:pt x="888" y="68"/>
                </a:lnTo>
                <a:lnTo>
                  <a:pt x="866" y="50"/>
                </a:lnTo>
                <a:lnTo>
                  <a:pt x="847" y="37"/>
                </a:lnTo>
                <a:lnTo>
                  <a:pt x="830" y="29"/>
                </a:lnTo>
                <a:lnTo>
                  <a:pt x="816" y="23"/>
                </a:lnTo>
                <a:lnTo>
                  <a:pt x="800" y="32"/>
                </a:lnTo>
                <a:lnTo>
                  <a:pt x="798" y="196"/>
                </a:lnTo>
                <a:lnTo>
                  <a:pt x="722" y="223"/>
                </a:lnTo>
                <a:lnTo>
                  <a:pt x="722" y="223"/>
                </a:lnTo>
                <a:lnTo>
                  <a:pt x="728" y="249"/>
                </a:lnTo>
                <a:lnTo>
                  <a:pt x="732" y="274"/>
                </a:lnTo>
                <a:lnTo>
                  <a:pt x="819" y="245"/>
                </a:lnTo>
                <a:close/>
                <a:moveTo>
                  <a:pt x="512" y="696"/>
                </a:moveTo>
                <a:lnTo>
                  <a:pt x="575" y="458"/>
                </a:lnTo>
                <a:lnTo>
                  <a:pt x="612" y="458"/>
                </a:lnTo>
                <a:lnTo>
                  <a:pt x="552" y="377"/>
                </a:lnTo>
                <a:lnTo>
                  <a:pt x="542" y="416"/>
                </a:lnTo>
                <a:lnTo>
                  <a:pt x="509" y="416"/>
                </a:lnTo>
                <a:lnTo>
                  <a:pt x="509" y="458"/>
                </a:lnTo>
                <a:lnTo>
                  <a:pt x="530" y="458"/>
                </a:lnTo>
                <a:lnTo>
                  <a:pt x="489" y="615"/>
                </a:lnTo>
                <a:lnTo>
                  <a:pt x="512" y="696"/>
                </a:lnTo>
                <a:close/>
                <a:moveTo>
                  <a:pt x="418" y="520"/>
                </a:moveTo>
                <a:lnTo>
                  <a:pt x="440" y="520"/>
                </a:lnTo>
                <a:lnTo>
                  <a:pt x="440" y="478"/>
                </a:lnTo>
                <a:lnTo>
                  <a:pt x="406" y="478"/>
                </a:lnTo>
                <a:lnTo>
                  <a:pt x="380" y="382"/>
                </a:lnTo>
                <a:lnTo>
                  <a:pt x="380" y="382"/>
                </a:lnTo>
                <a:lnTo>
                  <a:pt x="388" y="373"/>
                </a:lnTo>
                <a:lnTo>
                  <a:pt x="392" y="364"/>
                </a:lnTo>
                <a:lnTo>
                  <a:pt x="395" y="353"/>
                </a:lnTo>
                <a:lnTo>
                  <a:pt x="396" y="343"/>
                </a:lnTo>
                <a:lnTo>
                  <a:pt x="539" y="292"/>
                </a:lnTo>
                <a:lnTo>
                  <a:pt x="659" y="454"/>
                </a:lnTo>
                <a:lnTo>
                  <a:pt x="692" y="446"/>
                </a:lnTo>
                <a:lnTo>
                  <a:pt x="692" y="446"/>
                </a:lnTo>
                <a:lnTo>
                  <a:pt x="695" y="422"/>
                </a:lnTo>
                <a:lnTo>
                  <a:pt x="696" y="395"/>
                </a:lnTo>
                <a:lnTo>
                  <a:pt x="697" y="360"/>
                </a:lnTo>
                <a:lnTo>
                  <a:pt x="696" y="321"/>
                </a:lnTo>
                <a:lnTo>
                  <a:pt x="692" y="278"/>
                </a:lnTo>
                <a:lnTo>
                  <a:pt x="689" y="258"/>
                </a:lnTo>
                <a:lnTo>
                  <a:pt x="684" y="236"/>
                </a:lnTo>
                <a:lnTo>
                  <a:pt x="679" y="215"/>
                </a:lnTo>
                <a:lnTo>
                  <a:pt x="673" y="196"/>
                </a:lnTo>
                <a:lnTo>
                  <a:pt x="673" y="196"/>
                </a:lnTo>
                <a:lnTo>
                  <a:pt x="664" y="177"/>
                </a:lnTo>
                <a:lnTo>
                  <a:pt x="656" y="160"/>
                </a:lnTo>
                <a:lnTo>
                  <a:pt x="646" y="145"/>
                </a:lnTo>
                <a:lnTo>
                  <a:pt x="635" y="131"/>
                </a:lnTo>
                <a:lnTo>
                  <a:pt x="624" y="120"/>
                </a:lnTo>
                <a:lnTo>
                  <a:pt x="612" y="108"/>
                </a:lnTo>
                <a:lnTo>
                  <a:pt x="601" y="98"/>
                </a:lnTo>
                <a:lnTo>
                  <a:pt x="589" y="89"/>
                </a:lnTo>
                <a:lnTo>
                  <a:pt x="569" y="76"/>
                </a:lnTo>
                <a:lnTo>
                  <a:pt x="552" y="68"/>
                </a:lnTo>
                <a:lnTo>
                  <a:pt x="536" y="60"/>
                </a:lnTo>
                <a:lnTo>
                  <a:pt x="520" y="71"/>
                </a:lnTo>
                <a:lnTo>
                  <a:pt x="519" y="243"/>
                </a:lnTo>
                <a:lnTo>
                  <a:pt x="376" y="292"/>
                </a:lnTo>
                <a:lnTo>
                  <a:pt x="376" y="292"/>
                </a:lnTo>
                <a:lnTo>
                  <a:pt x="366" y="285"/>
                </a:lnTo>
                <a:lnTo>
                  <a:pt x="356" y="279"/>
                </a:lnTo>
                <a:lnTo>
                  <a:pt x="344" y="277"/>
                </a:lnTo>
                <a:lnTo>
                  <a:pt x="333" y="275"/>
                </a:lnTo>
                <a:lnTo>
                  <a:pt x="333" y="275"/>
                </a:lnTo>
                <a:lnTo>
                  <a:pt x="320" y="277"/>
                </a:lnTo>
                <a:lnTo>
                  <a:pt x="310" y="279"/>
                </a:lnTo>
                <a:lnTo>
                  <a:pt x="300" y="284"/>
                </a:lnTo>
                <a:lnTo>
                  <a:pt x="290" y="291"/>
                </a:lnTo>
                <a:lnTo>
                  <a:pt x="282" y="300"/>
                </a:lnTo>
                <a:lnTo>
                  <a:pt x="277" y="308"/>
                </a:lnTo>
                <a:lnTo>
                  <a:pt x="271" y="318"/>
                </a:lnTo>
                <a:lnTo>
                  <a:pt x="269" y="330"/>
                </a:lnTo>
                <a:lnTo>
                  <a:pt x="124" y="380"/>
                </a:lnTo>
                <a:lnTo>
                  <a:pt x="118" y="366"/>
                </a:lnTo>
                <a:lnTo>
                  <a:pt x="0" y="408"/>
                </a:lnTo>
                <a:lnTo>
                  <a:pt x="27" y="488"/>
                </a:lnTo>
                <a:lnTo>
                  <a:pt x="147" y="446"/>
                </a:lnTo>
                <a:lnTo>
                  <a:pt x="141" y="431"/>
                </a:lnTo>
                <a:lnTo>
                  <a:pt x="284" y="382"/>
                </a:lnTo>
                <a:lnTo>
                  <a:pt x="258" y="478"/>
                </a:lnTo>
                <a:lnTo>
                  <a:pt x="225" y="478"/>
                </a:lnTo>
                <a:lnTo>
                  <a:pt x="225" y="520"/>
                </a:lnTo>
                <a:lnTo>
                  <a:pt x="246" y="520"/>
                </a:lnTo>
                <a:lnTo>
                  <a:pt x="179" y="775"/>
                </a:lnTo>
                <a:lnTo>
                  <a:pt x="140" y="775"/>
                </a:lnTo>
                <a:lnTo>
                  <a:pt x="140" y="818"/>
                </a:lnTo>
                <a:lnTo>
                  <a:pt x="525" y="818"/>
                </a:lnTo>
                <a:lnTo>
                  <a:pt x="525" y="775"/>
                </a:lnTo>
                <a:lnTo>
                  <a:pt x="486" y="775"/>
                </a:lnTo>
                <a:lnTo>
                  <a:pt x="418" y="520"/>
                </a:lnTo>
                <a:close/>
                <a:moveTo>
                  <a:pt x="323" y="403"/>
                </a:moveTo>
                <a:lnTo>
                  <a:pt x="323" y="403"/>
                </a:lnTo>
                <a:lnTo>
                  <a:pt x="333" y="403"/>
                </a:lnTo>
                <a:lnTo>
                  <a:pt x="333" y="403"/>
                </a:lnTo>
                <a:lnTo>
                  <a:pt x="342" y="403"/>
                </a:lnTo>
                <a:lnTo>
                  <a:pt x="362" y="478"/>
                </a:lnTo>
                <a:lnTo>
                  <a:pt x="303" y="478"/>
                </a:lnTo>
                <a:lnTo>
                  <a:pt x="323" y="403"/>
                </a:lnTo>
                <a:close/>
                <a:moveTo>
                  <a:pt x="223" y="775"/>
                </a:moveTo>
                <a:lnTo>
                  <a:pt x="291" y="520"/>
                </a:lnTo>
                <a:lnTo>
                  <a:pt x="373" y="520"/>
                </a:lnTo>
                <a:lnTo>
                  <a:pt x="442" y="775"/>
                </a:lnTo>
                <a:lnTo>
                  <a:pt x="223" y="77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6" name="Правая фигурная скобка 45"/>
          <p:cNvSpPr/>
          <p:nvPr/>
        </p:nvSpPr>
        <p:spPr>
          <a:xfrm>
            <a:off x="6402559" y="2873654"/>
            <a:ext cx="152418" cy="20310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>
            <a:off x="7899835" y="3766527"/>
            <a:ext cx="95714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 smtClean="0">
                <a:solidFill>
                  <a:schemeClr val="accent1"/>
                </a:solidFill>
              </a:rPr>
              <a:t>60 скважин</a:t>
            </a:r>
            <a:endParaRPr lang="en-US" dirty="0" smtClean="0">
              <a:solidFill>
                <a:schemeClr val="accent1"/>
              </a:solidFill>
            </a:endParaRPr>
          </a:p>
        </p:txBody>
      </p:sp>
      <p:sp>
        <p:nvSpPr>
          <p:cNvPr id="60" name="Picture167"/>
          <p:cNvSpPr>
            <a:spLocks noChangeAspect="1" noEditPoints="1"/>
          </p:cNvSpPr>
          <p:nvPr/>
        </p:nvSpPr>
        <p:spPr bwMode="auto">
          <a:xfrm>
            <a:off x="8018198" y="3269481"/>
            <a:ext cx="539395" cy="361070"/>
          </a:xfrm>
          <a:custGeom>
            <a:avLst/>
            <a:gdLst>
              <a:gd name="T0" fmla="*/ 912 w 1222"/>
              <a:gd name="T1" fmla="*/ 422 h 818"/>
              <a:gd name="T2" fmla="*/ 797 w 1222"/>
              <a:gd name="T3" fmla="*/ 379 h 818"/>
              <a:gd name="T4" fmla="*/ 777 w 1222"/>
              <a:gd name="T5" fmla="*/ 576 h 818"/>
              <a:gd name="T6" fmla="*/ 1200 w 1222"/>
              <a:gd name="T7" fmla="*/ 122 h 818"/>
              <a:gd name="T8" fmla="*/ 1176 w 1222"/>
              <a:gd name="T9" fmla="*/ 78 h 818"/>
              <a:gd name="T10" fmla="*/ 1146 w 1222"/>
              <a:gd name="T11" fmla="*/ 43 h 818"/>
              <a:gd name="T12" fmla="*/ 1089 w 1222"/>
              <a:gd name="T13" fmla="*/ 6 h 818"/>
              <a:gd name="T14" fmla="*/ 1059 w 1222"/>
              <a:gd name="T15" fmla="*/ 167 h 818"/>
              <a:gd name="T16" fmla="*/ 991 w 1222"/>
              <a:gd name="T17" fmla="*/ 216 h 818"/>
              <a:gd name="T18" fmla="*/ 1187 w 1222"/>
              <a:gd name="T19" fmla="*/ 360 h 818"/>
              <a:gd name="T20" fmla="*/ 1221 w 1222"/>
              <a:gd name="T21" fmla="*/ 331 h 818"/>
              <a:gd name="T22" fmla="*/ 1222 w 1222"/>
              <a:gd name="T23" fmla="*/ 238 h 818"/>
              <a:gd name="T24" fmla="*/ 1212 w 1222"/>
              <a:gd name="T25" fmla="*/ 160 h 818"/>
              <a:gd name="T26" fmla="*/ 1200 w 1222"/>
              <a:gd name="T27" fmla="*/ 122 h 818"/>
              <a:gd name="T28" fmla="*/ 953 w 1222"/>
              <a:gd name="T29" fmla="*/ 433 h 818"/>
              <a:gd name="T30" fmla="*/ 852 w 1222"/>
              <a:gd name="T31" fmla="*/ 678 h 818"/>
              <a:gd name="T32" fmla="*/ 1097 w 1222"/>
              <a:gd name="T33" fmla="*/ 678 h 818"/>
              <a:gd name="T34" fmla="*/ 709 w 1222"/>
              <a:gd name="T35" fmla="*/ 482 h 818"/>
              <a:gd name="T36" fmla="*/ 666 w 1222"/>
              <a:gd name="T37" fmla="*/ 491 h 818"/>
              <a:gd name="T38" fmla="*/ 529 w 1222"/>
              <a:gd name="T39" fmla="*/ 758 h 818"/>
              <a:gd name="T40" fmla="*/ 771 w 1222"/>
              <a:gd name="T41" fmla="*/ 714 h 818"/>
              <a:gd name="T42" fmla="*/ 932 w 1222"/>
              <a:gd name="T43" fmla="*/ 397 h 818"/>
              <a:gd name="T44" fmla="*/ 967 w 1222"/>
              <a:gd name="T45" fmla="*/ 367 h 818"/>
              <a:gd name="T46" fmla="*/ 968 w 1222"/>
              <a:gd name="T47" fmla="*/ 271 h 818"/>
              <a:gd name="T48" fmla="*/ 957 w 1222"/>
              <a:gd name="T49" fmla="*/ 190 h 818"/>
              <a:gd name="T50" fmla="*/ 945 w 1222"/>
              <a:gd name="T51" fmla="*/ 151 h 818"/>
              <a:gd name="T52" fmla="*/ 921 w 1222"/>
              <a:gd name="T53" fmla="*/ 104 h 818"/>
              <a:gd name="T54" fmla="*/ 888 w 1222"/>
              <a:gd name="T55" fmla="*/ 68 h 818"/>
              <a:gd name="T56" fmla="*/ 830 w 1222"/>
              <a:gd name="T57" fmla="*/ 29 h 818"/>
              <a:gd name="T58" fmla="*/ 798 w 1222"/>
              <a:gd name="T59" fmla="*/ 196 h 818"/>
              <a:gd name="T60" fmla="*/ 728 w 1222"/>
              <a:gd name="T61" fmla="*/ 249 h 818"/>
              <a:gd name="T62" fmla="*/ 512 w 1222"/>
              <a:gd name="T63" fmla="*/ 696 h 818"/>
              <a:gd name="T64" fmla="*/ 552 w 1222"/>
              <a:gd name="T65" fmla="*/ 377 h 818"/>
              <a:gd name="T66" fmla="*/ 509 w 1222"/>
              <a:gd name="T67" fmla="*/ 458 h 818"/>
              <a:gd name="T68" fmla="*/ 512 w 1222"/>
              <a:gd name="T69" fmla="*/ 696 h 818"/>
              <a:gd name="T70" fmla="*/ 440 w 1222"/>
              <a:gd name="T71" fmla="*/ 478 h 818"/>
              <a:gd name="T72" fmla="*/ 380 w 1222"/>
              <a:gd name="T73" fmla="*/ 382 h 818"/>
              <a:gd name="T74" fmla="*/ 395 w 1222"/>
              <a:gd name="T75" fmla="*/ 353 h 818"/>
              <a:gd name="T76" fmla="*/ 659 w 1222"/>
              <a:gd name="T77" fmla="*/ 454 h 818"/>
              <a:gd name="T78" fmla="*/ 695 w 1222"/>
              <a:gd name="T79" fmla="*/ 422 h 818"/>
              <a:gd name="T80" fmla="*/ 696 w 1222"/>
              <a:gd name="T81" fmla="*/ 321 h 818"/>
              <a:gd name="T82" fmla="*/ 684 w 1222"/>
              <a:gd name="T83" fmla="*/ 236 h 818"/>
              <a:gd name="T84" fmla="*/ 673 w 1222"/>
              <a:gd name="T85" fmla="*/ 196 h 818"/>
              <a:gd name="T86" fmla="*/ 646 w 1222"/>
              <a:gd name="T87" fmla="*/ 145 h 818"/>
              <a:gd name="T88" fmla="*/ 612 w 1222"/>
              <a:gd name="T89" fmla="*/ 108 h 818"/>
              <a:gd name="T90" fmla="*/ 569 w 1222"/>
              <a:gd name="T91" fmla="*/ 76 h 818"/>
              <a:gd name="T92" fmla="*/ 520 w 1222"/>
              <a:gd name="T93" fmla="*/ 71 h 818"/>
              <a:gd name="T94" fmla="*/ 376 w 1222"/>
              <a:gd name="T95" fmla="*/ 292 h 818"/>
              <a:gd name="T96" fmla="*/ 344 w 1222"/>
              <a:gd name="T97" fmla="*/ 277 h 818"/>
              <a:gd name="T98" fmla="*/ 320 w 1222"/>
              <a:gd name="T99" fmla="*/ 277 h 818"/>
              <a:gd name="T100" fmla="*/ 290 w 1222"/>
              <a:gd name="T101" fmla="*/ 291 h 818"/>
              <a:gd name="T102" fmla="*/ 271 w 1222"/>
              <a:gd name="T103" fmla="*/ 318 h 818"/>
              <a:gd name="T104" fmla="*/ 118 w 1222"/>
              <a:gd name="T105" fmla="*/ 366 h 818"/>
              <a:gd name="T106" fmla="*/ 147 w 1222"/>
              <a:gd name="T107" fmla="*/ 446 h 818"/>
              <a:gd name="T108" fmla="*/ 258 w 1222"/>
              <a:gd name="T109" fmla="*/ 478 h 818"/>
              <a:gd name="T110" fmla="*/ 246 w 1222"/>
              <a:gd name="T111" fmla="*/ 520 h 818"/>
              <a:gd name="T112" fmla="*/ 140 w 1222"/>
              <a:gd name="T113" fmla="*/ 818 h 818"/>
              <a:gd name="T114" fmla="*/ 486 w 1222"/>
              <a:gd name="T115" fmla="*/ 775 h 818"/>
              <a:gd name="T116" fmla="*/ 323 w 1222"/>
              <a:gd name="T117" fmla="*/ 403 h 818"/>
              <a:gd name="T118" fmla="*/ 342 w 1222"/>
              <a:gd name="T119" fmla="*/ 403 h 818"/>
              <a:gd name="T120" fmla="*/ 323 w 1222"/>
              <a:gd name="T121" fmla="*/ 403 h 818"/>
              <a:gd name="T122" fmla="*/ 373 w 1222"/>
              <a:gd name="T123" fmla="*/ 520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22" h="818">
                <a:moveTo>
                  <a:pt x="800" y="660"/>
                </a:moveTo>
                <a:lnTo>
                  <a:pt x="863" y="422"/>
                </a:lnTo>
                <a:lnTo>
                  <a:pt x="912" y="422"/>
                </a:lnTo>
                <a:lnTo>
                  <a:pt x="843" y="328"/>
                </a:lnTo>
                <a:lnTo>
                  <a:pt x="830" y="379"/>
                </a:lnTo>
                <a:lnTo>
                  <a:pt x="797" y="379"/>
                </a:lnTo>
                <a:lnTo>
                  <a:pt x="797" y="422"/>
                </a:lnTo>
                <a:lnTo>
                  <a:pt x="819" y="422"/>
                </a:lnTo>
                <a:lnTo>
                  <a:pt x="777" y="576"/>
                </a:lnTo>
                <a:lnTo>
                  <a:pt x="800" y="660"/>
                </a:lnTo>
                <a:close/>
                <a:moveTo>
                  <a:pt x="1200" y="122"/>
                </a:moveTo>
                <a:lnTo>
                  <a:pt x="1200" y="122"/>
                </a:lnTo>
                <a:lnTo>
                  <a:pt x="1193" y="107"/>
                </a:lnTo>
                <a:lnTo>
                  <a:pt x="1185" y="91"/>
                </a:lnTo>
                <a:lnTo>
                  <a:pt x="1176" y="78"/>
                </a:lnTo>
                <a:lnTo>
                  <a:pt x="1166" y="65"/>
                </a:lnTo>
                <a:lnTo>
                  <a:pt x="1156" y="53"/>
                </a:lnTo>
                <a:lnTo>
                  <a:pt x="1146" y="43"/>
                </a:lnTo>
                <a:lnTo>
                  <a:pt x="1124" y="27"/>
                </a:lnTo>
                <a:lnTo>
                  <a:pt x="1105" y="14"/>
                </a:lnTo>
                <a:lnTo>
                  <a:pt x="1089" y="6"/>
                </a:lnTo>
                <a:lnTo>
                  <a:pt x="1075" y="0"/>
                </a:lnTo>
                <a:lnTo>
                  <a:pt x="1061" y="9"/>
                </a:lnTo>
                <a:lnTo>
                  <a:pt x="1059" y="167"/>
                </a:lnTo>
                <a:lnTo>
                  <a:pt x="987" y="192"/>
                </a:lnTo>
                <a:lnTo>
                  <a:pt x="987" y="192"/>
                </a:lnTo>
                <a:lnTo>
                  <a:pt x="991" y="216"/>
                </a:lnTo>
                <a:lnTo>
                  <a:pt x="994" y="242"/>
                </a:lnTo>
                <a:lnTo>
                  <a:pt x="1078" y="212"/>
                </a:lnTo>
                <a:lnTo>
                  <a:pt x="1187" y="360"/>
                </a:lnTo>
                <a:lnTo>
                  <a:pt x="1218" y="353"/>
                </a:lnTo>
                <a:lnTo>
                  <a:pt x="1218" y="353"/>
                </a:lnTo>
                <a:lnTo>
                  <a:pt x="1221" y="331"/>
                </a:lnTo>
                <a:lnTo>
                  <a:pt x="1222" y="305"/>
                </a:lnTo>
                <a:lnTo>
                  <a:pt x="1222" y="274"/>
                </a:lnTo>
                <a:lnTo>
                  <a:pt x="1222" y="238"/>
                </a:lnTo>
                <a:lnTo>
                  <a:pt x="1218" y="199"/>
                </a:lnTo>
                <a:lnTo>
                  <a:pt x="1215" y="180"/>
                </a:lnTo>
                <a:lnTo>
                  <a:pt x="1212" y="160"/>
                </a:lnTo>
                <a:lnTo>
                  <a:pt x="1206" y="141"/>
                </a:lnTo>
                <a:lnTo>
                  <a:pt x="1200" y="122"/>
                </a:lnTo>
                <a:lnTo>
                  <a:pt x="1200" y="122"/>
                </a:lnTo>
                <a:close/>
                <a:moveTo>
                  <a:pt x="991" y="425"/>
                </a:moveTo>
                <a:lnTo>
                  <a:pt x="984" y="426"/>
                </a:lnTo>
                <a:lnTo>
                  <a:pt x="953" y="433"/>
                </a:lnTo>
                <a:lnTo>
                  <a:pt x="950" y="433"/>
                </a:lnTo>
                <a:lnTo>
                  <a:pt x="1014" y="678"/>
                </a:lnTo>
                <a:lnTo>
                  <a:pt x="852" y="678"/>
                </a:lnTo>
                <a:lnTo>
                  <a:pt x="852" y="720"/>
                </a:lnTo>
                <a:lnTo>
                  <a:pt x="1097" y="720"/>
                </a:lnTo>
                <a:lnTo>
                  <a:pt x="1097" y="678"/>
                </a:lnTo>
                <a:lnTo>
                  <a:pt x="1059" y="678"/>
                </a:lnTo>
                <a:lnTo>
                  <a:pt x="991" y="425"/>
                </a:lnTo>
                <a:close/>
                <a:moveTo>
                  <a:pt x="709" y="482"/>
                </a:moveTo>
                <a:lnTo>
                  <a:pt x="700" y="484"/>
                </a:lnTo>
                <a:lnTo>
                  <a:pt x="667" y="491"/>
                </a:lnTo>
                <a:lnTo>
                  <a:pt x="666" y="491"/>
                </a:lnTo>
                <a:lnTo>
                  <a:pt x="726" y="714"/>
                </a:lnTo>
                <a:lnTo>
                  <a:pt x="516" y="714"/>
                </a:lnTo>
                <a:lnTo>
                  <a:pt x="529" y="758"/>
                </a:lnTo>
                <a:lnTo>
                  <a:pt x="808" y="758"/>
                </a:lnTo>
                <a:lnTo>
                  <a:pt x="808" y="714"/>
                </a:lnTo>
                <a:lnTo>
                  <a:pt x="771" y="714"/>
                </a:lnTo>
                <a:lnTo>
                  <a:pt x="709" y="482"/>
                </a:lnTo>
                <a:close/>
                <a:moveTo>
                  <a:pt x="819" y="245"/>
                </a:moveTo>
                <a:lnTo>
                  <a:pt x="932" y="397"/>
                </a:lnTo>
                <a:lnTo>
                  <a:pt x="964" y="392"/>
                </a:lnTo>
                <a:lnTo>
                  <a:pt x="964" y="392"/>
                </a:lnTo>
                <a:lnTo>
                  <a:pt x="967" y="367"/>
                </a:lnTo>
                <a:lnTo>
                  <a:pt x="968" y="341"/>
                </a:lnTo>
                <a:lnTo>
                  <a:pt x="970" y="308"/>
                </a:lnTo>
                <a:lnTo>
                  <a:pt x="968" y="271"/>
                </a:lnTo>
                <a:lnTo>
                  <a:pt x="964" y="230"/>
                </a:lnTo>
                <a:lnTo>
                  <a:pt x="961" y="210"/>
                </a:lnTo>
                <a:lnTo>
                  <a:pt x="957" y="190"/>
                </a:lnTo>
                <a:lnTo>
                  <a:pt x="953" y="170"/>
                </a:lnTo>
                <a:lnTo>
                  <a:pt x="945" y="151"/>
                </a:lnTo>
                <a:lnTo>
                  <a:pt x="945" y="151"/>
                </a:lnTo>
                <a:lnTo>
                  <a:pt x="938" y="134"/>
                </a:lnTo>
                <a:lnTo>
                  <a:pt x="929" y="118"/>
                </a:lnTo>
                <a:lnTo>
                  <a:pt x="921" y="104"/>
                </a:lnTo>
                <a:lnTo>
                  <a:pt x="909" y="91"/>
                </a:lnTo>
                <a:lnTo>
                  <a:pt x="899" y="78"/>
                </a:lnTo>
                <a:lnTo>
                  <a:pt x="888" y="68"/>
                </a:lnTo>
                <a:lnTo>
                  <a:pt x="866" y="50"/>
                </a:lnTo>
                <a:lnTo>
                  <a:pt x="847" y="37"/>
                </a:lnTo>
                <a:lnTo>
                  <a:pt x="830" y="29"/>
                </a:lnTo>
                <a:lnTo>
                  <a:pt x="816" y="23"/>
                </a:lnTo>
                <a:lnTo>
                  <a:pt x="800" y="32"/>
                </a:lnTo>
                <a:lnTo>
                  <a:pt x="798" y="196"/>
                </a:lnTo>
                <a:lnTo>
                  <a:pt x="722" y="223"/>
                </a:lnTo>
                <a:lnTo>
                  <a:pt x="722" y="223"/>
                </a:lnTo>
                <a:lnTo>
                  <a:pt x="728" y="249"/>
                </a:lnTo>
                <a:lnTo>
                  <a:pt x="732" y="274"/>
                </a:lnTo>
                <a:lnTo>
                  <a:pt x="819" y="245"/>
                </a:lnTo>
                <a:close/>
                <a:moveTo>
                  <a:pt x="512" y="696"/>
                </a:moveTo>
                <a:lnTo>
                  <a:pt x="575" y="458"/>
                </a:lnTo>
                <a:lnTo>
                  <a:pt x="612" y="458"/>
                </a:lnTo>
                <a:lnTo>
                  <a:pt x="552" y="377"/>
                </a:lnTo>
                <a:lnTo>
                  <a:pt x="542" y="416"/>
                </a:lnTo>
                <a:lnTo>
                  <a:pt x="509" y="416"/>
                </a:lnTo>
                <a:lnTo>
                  <a:pt x="509" y="458"/>
                </a:lnTo>
                <a:lnTo>
                  <a:pt x="530" y="458"/>
                </a:lnTo>
                <a:lnTo>
                  <a:pt x="489" y="615"/>
                </a:lnTo>
                <a:lnTo>
                  <a:pt x="512" y="696"/>
                </a:lnTo>
                <a:close/>
                <a:moveTo>
                  <a:pt x="418" y="520"/>
                </a:moveTo>
                <a:lnTo>
                  <a:pt x="440" y="520"/>
                </a:lnTo>
                <a:lnTo>
                  <a:pt x="440" y="478"/>
                </a:lnTo>
                <a:lnTo>
                  <a:pt x="406" y="478"/>
                </a:lnTo>
                <a:lnTo>
                  <a:pt x="380" y="382"/>
                </a:lnTo>
                <a:lnTo>
                  <a:pt x="380" y="382"/>
                </a:lnTo>
                <a:lnTo>
                  <a:pt x="388" y="373"/>
                </a:lnTo>
                <a:lnTo>
                  <a:pt x="392" y="364"/>
                </a:lnTo>
                <a:lnTo>
                  <a:pt x="395" y="353"/>
                </a:lnTo>
                <a:lnTo>
                  <a:pt x="396" y="343"/>
                </a:lnTo>
                <a:lnTo>
                  <a:pt x="539" y="292"/>
                </a:lnTo>
                <a:lnTo>
                  <a:pt x="659" y="454"/>
                </a:lnTo>
                <a:lnTo>
                  <a:pt x="692" y="446"/>
                </a:lnTo>
                <a:lnTo>
                  <a:pt x="692" y="446"/>
                </a:lnTo>
                <a:lnTo>
                  <a:pt x="695" y="422"/>
                </a:lnTo>
                <a:lnTo>
                  <a:pt x="696" y="395"/>
                </a:lnTo>
                <a:lnTo>
                  <a:pt x="697" y="360"/>
                </a:lnTo>
                <a:lnTo>
                  <a:pt x="696" y="321"/>
                </a:lnTo>
                <a:lnTo>
                  <a:pt x="692" y="278"/>
                </a:lnTo>
                <a:lnTo>
                  <a:pt x="689" y="258"/>
                </a:lnTo>
                <a:lnTo>
                  <a:pt x="684" y="236"/>
                </a:lnTo>
                <a:lnTo>
                  <a:pt x="679" y="215"/>
                </a:lnTo>
                <a:lnTo>
                  <a:pt x="673" y="196"/>
                </a:lnTo>
                <a:lnTo>
                  <a:pt x="673" y="196"/>
                </a:lnTo>
                <a:lnTo>
                  <a:pt x="664" y="177"/>
                </a:lnTo>
                <a:lnTo>
                  <a:pt x="656" y="160"/>
                </a:lnTo>
                <a:lnTo>
                  <a:pt x="646" y="145"/>
                </a:lnTo>
                <a:lnTo>
                  <a:pt x="635" y="131"/>
                </a:lnTo>
                <a:lnTo>
                  <a:pt x="624" y="120"/>
                </a:lnTo>
                <a:lnTo>
                  <a:pt x="612" y="108"/>
                </a:lnTo>
                <a:lnTo>
                  <a:pt x="601" y="98"/>
                </a:lnTo>
                <a:lnTo>
                  <a:pt x="589" y="89"/>
                </a:lnTo>
                <a:lnTo>
                  <a:pt x="569" y="76"/>
                </a:lnTo>
                <a:lnTo>
                  <a:pt x="552" y="68"/>
                </a:lnTo>
                <a:lnTo>
                  <a:pt x="536" y="60"/>
                </a:lnTo>
                <a:lnTo>
                  <a:pt x="520" y="71"/>
                </a:lnTo>
                <a:lnTo>
                  <a:pt x="519" y="243"/>
                </a:lnTo>
                <a:lnTo>
                  <a:pt x="376" y="292"/>
                </a:lnTo>
                <a:lnTo>
                  <a:pt x="376" y="292"/>
                </a:lnTo>
                <a:lnTo>
                  <a:pt x="366" y="285"/>
                </a:lnTo>
                <a:lnTo>
                  <a:pt x="356" y="279"/>
                </a:lnTo>
                <a:lnTo>
                  <a:pt x="344" y="277"/>
                </a:lnTo>
                <a:lnTo>
                  <a:pt x="333" y="275"/>
                </a:lnTo>
                <a:lnTo>
                  <a:pt x="333" y="275"/>
                </a:lnTo>
                <a:lnTo>
                  <a:pt x="320" y="277"/>
                </a:lnTo>
                <a:lnTo>
                  <a:pt x="310" y="279"/>
                </a:lnTo>
                <a:lnTo>
                  <a:pt x="300" y="284"/>
                </a:lnTo>
                <a:lnTo>
                  <a:pt x="290" y="291"/>
                </a:lnTo>
                <a:lnTo>
                  <a:pt x="282" y="300"/>
                </a:lnTo>
                <a:lnTo>
                  <a:pt x="277" y="308"/>
                </a:lnTo>
                <a:lnTo>
                  <a:pt x="271" y="318"/>
                </a:lnTo>
                <a:lnTo>
                  <a:pt x="269" y="330"/>
                </a:lnTo>
                <a:lnTo>
                  <a:pt x="124" y="380"/>
                </a:lnTo>
                <a:lnTo>
                  <a:pt x="118" y="366"/>
                </a:lnTo>
                <a:lnTo>
                  <a:pt x="0" y="408"/>
                </a:lnTo>
                <a:lnTo>
                  <a:pt x="27" y="488"/>
                </a:lnTo>
                <a:lnTo>
                  <a:pt x="147" y="446"/>
                </a:lnTo>
                <a:lnTo>
                  <a:pt x="141" y="431"/>
                </a:lnTo>
                <a:lnTo>
                  <a:pt x="284" y="382"/>
                </a:lnTo>
                <a:lnTo>
                  <a:pt x="258" y="478"/>
                </a:lnTo>
                <a:lnTo>
                  <a:pt x="225" y="478"/>
                </a:lnTo>
                <a:lnTo>
                  <a:pt x="225" y="520"/>
                </a:lnTo>
                <a:lnTo>
                  <a:pt x="246" y="520"/>
                </a:lnTo>
                <a:lnTo>
                  <a:pt x="179" y="775"/>
                </a:lnTo>
                <a:lnTo>
                  <a:pt x="140" y="775"/>
                </a:lnTo>
                <a:lnTo>
                  <a:pt x="140" y="818"/>
                </a:lnTo>
                <a:lnTo>
                  <a:pt x="525" y="818"/>
                </a:lnTo>
                <a:lnTo>
                  <a:pt x="525" y="775"/>
                </a:lnTo>
                <a:lnTo>
                  <a:pt x="486" y="775"/>
                </a:lnTo>
                <a:lnTo>
                  <a:pt x="418" y="520"/>
                </a:lnTo>
                <a:close/>
                <a:moveTo>
                  <a:pt x="323" y="403"/>
                </a:moveTo>
                <a:lnTo>
                  <a:pt x="323" y="403"/>
                </a:lnTo>
                <a:lnTo>
                  <a:pt x="333" y="403"/>
                </a:lnTo>
                <a:lnTo>
                  <a:pt x="333" y="403"/>
                </a:lnTo>
                <a:lnTo>
                  <a:pt x="342" y="403"/>
                </a:lnTo>
                <a:lnTo>
                  <a:pt x="362" y="478"/>
                </a:lnTo>
                <a:lnTo>
                  <a:pt x="303" y="478"/>
                </a:lnTo>
                <a:lnTo>
                  <a:pt x="323" y="403"/>
                </a:lnTo>
                <a:close/>
                <a:moveTo>
                  <a:pt x="223" y="775"/>
                </a:moveTo>
                <a:lnTo>
                  <a:pt x="291" y="520"/>
                </a:lnTo>
                <a:lnTo>
                  <a:pt x="373" y="520"/>
                </a:lnTo>
                <a:lnTo>
                  <a:pt x="442" y="775"/>
                </a:lnTo>
                <a:lnTo>
                  <a:pt x="223" y="77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7" name="Плюс 46"/>
          <p:cNvSpPr/>
          <p:nvPr/>
        </p:nvSpPr>
        <p:spPr>
          <a:xfrm>
            <a:off x="7538814" y="3336476"/>
            <a:ext cx="297321" cy="305151"/>
          </a:xfrm>
          <a:prstGeom prst="mathPlus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507859" y="2831367"/>
            <a:ext cx="12763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00" b="1" dirty="0" smtClean="0">
                <a:solidFill>
                  <a:schemeClr val="accent1"/>
                </a:solidFill>
              </a:rPr>
              <a:t>ТЕХНОЛОГИЧЕСКИЙ </a:t>
            </a:r>
          </a:p>
          <a:p>
            <a:pPr algn="ctr"/>
            <a:r>
              <a:rPr lang="ru-RU" sz="800" b="1" dirty="0" smtClean="0">
                <a:solidFill>
                  <a:schemeClr val="accent1"/>
                </a:solidFill>
              </a:rPr>
              <a:t>ЦИКЛ</a:t>
            </a:r>
            <a:endParaRPr lang="ru-RU" b="1" dirty="0">
              <a:solidFill>
                <a:schemeClr val="accent1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7743515" y="2831367"/>
            <a:ext cx="11673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00" b="1" dirty="0" smtClean="0">
                <a:solidFill>
                  <a:schemeClr val="accent1"/>
                </a:solidFill>
              </a:rPr>
              <a:t>АДАПТАЦИОННЫЙ</a:t>
            </a:r>
          </a:p>
          <a:p>
            <a:pPr algn="ctr"/>
            <a:r>
              <a:rPr lang="ru-RU" sz="800" b="1" dirty="0" smtClean="0">
                <a:solidFill>
                  <a:schemeClr val="accent1"/>
                </a:solidFill>
              </a:rPr>
              <a:t>ЦИКЛ</a:t>
            </a:r>
            <a:endParaRPr lang="ru-RU" b="1" dirty="0">
              <a:solidFill>
                <a:schemeClr val="accent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554265" y="3948460"/>
            <a:ext cx="229123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/>
              <a:t>*</a:t>
            </a:r>
            <a:r>
              <a:rPr lang="ru-RU" sz="700" dirty="0" smtClean="0"/>
              <a:t> </a:t>
            </a:r>
            <a:r>
              <a:rPr lang="ru-RU" sz="600" dirty="0" smtClean="0"/>
              <a:t>Для проверки гипотезы необходима доказательная база (исходы эксперимента).</a:t>
            </a:r>
          </a:p>
          <a:p>
            <a:r>
              <a:rPr lang="ru-RU" sz="600" dirty="0" smtClean="0"/>
              <a:t> </a:t>
            </a:r>
          </a:p>
          <a:p>
            <a:r>
              <a:rPr lang="ru-RU" sz="600" dirty="0" smtClean="0"/>
              <a:t>Эксперимент -  минимальный шаг проверки гипотезы, скв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600" dirty="0" smtClean="0"/>
          </a:p>
          <a:p>
            <a:r>
              <a:rPr lang="ru-RU" sz="600" dirty="0" smtClean="0"/>
              <a:t>Для достоверного сравнения результатов необходимо не менее  3 скважин</a:t>
            </a:r>
          </a:p>
        </p:txBody>
      </p:sp>
      <p:sp>
        <p:nvSpPr>
          <p:cNvPr id="49" name="TextBox 1"/>
          <p:cNvSpPr txBox="1"/>
          <p:nvPr/>
        </p:nvSpPr>
        <p:spPr>
          <a:xfrm>
            <a:off x="5433324" y="1394929"/>
            <a:ext cx="312586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000" dirty="0" smtClean="0"/>
              <a:t>SRV</a:t>
            </a:r>
            <a:r>
              <a:rPr lang="en-US" sz="700" dirty="0" smtClean="0"/>
              <a:t>1</a:t>
            </a:r>
            <a:endParaRPr lang="ru-RU" sz="700" dirty="0" smtClean="0"/>
          </a:p>
        </p:txBody>
      </p:sp>
      <p:sp>
        <p:nvSpPr>
          <p:cNvPr id="50" name="TextBox 1"/>
          <p:cNvSpPr txBox="1"/>
          <p:nvPr/>
        </p:nvSpPr>
        <p:spPr>
          <a:xfrm>
            <a:off x="5450990" y="1632790"/>
            <a:ext cx="312586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000" dirty="0" smtClean="0"/>
              <a:t>SRV</a:t>
            </a:r>
            <a:r>
              <a:rPr lang="en-US" sz="700" dirty="0" smtClean="0"/>
              <a:t>2</a:t>
            </a:r>
            <a:endParaRPr lang="ru-RU" sz="700" dirty="0" smtClean="0"/>
          </a:p>
        </p:txBody>
      </p:sp>
      <p:sp>
        <p:nvSpPr>
          <p:cNvPr id="52" name="TextBox 1"/>
          <p:cNvSpPr txBox="1"/>
          <p:nvPr/>
        </p:nvSpPr>
        <p:spPr>
          <a:xfrm>
            <a:off x="5480531" y="1873705"/>
            <a:ext cx="312586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000" dirty="0" smtClean="0"/>
              <a:t>SRV</a:t>
            </a:r>
            <a:r>
              <a:rPr lang="en-US" sz="700" dirty="0" smtClean="0"/>
              <a:t>3</a:t>
            </a:r>
            <a:endParaRPr lang="ru-RU" sz="700" dirty="0" smtClean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287338" y="2669222"/>
            <a:ext cx="856964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1"/>
                </a:gs>
                <a:gs pos="50000">
                  <a:schemeClr val="accent1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1"/>
          <p:cNvSpPr txBox="1"/>
          <p:nvPr/>
        </p:nvSpPr>
        <p:spPr>
          <a:xfrm rot="1310647">
            <a:off x="1821854" y="1532148"/>
            <a:ext cx="884858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000" dirty="0" smtClean="0"/>
              <a:t>Стоимость</a:t>
            </a:r>
            <a:r>
              <a:rPr lang="en-US" sz="1000" dirty="0" smtClean="0"/>
              <a:t> </a:t>
            </a:r>
            <a:r>
              <a:rPr lang="ru-RU" sz="1000" dirty="0" smtClean="0"/>
              <a:t>ГС</a:t>
            </a:r>
            <a:r>
              <a:rPr lang="ru-RU" sz="600" dirty="0" smtClean="0"/>
              <a:t>1</a:t>
            </a:r>
            <a:endParaRPr lang="ru-RU" sz="700" dirty="0" smtClean="0"/>
          </a:p>
        </p:txBody>
      </p:sp>
      <p:sp>
        <p:nvSpPr>
          <p:cNvPr id="69" name="Полилиния 68"/>
          <p:cNvSpPr/>
          <p:nvPr/>
        </p:nvSpPr>
        <p:spPr>
          <a:xfrm>
            <a:off x="432797" y="1464412"/>
            <a:ext cx="2222116" cy="930168"/>
          </a:xfrm>
          <a:custGeom>
            <a:avLst/>
            <a:gdLst>
              <a:gd name="connsiteX0" fmla="*/ 0 w 2112579"/>
              <a:gd name="connsiteY0" fmla="*/ 227023 h 227023"/>
              <a:gd name="connsiteX1" fmla="*/ 2112579 w 2112579"/>
              <a:gd name="connsiteY1" fmla="*/ 0 h 227023"/>
              <a:gd name="connsiteX0" fmla="*/ 0 w 2112579"/>
              <a:gd name="connsiteY0" fmla="*/ 440028 h 440028"/>
              <a:gd name="connsiteX1" fmla="*/ 2112579 w 2112579"/>
              <a:gd name="connsiteY1" fmla="*/ 213005 h 440028"/>
              <a:gd name="connsiteX0" fmla="*/ 0 w 2112579"/>
              <a:gd name="connsiteY0" fmla="*/ 610136 h 610136"/>
              <a:gd name="connsiteX1" fmla="*/ 2112579 w 2112579"/>
              <a:gd name="connsiteY1" fmla="*/ 383113 h 610136"/>
              <a:gd name="connsiteX0" fmla="*/ 0 w 2112579"/>
              <a:gd name="connsiteY0" fmla="*/ 728339 h 728339"/>
              <a:gd name="connsiteX1" fmla="*/ 2112579 w 2112579"/>
              <a:gd name="connsiteY1" fmla="*/ 501316 h 728339"/>
              <a:gd name="connsiteX0" fmla="*/ 0 w 2112579"/>
              <a:gd name="connsiteY0" fmla="*/ 710576 h 710576"/>
              <a:gd name="connsiteX1" fmla="*/ 2112579 w 2112579"/>
              <a:gd name="connsiteY1" fmla="*/ 483553 h 710576"/>
              <a:gd name="connsiteX0" fmla="*/ 0 w 2112579"/>
              <a:gd name="connsiteY0" fmla="*/ 737077 h 737077"/>
              <a:gd name="connsiteX1" fmla="*/ 2112579 w 2112579"/>
              <a:gd name="connsiteY1" fmla="*/ 510054 h 737077"/>
              <a:gd name="connsiteX0" fmla="*/ 0 w 2112579"/>
              <a:gd name="connsiteY0" fmla="*/ 717372 h 717372"/>
              <a:gd name="connsiteX1" fmla="*/ 2112579 w 2112579"/>
              <a:gd name="connsiteY1" fmla="*/ 490349 h 717372"/>
              <a:gd name="connsiteX0" fmla="*/ 0 w 2112579"/>
              <a:gd name="connsiteY0" fmla="*/ 877061 h 877061"/>
              <a:gd name="connsiteX1" fmla="*/ 926897 w 2112579"/>
              <a:gd name="connsiteY1" fmla="*/ 166025 h 877061"/>
              <a:gd name="connsiteX2" fmla="*/ 2112579 w 2112579"/>
              <a:gd name="connsiteY2" fmla="*/ 650038 h 877061"/>
              <a:gd name="connsiteX0" fmla="*/ 0 w 2112579"/>
              <a:gd name="connsiteY0" fmla="*/ 877061 h 877061"/>
              <a:gd name="connsiteX1" fmla="*/ 600666 w 2112579"/>
              <a:gd name="connsiteY1" fmla="*/ 175551 h 877061"/>
              <a:gd name="connsiteX2" fmla="*/ 926897 w 2112579"/>
              <a:gd name="connsiteY2" fmla="*/ 166025 h 877061"/>
              <a:gd name="connsiteX3" fmla="*/ 2112579 w 2112579"/>
              <a:gd name="connsiteY3" fmla="*/ 650038 h 877061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222116"/>
              <a:gd name="connsiteY0" fmla="*/ 930168 h 930168"/>
              <a:gd name="connsiteX1" fmla="*/ 710203 w 2222116"/>
              <a:gd name="connsiteY1" fmla="*/ 2439 h 930168"/>
              <a:gd name="connsiteX2" fmla="*/ 2222116 w 2222116"/>
              <a:gd name="connsiteY2" fmla="*/ 476926 h 930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22116" h="930168">
                <a:moveTo>
                  <a:pt x="0" y="930168"/>
                </a:moveTo>
                <a:cubicBezTo>
                  <a:pt x="129877" y="648547"/>
                  <a:pt x="467644" y="35513"/>
                  <a:pt x="710203" y="2439"/>
                </a:cubicBezTo>
                <a:cubicBezTo>
                  <a:pt x="1062300" y="-35398"/>
                  <a:pt x="1907134" y="378075"/>
                  <a:pt x="2222116" y="476926"/>
                </a:cubicBez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Полилиния 70"/>
          <p:cNvSpPr/>
          <p:nvPr/>
        </p:nvSpPr>
        <p:spPr>
          <a:xfrm>
            <a:off x="428034" y="1694782"/>
            <a:ext cx="2226879" cy="706330"/>
          </a:xfrm>
          <a:custGeom>
            <a:avLst/>
            <a:gdLst>
              <a:gd name="connsiteX0" fmla="*/ 0 w 2112579"/>
              <a:gd name="connsiteY0" fmla="*/ 227023 h 227023"/>
              <a:gd name="connsiteX1" fmla="*/ 2112579 w 2112579"/>
              <a:gd name="connsiteY1" fmla="*/ 0 h 227023"/>
              <a:gd name="connsiteX0" fmla="*/ 0 w 2112579"/>
              <a:gd name="connsiteY0" fmla="*/ 440028 h 440028"/>
              <a:gd name="connsiteX1" fmla="*/ 2112579 w 2112579"/>
              <a:gd name="connsiteY1" fmla="*/ 213005 h 440028"/>
              <a:gd name="connsiteX0" fmla="*/ 0 w 2112579"/>
              <a:gd name="connsiteY0" fmla="*/ 610136 h 610136"/>
              <a:gd name="connsiteX1" fmla="*/ 2112579 w 2112579"/>
              <a:gd name="connsiteY1" fmla="*/ 383113 h 610136"/>
              <a:gd name="connsiteX0" fmla="*/ 0 w 2112579"/>
              <a:gd name="connsiteY0" fmla="*/ 728339 h 728339"/>
              <a:gd name="connsiteX1" fmla="*/ 2112579 w 2112579"/>
              <a:gd name="connsiteY1" fmla="*/ 501316 h 728339"/>
              <a:gd name="connsiteX0" fmla="*/ 0 w 2112579"/>
              <a:gd name="connsiteY0" fmla="*/ 710576 h 710576"/>
              <a:gd name="connsiteX1" fmla="*/ 2112579 w 2112579"/>
              <a:gd name="connsiteY1" fmla="*/ 483553 h 710576"/>
              <a:gd name="connsiteX0" fmla="*/ 0 w 2112579"/>
              <a:gd name="connsiteY0" fmla="*/ 737077 h 737077"/>
              <a:gd name="connsiteX1" fmla="*/ 2112579 w 2112579"/>
              <a:gd name="connsiteY1" fmla="*/ 510054 h 737077"/>
              <a:gd name="connsiteX0" fmla="*/ 0 w 2112579"/>
              <a:gd name="connsiteY0" fmla="*/ 717372 h 717372"/>
              <a:gd name="connsiteX1" fmla="*/ 2112579 w 2112579"/>
              <a:gd name="connsiteY1" fmla="*/ 490349 h 717372"/>
              <a:gd name="connsiteX0" fmla="*/ 0 w 2112579"/>
              <a:gd name="connsiteY0" fmla="*/ 877061 h 877061"/>
              <a:gd name="connsiteX1" fmla="*/ 926897 w 2112579"/>
              <a:gd name="connsiteY1" fmla="*/ 166025 h 877061"/>
              <a:gd name="connsiteX2" fmla="*/ 2112579 w 2112579"/>
              <a:gd name="connsiteY2" fmla="*/ 650038 h 877061"/>
              <a:gd name="connsiteX0" fmla="*/ 0 w 2112579"/>
              <a:gd name="connsiteY0" fmla="*/ 877061 h 877061"/>
              <a:gd name="connsiteX1" fmla="*/ 600666 w 2112579"/>
              <a:gd name="connsiteY1" fmla="*/ 175551 h 877061"/>
              <a:gd name="connsiteX2" fmla="*/ 926897 w 2112579"/>
              <a:gd name="connsiteY2" fmla="*/ 166025 h 877061"/>
              <a:gd name="connsiteX3" fmla="*/ 2112579 w 2112579"/>
              <a:gd name="connsiteY3" fmla="*/ 650038 h 877061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112579"/>
              <a:gd name="connsiteY0" fmla="*/ 703949 h 703949"/>
              <a:gd name="connsiteX1" fmla="*/ 600666 w 2112579"/>
              <a:gd name="connsiteY1" fmla="*/ 2439 h 703949"/>
              <a:gd name="connsiteX2" fmla="*/ 2112579 w 2112579"/>
              <a:gd name="connsiteY2" fmla="*/ 476926 h 703949"/>
              <a:gd name="connsiteX0" fmla="*/ 0 w 2031617"/>
              <a:gd name="connsiteY0" fmla="*/ 696805 h 696805"/>
              <a:gd name="connsiteX1" fmla="*/ 519704 w 2031617"/>
              <a:gd name="connsiteY1" fmla="*/ 2439 h 696805"/>
              <a:gd name="connsiteX2" fmla="*/ 2031617 w 2031617"/>
              <a:gd name="connsiteY2" fmla="*/ 476926 h 696805"/>
              <a:gd name="connsiteX0" fmla="*/ 0 w 2226879"/>
              <a:gd name="connsiteY0" fmla="*/ 706330 h 706330"/>
              <a:gd name="connsiteX1" fmla="*/ 714966 w 2226879"/>
              <a:gd name="connsiteY1" fmla="*/ 2439 h 706330"/>
              <a:gd name="connsiteX2" fmla="*/ 2226879 w 2226879"/>
              <a:gd name="connsiteY2" fmla="*/ 476926 h 706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26879" h="706330">
                <a:moveTo>
                  <a:pt x="0" y="706330"/>
                </a:moveTo>
                <a:cubicBezTo>
                  <a:pt x="129877" y="424709"/>
                  <a:pt x="472407" y="35513"/>
                  <a:pt x="714966" y="2439"/>
                </a:cubicBezTo>
                <a:cubicBezTo>
                  <a:pt x="1067063" y="-35398"/>
                  <a:pt x="1911897" y="378075"/>
                  <a:pt x="2226879" y="476926"/>
                </a:cubicBez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5" name="TextBox 1"/>
          <p:cNvSpPr txBox="1"/>
          <p:nvPr/>
        </p:nvSpPr>
        <p:spPr>
          <a:xfrm rot="1310647">
            <a:off x="1821853" y="1772655"/>
            <a:ext cx="884858" cy="24622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000" dirty="0" smtClean="0"/>
              <a:t>Стоимость</a:t>
            </a:r>
            <a:r>
              <a:rPr lang="en-US" sz="1000" dirty="0" smtClean="0"/>
              <a:t> </a:t>
            </a:r>
            <a:r>
              <a:rPr lang="ru-RU" sz="1000" dirty="0" smtClean="0"/>
              <a:t>ГС</a:t>
            </a:r>
            <a:r>
              <a:rPr lang="ru-RU" sz="600" dirty="0" smtClean="0"/>
              <a:t>2</a:t>
            </a:r>
            <a:endParaRPr lang="ru-RU" sz="300" dirty="0" smtClean="0"/>
          </a:p>
        </p:txBody>
      </p:sp>
    </p:spTree>
    <p:extLst>
      <p:ext uri="{BB962C8B-B14F-4D97-AF65-F5344CB8AC3E}">
        <p14:creationId xmlns:p14="http://schemas.microsoft.com/office/powerpoint/2010/main" val="1798276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41481"/>
            <a:ext cx="8560318" cy="457874"/>
          </a:xfrm>
        </p:spPr>
        <p:txBody>
          <a:bodyPr/>
          <a:lstStyle/>
          <a:p>
            <a:r>
              <a:rPr lang="ru-RU" sz="2000" dirty="0" smtClean="0"/>
              <a:t>Технология освоения БС обеспечивает достижение КПЭ</a:t>
            </a:r>
            <a:r>
              <a:rPr lang="en-US" sz="2000" dirty="0" smtClean="0"/>
              <a:t> </a:t>
            </a:r>
            <a:r>
              <a:rPr lang="ru-RU" sz="2000" dirty="0" smtClean="0"/>
              <a:t>проекта Бажен</a:t>
            </a:r>
            <a:endParaRPr lang="ru-RU" sz="2000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287016" y="686890"/>
          <a:ext cx="8561712" cy="1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3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1347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14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15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16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17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18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19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20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21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22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23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24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dirty="0" smtClean="0"/>
                        <a:t>2025</a:t>
                      </a:r>
                      <a:endParaRPr lang="ru-RU" sz="800" b="0" dirty="0"/>
                    </a:p>
                  </a:txBody>
                  <a:tcPr marT="0" marB="0" anchor="ctr"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Pentagon 82"/>
          <p:cNvSpPr/>
          <p:nvPr>
            <p:custDataLst>
              <p:tags r:id="rId2"/>
            </p:custDataLst>
          </p:nvPr>
        </p:nvSpPr>
        <p:spPr>
          <a:xfrm>
            <a:off x="5257800" y="902914"/>
            <a:ext cx="2266528" cy="186350"/>
          </a:xfrm>
          <a:prstGeom prst="chevron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6271" algn="ctr"/>
            <a:r>
              <a:rPr lang="ru-RU" sz="700" dirty="0" smtClean="0">
                <a:solidFill>
                  <a:schemeClr val="bg1"/>
                </a:solidFill>
              </a:rPr>
              <a:t>ВЫБОР</a:t>
            </a:r>
            <a:endParaRPr lang="ru-RU" sz="700" dirty="0">
              <a:solidFill>
                <a:schemeClr val="bg1"/>
              </a:solidFill>
            </a:endParaRPr>
          </a:p>
        </p:txBody>
      </p:sp>
      <p:sp>
        <p:nvSpPr>
          <p:cNvPr id="12" name="Right Arrow 10"/>
          <p:cNvSpPr/>
          <p:nvPr>
            <p:custDataLst>
              <p:tags r:id="rId3"/>
            </p:custDataLst>
          </p:nvPr>
        </p:nvSpPr>
        <p:spPr>
          <a:xfrm>
            <a:off x="287020" y="903040"/>
            <a:ext cx="2978150" cy="186350"/>
          </a:xfrm>
          <a:prstGeom prst="homePlate">
            <a:avLst/>
          </a:prstGeom>
          <a:solidFill>
            <a:schemeClr val="accent1"/>
          </a:solidFill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dirty="0" smtClean="0">
                <a:solidFill>
                  <a:schemeClr val="bg1"/>
                </a:solidFill>
              </a:rPr>
              <a:t>ПОИСК</a:t>
            </a:r>
          </a:p>
        </p:txBody>
      </p:sp>
      <p:sp>
        <p:nvSpPr>
          <p:cNvPr id="13" name="Pentagon 82"/>
          <p:cNvSpPr/>
          <p:nvPr>
            <p:custDataLst>
              <p:tags r:id="rId4"/>
            </p:custDataLst>
          </p:nvPr>
        </p:nvSpPr>
        <p:spPr>
          <a:xfrm>
            <a:off x="3149600" y="902914"/>
            <a:ext cx="2286496" cy="186350"/>
          </a:xfrm>
          <a:prstGeom prst="chevron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6271" algn="ctr"/>
            <a:r>
              <a:rPr lang="ru-RU" sz="700" dirty="0">
                <a:solidFill>
                  <a:schemeClr val="bg1"/>
                </a:solidFill>
              </a:rPr>
              <a:t>ОЦЕНКА</a:t>
            </a: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826294" y="883938"/>
            <a:ext cx="433902" cy="1080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spcBef>
                <a:spcPts val="400"/>
              </a:spcBef>
            </a:pPr>
            <a:r>
              <a:rPr lang="ru-RU" sz="600" dirty="0" smtClean="0">
                <a:solidFill>
                  <a:schemeClr val="tx2"/>
                </a:solidFill>
              </a:rPr>
              <a:t>    </a:t>
            </a:r>
          </a:p>
        </p:txBody>
      </p:sp>
      <p:sp>
        <p:nvSpPr>
          <p:cNvPr id="108" name="Пятиугольник 107"/>
          <p:cNvSpPr/>
          <p:nvPr/>
        </p:nvSpPr>
        <p:spPr>
          <a:xfrm>
            <a:off x="292104" y="1078790"/>
            <a:ext cx="7088209" cy="940248"/>
          </a:xfrm>
          <a:prstGeom prst="homePlate">
            <a:avLst>
              <a:gd name="adj" fmla="val 0"/>
            </a:avLst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r>
              <a:rPr lang="ru-RU" sz="2200" dirty="0" smtClean="0">
                <a:solidFill>
                  <a:schemeClr val="bg1"/>
                </a:solidFill>
              </a:rPr>
              <a:t>    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7247550" y="1358409"/>
            <a:ext cx="1609430" cy="28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/>
          <a:lstStyle/>
          <a:p>
            <a:r>
              <a:rPr lang="ru-RU" sz="900" dirty="0" smtClean="0">
                <a:solidFill>
                  <a:schemeClr val="tx2"/>
                </a:solidFill>
              </a:rPr>
              <a:t>    </a:t>
            </a: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968376" y="1214365"/>
            <a:ext cx="2181225" cy="775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88900" indent="-88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600" dirty="0" smtClean="0"/>
              <a:t>Наличие подвижной нефти</a:t>
            </a:r>
          </a:p>
          <a:p>
            <a:pPr marL="88900" indent="-88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600" dirty="0" smtClean="0"/>
              <a:t>Модель насыщения</a:t>
            </a:r>
          </a:p>
          <a:p>
            <a:pPr marL="88900" indent="-88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600" dirty="0" smtClean="0"/>
              <a:t>Естественные ФЕС Бажена</a:t>
            </a:r>
          </a:p>
          <a:p>
            <a:pPr marL="88900" indent="-88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600" dirty="0"/>
              <a:t>Генерационный потенциал </a:t>
            </a:r>
            <a:r>
              <a:rPr lang="ru-RU" sz="600" dirty="0" smtClean="0"/>
              <a:t>керогена</a:t>
            </a:r>
          </a:p>
          <a:p>
            <a:pPr marL="88900" indent="-88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600" dirty="0" smtClean="0"/>
              <a:t>Достоверность регионального ранжирование </a:t>
            </a:r>
            <a:r>
              <a:rPr lang="ru-RU" sz="600" dirty="0"/>
              <a:t>РБ по </a:t>
            </a:r>
            <a:r>
              <a:rPr lang="ru-RU" sz="600" dirty="0" smtClean="0"/>
              <a:t>технологической доступности</a:t>
            </a:r>
            <a:endParaRPr lang="ru-RU" sz="600" dirty="0"/>
          </a:p>
          <a:p>
            <a:pPr marL="88900" indent="-88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600" dirty="0" smtClean="0"/>
              <a:t>Потенциал естественной продуктивности</a:t>
            </a:r>
          </a:p>
          <a:p>
            <a:pPr marL="88900" indent="-88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600" dirty="0" smtClean="0"/>
              <a:t>Потенциал стимулированного коллектора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232150" y="1183220"/>
            <a:ext cx="206375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/>
              <a:t>Прогноз физических свойств по </a:t>
            </a:r>
            <a:r>
              <a:rPr lang="ru-RU" sz="600" dirty="0" smtClean="0"/>
              <a:t>площади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Величина подвижных запасов искусственного коллектора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Зависимость объема запасов от физических свойств Бажена и технологии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Определение траектории ГС в зависимости от локализации запасов в разрезе 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Эффективность методов воздействия на кероген баженовской свиты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363716" y="1081194"/>
            <a:ext cx="2016596" cy="92333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Интерференция скважин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Контур дренирования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Возможность ППД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Удельная стоимость технологии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Оптимальная технология в зависимости от физических свойств Бажена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 smtClean="0"/>
              <a:t>Эффективность технологии воздействия на кероген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/>
              <a:t>Возможность тиражирования технологий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/>
              <a:t>Технологии автономного обустройства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ru-RU" sz="600" dirty="0"/>
              <a:t>Влияние масштаба на стоимость </a:t>
            </a:r>
            <a:r>
              <a:rPr lang="ru-RU" sz="600" dirty="0" smtClean="0"/>
              <a:t>технологий</a:t>
            </a:r>
            <a:endParaRPr lang="ru-RU" sz="600" dirty="0"/>
          </a:p>
        </p:txBody>
      </p:sp>
      <p:sp>
        <p:nvSpPr>
          <p:cNvPr id="57" name="Пятиугольник 56"/>
          <p:cNvSpPr/>
          <p:nvPr/>
        </p:nvSpPr>
        <p:spPr>
          <a:xfrm>
            <a:off x="7438204" y="1078790"/>
            <a:ext cx="1390652" cy="940248"/>
          </a:xfrm>
          <a:prstGeom prst="homePlate">
            <a:avLst>
              <a:gd name="adj" fmla="val 7609"/>
            </a:avLst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r>
              <a:rPr lang="ru-RU" sz="2200" dirty="0" smtClean="0">
                <a:solidFill>
                  <a:schemeClr val="bg1"/>
                </a:solidFill>
              </a:rPr>
              <a:t>    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7480309" y="1280269"/>
            <a:ext cx="1509443" cy="613447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b"/>
          <a:lstStyle/>
          <a:p>
            <a:r>
              <a:rPr lang="ru-RU" sz="800" dirty="0" smtClean="0">
                <a:solidFill>
                  <a:schemeClr val="tx2"/>
                </a:solidFill>
              </a:rPr>
              <a:t>Добыча</a:t>
            </a:r>
            <a:r>
              <a:rPr lang="ru-RU" sz="1400" dirty="0" smtClean="0">
                <a:solidFill>
                  <a:schemeClr val="tx2"/>
                </a:solidFill>
              </a:rPr>
              <a:t> </a:t>
            </a:r>
            <a:r>
              <a:rPr lang="en-US" sz="1400" dirty="0" smtClean="0">
                <a:solidFill>
                  <a:schemeClr val="tx2"/>
                </a:solidFill>
              </a:rPr>
              <a:t>2,5</a:t>
            </a:r>
            <a:r>
              <a:rPr lang="en-US" sz="2000" dirty="0" smtClean="0">
                <a:solidFill>
                  <a:schemeClr val="tx2"/>
                </a:solidFill>
              </a:rPr>
              <a:t> </a:t>
            </a:r>
            <a:r>
              <a:rPr lang="ru-RU" sz="700" dirty="0" smtClean="0">
                <a:solidFill>
                  <a:schemeClr val="tx2"/>
                </a:solidFill>
              </a:rPr>
              <a:t>млн.т/год</a:t>
            </a:r>
          </a:p>
          <a:p>
            <a:r>
              <a:rPr lang="ru-RU" sz="800" dirty="0">
                <a:solidFill>
                  <a:schemeClr val="tx2"/>
                </a:solidFill>
              </a:rPr>
              <a:t>Запасы</a:t>
            </a:r>
            <a:r>
              <a:rPr lang="ru-RU" sz="1400" dirty="0">
                <a:solidFill>
                  <a:schemeClr val="tx2"/>
                </a:solidFill>
              </a:rPr>
              <a:t> 70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ru-RU" sz="700" dirty="0" smtClean="0">
                <a:solidFill>
                  <a:schemeClr val="tx2"/>
                </a:solidFill>
              </a:rPr>
              <a:t>млн.т.</a:t>
            </a:r>
            <a:endParaRPr lang="ru-RU" sz="700" dirty="0">
              <a:solidFill>
                <a:schemeClr val="tx2"/>
              </a:solidFill>
            </a:endParaRPr>
          </a:p>
        </p:txBody>
      </p:sp>
      <p:sp>
        <p:nvSpPr>
          <p:cNvPr id="10" name="Right Arrow 10"/>
          <p:cNvSpPr/>
          <p:nvPr>
            <p:custDataLst>
              <p:tags r:id="rId6"/>
            </p:custDataLst>
          </p:nvPr>
        </p:nvSpPr>
        <p:spPr>
          <a:xfrm>
            <a:off x="7380321" y="903040"/>
            <a:ext cx="1476351" cy="186350"/>
          </a:xfrm>
          <a:prstGeom prst="chevron">
            <a:avLst>
              <a:gd name="adj" fmla="val 25466"/>
            </a:avLst>
          </a:prstGeom>
          <a:solidFill>
            <a:schemeClr val="accent1"/>
          </a:solidFill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>
              <a:spcBef>
                <a:spcPts val="600"/>
              </a:spcBef>
            </a:pPr>
            <a:r>
              <a:rPr lang="ru-RU" sz="700" dirty="0" smtClean="0">
                <a:solidFill>
                  <a:schemeClr val="bg1"/>
                </a:solidFill>
              </a:rPr>
              <a:t>ОПРЕДЕЛЕНИЕ</a:t>
            </a:r>
            <a:endParaRPr lang="en-US" sz="700" dirty="0" smtClean="0">
              <a:solidFill>
                <a:schemeClr val="bg1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86679" y="1046244"/>
            <a:ext cx="1003480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700" b="1" dirty="0" smtClean="0"/>
              <a:t>НЕОПРЕДЕЛЕННОСТИ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450545" y="1063830"/>
            <a:ext cx="40716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700" b="1" dirty="0" smtClean="0">
                <a:solidFill>
                  <a:schemeClr val="tx2"/>
                </a:solidFill>
              </a:rPr>
              <a:t>КПЭ 2025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36550" y="1410185"/>
            <a:ext cx="514350" cy="1692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500" b="1" dirty="0" smtClean="0"/>
              <a:t>ГЕОЛОГИЯ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39063" y="1815347"/>
            <a:ext cx="445635" cy="1692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ru-RU" sz="500" b="1" dirty="0" smtClean="0"/>
              <a:t>ТЕХНОЛОГИИ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1251" y="1263160"/>
            <a:ext cx="6459389" cy="755654"/>
          </a:xfrm>
          <a:custGeom>
            <a:avLst/>
            <a:gdLst>
              <a:gd name="connsiteX0" fmla="*/ 0 w 2016596"/>
              <a:gd name="connsiteY0" fmla="*/ 0 h 646116"/>
              <a:gd name="connsiteX1" fmla="*/ 2016596 w 2016596"/>
              <a:gd name="connsiteY1" fmla="*/ 0 h 646116"/>
              <a:gd name="connsiteX2" fmla="*/ 2016596 w 2016596"/>
              <a:gd name="connsiteY2" fmla="*/ 646116 h 646116"/>
              <a:gd name="connsiteX3" fmla="*/ 0 w 2016596"/>
              <a:gd name="connsiteY3" fmla="*/ 646116 h 646116"/>
              <a:gd name="connsiteX4" fmla="*/ 0 w 2016596"/>
              <a:gd name="connsiteY4" fmla="*/ 0 h 646116"/>
              <a:gd name="connsiteX0" fmla="*/ 4435028 w 6451624"/>
              <a:gd name="connsiteY0" fmla="*/ 0 h 646116"/>
              <a:gd name="connsiteX1" fmla="*/ 6451624 w 6451624"/>
              <a:gd name="connsiteY1" fmla="*/ 0 h 646116"/>
              <a:gd name="connsiteX2" fmla="*/ 6451624 w 6451624"/>
              <a:gd name="connsiteY2" fmla="*/ 646116 h 646116"/>
              <a:gd name="connsiteX3" fmla="*/ 4435028 w 6451624"/>
              <a:gd name="connsiteY3" fmla="*/ 646116 h 646116"/>
              <a:gd name="connsiteX4" fmla="*/ 0 w 6451624"/>
              <a:gd name="connsiteY4" fmla="*/ 476218 h 646116"/>
              <a:gd name="connsiteX5" fmla="*/ 4435028 w 6451624"/>
              <a:gd name="connsiteY5" fmla="*/ 0 h 646116"/>
              <a:gd name="connsiteX0" fmla="*/ 4448182 w 6464778"/>
              <a:gd name="connsiteY0" fmla="*/ 0 h 660403"/>
              <a:gd name="connsiteX1" fmla="*/ 6464778 w 6464778"/>
              <a:gd name="connsiteY1" fmla="*/ 0 h 660403"/>
              <a:gd name="connsiteX2" fmla="*/ 6464778 w 6464778"/>
              <a:gd name="connsiteY2" fmla="*/ 646116 h 660403"/>
              <a:gd name="connsiteX3" fmla="*/ 7 w 6464778"/>
              <a:gd name="connsiteY3" fmla="*/ 660403 h 660403"/>
              <a:gd name="connsiteX4" fmla="*/ 13154 w 6464778"/>
              <a:gd name="connsiteY4" fmla="*/ 476218 h 660403"/>
              <a:gd name="connsiteX5" fmla="*/ 4448182 w 6464778"/>
              <a:gd name="connsiteY5" fmla="*/ 0 h 660403"/>
              <a:gd name="connsiteX0" fmla="*/ 4450903 w 6467499"/>
              <a:gd name="connsiteY0" fmla="*/ 0 h 660403"/>
              <a:gd name="connsiteX1" fmla="*/ 6467499 w 6467499"/>
              <a:gd name="connsiteY1" fmla="*/ 0 h 660403"/>
              <a:gd name="connsiteX2" fmla="*/ 6467499 w 6467499"/>
              <a:gd name="connsiteY2" fmla="*/ 646116 h 660403"/>
              <a:gd name="connsiteX3" fmla="*/ 2728 w 6467499"/>
              <a:gd name="connsiteY3" fmla="*/ 660403 h 660403"/>
              <a:gd name="connsiteX4" fmla="*/ 0 w 6467499"/>
              <a:gd name="connsiteY4" fmla="*/ 453993 h 660403"/>
              <a:gd name="connsiteX5" fmla="*/ 4450903 w 6467499"/>
              <a:gd name="connsiteY5" fmla="*/ 0 h 660403"/>
              <a:gd name="connsiteX0" fmla="*/ 4450903 w 6467499"/>
              <a:gd name="connsiteY0" fmla="*/ 0 h 660403"/>
              <a:gd name="connsiteX1" fmla="*/ 6467499 w 6467499"/>
              <a:gd name="connsiteY1" fmla="*/ 0 h 660403"/>
              <a:gd name="connsiteX2" fmla="*/ 6467499 w 6467499"/>
              <a:gd name="connsiteY2" fmla="*/ 646116 h 660403"/>
              <a:gd name="connsiteX3" fmla="*/ 2728 w 6467499"/>
              <a:gd name="connsiteY3" fmla="*/ 660403 h 660403"/>
              <a:gd name="connsiteX4" fmla="*/ 0 w 6467499"/>
              <a:gd name="connsiteY4" fmla="*/ 453993 h 660403"/>
              <a:gd name="connsiteX5" fmla="*/ 4450903 w 6467499"/>
              <a:gd name="connsiteY5" fmla="*/ 0 h 660403"/>
              <a:gd name="connsiteX0" fmla="*/ 4448183 w 6464779"/>
              <a:gd name="connsiteY0" fmla="*/ 0 h 660403"/>
              <a:gd name="connsiteX1" fmla="*/ 6464779 w 6464779"/>
              <a:gd name="connsiteY1" fmla="*/ 0 h 660403"/>
              <a:gd name="connsiteX2" fmla="*/ 6464779 w 6464779"/>
              <a:gd name="connsiteY2" fmla="*/ 646116 h 660403"/>
              <a:gd name="connsiteX3" fmla="*/ 8 w 6464779"/>
              <a:gd name="connsiteY3" fmla="*/ 660403 h 660403"/>
              <a:gd name="connsiteX4" fmla="*/ 6805 w 6464779"/>
              <a:gd name="connsiteY4" fmla="*/ 453993 h 660403"/>
              <a:gd name="connsiteX5" fmla="*/ 4448183 w 6464779"/>
              <a:gd name="connsiteY5" fmla="*/ 0 h 660403"/>
              <a:gd name="connsiteX0" fmla="*/ 4448198 w 6464794"/>
              <a:gd name="connsiteY0" fmla="*/ 0 h 660403"/>
              <a:gd name="connsiteX1" fmla="*/ 6464794 w 6464794"/>
              <a:gd name="connsiteY1" fmla="*/ 0 h 660403"/>
              <a:gd name="connsiteX2" fmla="*/ 6464794 w 6464794"/>
              <a:gd name="connsiteY2" fmla="*/ 646116 h 660403"/>
              <a:gd name="connsiteX3" fmla="*/ 23 w 6464794"/>
              <a:gd name="connsiteY3" fmla="*/ 660403 h 660403"/>
              <a:gd name="connsiteX4" fmla="*/ 6820 w 6464794"/>
              <a:gd name="connsiteY4" fmla="*/ 453993 h 660403"/>
              <a:gd name="connsiteX5" fmla="*/ 4448198 w 6464794"/>
              <a:gd name="connsiteY5" fmla="*/ 0 h 660403"/>
              <a:gd name="connsiteX0" fmla="*/ 4442615 w 6459211"/>
              <a:gd name="connsiteY0" fmla="*/ 0 h 660403"/>
              <a:gd name="connsiteX1" fmla="*/ 6459211 w 6459211"/>
              <a:gd name="connsiteY1" fmla="*/ 0 h 660403"/>
              <a:gd name="connsiteX2" fmla="*/ 6459211 w 6459211"/>
              <a:gd name="connsiteY2" fmla="*/ 646116 h 660403"/>
              <a:gd name="connsiteX3" fmla="*/ 1584 w 6459211"/>
              <a:gd name="connsiteY3" fmla="*/ 660403 h 660403"/>
              <a:gd name="connsiteX4" fmla="*/ 1237 w 6459211"/>
              <a:gd name="connsiteY4" fmla="*/ 453993 h 660403"/>
              <a:gd name="connsiteX5" fmla="*/ 4442615 w 6459211"/>
              <a:gd name="connsiteY5" fmla="*/ 0 h 660403"/>
              <a:gd name="connsiteX0" fmla="*/ 4442615 w 6459211"/>
              <a:gd name="connsiteY0" fmla="*/ 0 h 660403"/>
              <a:gd name="connsiteX1" fmla="*/ 6459211 w 6459211"/>
              <a:gd name="connsiteY1" fmla="*/ 0 h 660403"/>
              <a:gd name="connsiteX2" fmla="*/ 6459211 w 6459211"/>
              <a:gd name="connsiteY2" fmla="*/ 646116 h 660403"/>
              <a:gd name="connsiteX3" fmla="*/ 1584 w 6459211"/>
              <a:gd name="connsiteY3" fmla="*/ 660403 h 660403"/>
              <a:gd name="connsiteX4" fmla="*/ 1237 w 6459211"/>
              <a:gd name="connsiteY4" fmla="*/ 453993 h 660403"/>
              <a:gd name="connsiteX5" fmla="*/ 4442615 w 6459211"/>
              <a:gd name="connsiteY5" fmla="*/ 0 h 660403"/>
              <a:gd name="connsiteX0" fmla="*/ 4441378 w 6457974"/>
              <a:gd name="connsiteY0" fmla="*/ 0 h 660403"/>
              <a:gd name="connsiteX1" fmla="*/ 6457974 w 6457974"/>
              <a:gd name="connsiteY1" fmla="*/ 0 h 660403"/>
              <a:gd name="connsiteX2" fmla="*/ 6457974 w 6457974"/>
              <a:gd name="connsiteY2" fmla="*/ 646116 h 660403"/>
              <a:gd name="connsiteX3" fmla="*/ 347 w 6457974"/>
              <a:gd name="connsiteY3" fmla="*/ 660403 h 660403"/>
              <a:gd name="connsiteX4" fmla="*/ 0 w 6457974"/>
              <a:gd name="connsiteY4" fmla="*/ 453993 h 660403"/>
              <a:gd name="connsiteX5" fmla="*/ 4441378 w 6457974"/>
              <a:gd name="connsiteY5" fmla="*/ 0 h 660403"/>
              <a:gd name="connsiteX0" fmla="*/ 4441557 w 6458153"/>
              <a:gd name="connsiteY0" fmla="*/ 0 h 660403"/>
              <a:gd name="connsiteX1" fmla="*/ 6458153 w 6458153"/>
              <a:gd name="connsiteY1" fmla="*/ 0 h 660403"/>
              <a:gd name="connsiteX2" fmla="*/ 6458153 w 6458153"/>
              <a:gd name="connsiteY2" fmla="*/ 646116 h 660403"/>
              <a:gd name="connsiteX3" fmla="*/ 526 w 6458153"/>
              <a:gd name="connsiteY3" fmla="*/ 660403 h 660403"/>
              <a:gd name="connsiteX4" fmla="*/ 179 w 6458153"/>
              <a:gd name="connsiteY4" fmla="*/ 453993 h 660403"/>
              <a:gd name="connsiteX5" fmla="*/ 4441557 w 6458153"/>
              <a:gd name="connsiteY5" fmla="*/ 0 h 660403"/>
              <a:gd name="connsiteX0" fmla="*/ 4442465 w 6459061"/>
              <a:gd name="connsiteY0" fmla="*/ 0 h 660403"/>
              <a:gd name="connsiteX1" fmla="*/ 6459061 w 6459061"/>
              <a:gd name="connsiteY1" fmla="*/ 0 h 660403"/>
              <a:gd name="connsiteX2" fmla="*/ 6459061 w 6459061"/>
              <a:gd name="connsiteY2" fmla="*/ 646116 h 660403"/>
              <a:gd name="connsiteX3" fmla="*/ 1434 w 6459061"/>
              <a:gd name="connsiteY3" fmla="*/ 660403 h 660403"/>
              <a:gd name="connsiteX4" fmla="*/ 1087 w 6459061"/>
              <a:gd name="connsiteY4" fmla="*/ 453993 h 660403"/>
              <a:gd name="connsiteX5" fmla="*/ 4442465 w 6459061"/>
              <a:gd name="connsiteY5" fmla="*/ 0 h 660403"/>
              <a:gd name="connsiteX0" fmla="*/ 4442465 w 6459061"/>
              <a:gd name="connsiteY0" fmla="*/ 0 h 660403"/>
              <a:gd name="connsiteX1" fmla="*/ 6459061 w 6459061"/>
              <a:gd name="connsiteY1" fmla="*/ 0 h 660403"/>
              <a:gd name="connsiteX2" fmla="*/ 6459061 w 6459061"/>
              <a:gd name="connsiteY2" fmla="*/ 646116 h 660403"/>
              <a:gd name="connsiteX3" fmla="*/ 1434 w 6459061"/>
              <a:gd name="connsiteY3" fmla="*/ 660403 h 660403"/>
              <a:gd name="connsiteX4" fmla="*/ 1087 w 6459061"/>
              <a:gd name="connsiteY4" fmla="*/ 453993 h 660403"/>
              <a:gd name="connsiteX5" fmla="*/ 2276769 w 6459061"/>
              <a:gd name="connsiteY5" fmla="*/ 452405 h 660403"/>
              <a:gd name="connsiteX6" fmla="*/ 4442465 w 6459061"/>
              <a:gd name="connsiteY6" fmla="*/ 0 h 660403"/>
              <a:gd name="connsiteX0" fmla="*/ 4442465 w 6459061"/>
              <a:gd name="connsiteY0" fmla="*/ 0 h 660403"/>
              <a:gd name="connsiteX1" fmla="*/ 6459061 w 6459061"/>
              <a:gd name="connsiteY1" fmla="*/ 0 h 660403"/>
              <a:gd name="connsiteX2" fmla="*/ 6459061 w 6459061"/>
              <a:gd name="connsiteY2" fmla="*/ 646116 h 660403"/>
              <a:gd name="connsiteX3" fmla="*/ 1434 w 6459061"/>
              <a:gd name="connsiteY3" fmla="*/ 660403 h 660403"/>
              <a:gd name="connsiteX4" fmla="*/ 1087 w 6459061"/>
              <a:gd name="connsiteY4" fmla="*/ 453993 h 660403"/>
              <a:gd name="connsiteX5" fmla="*/ 2276769 w 6459061"/>
              <a:gd name="connsiteY5" fmla="*/ 452405 h 660403"/>
              <a:gd name="connsiteX6" fmla="*/ 4442465 w 6459061"/>
              <a:gd name="connsiteY6" fmla="*/ 0 h 660403"/>
              <a:gd name="connsiteX0" fmla="*/ 4442465 w 6459061"/>
              <a:gd name="connsiteY0" fmla="*/ 0 h 660403"/>
              <a:gd name="connsiteX1" fmla="*/ 6459061 w 6459061"/>
              <a:gd name="connsiteY1" fmla="*/ 0 h 660403"/>
              <a:gd name="connsiteX2" fmla="*/ 6459061 w 6459061"/>
              <a:gd name="connsiteY2" fmla="*/ 646116 h 660403"/>
              <a:gd name="connsiteX3" fmla="*/ 1434 w 6459061"/>
              <a:gd name="connsiteY3" fmla="*/ 660403 h 660403"/>
              <a:gd name="connsiteX4" fmla="*/ 1087 w 6459061"/>
              <a:gd name="connsiteY4" fmla="*/ 453993 h 660403"/>
              <a:gd name="connsiteX5" fmla="*/ 2276769 w 6459061"/>
              <a:gd name="connsiteY5" fmla="*/ 452405 h 660403"/>
              <a:gd name="connsiteX6" fmla="*/ 4442465 w 6459061"/>
              <a:gd name="connsiteY6" fmla="*/ 0 h 660403"/>
              <a:gd name="connsiteX0" fmla="*/ 4442465 w 6459061"/>
              <a:gd name="connsiteY0" fmla="*/ 78614 h 739017"/>
              <a:gd name="connsiteX1" fmla="*/ 6459061 w 6459061"/>
              <a:gd name="connsiteY1" fmla="*/ 78614 h 739017"/>
              <a:gd name="connsiteX2" fmla="*/ 6459061 w 6459061"/>
              <a:gd name="connsiteY2" fmla="*/ 724730 h 739017"/>
              <a:gd name="connsiteX3" fmla="*/ 1434 w 6459061"/>
              <a:gd name="connsiteY3" fmla="*/ 739017 h 739017"/>
              <a:gd name="connsiteX4" fmla="*/ 1087 w 6459061"/>
              <a:gd name="connsiteY4" fmla="*/ 532607 h 739017"/>
              <a:gd name="connsiteX5" fmla="*/ 2276769 w 6459061"/>
              <a:gd name="connsiteY5" fmla="*/ 531019 h 739017"/>
              <a:gd name="connsiteX6" fmla="*/ 2274388 w 6459061"/>
              <a:gd name="connsiteY6" fmla="*/ 0 h 739017"/>
              <a:gd name="connsiteX7" fmla="*/ 4442465 w 6459061"/>
              <a:gd name="connsiteY7" fmla="*/ 78614 h 739017"/>
              <a:gd name="connsiteX0" fmla="*/ 4442465 w 6459061"/>
              <a:gd name="connsiteY0" fmla="*/ 78614 h 739017"/>
              <a:gd name="connsiteX1" fmla="*/ 6459061 w 6459061"/>
              <a:gd name="connsiteY1" fmla="*/ 78614 h 739017"/>
              <a:gd name="connsiteX2" fmla="*/ 6459061 w 6459061"/>
              <a:gd name="connsiteY2" fmla="*/ 724730 h 739017"/>
              <a:gd name="connsiteX3" fmla="*/ 1434 w 6459061"/>
              <a:gd name="connsiteY3" fmla="*/ 739017 h 739017"/>
              <a:gd name="connsiteX4" fmla="*/ 1087 w 6459061"/>
              <a:gd name="connsiteY4" fmla="*/ 532607 h 739017"/>
              <a:gd name="connsiteX5" fmla="*/ 2276769 w 6459061"/>
              <a:gd name="connsiteY5" fmla="*/ 531019 h 739017"/>
              <a:gd name="connsiteX6" fmla="*/ 2274388 w 6459061"/>
              <a:gd name="connsiteY6" fmla="*/ 0 h 739017"/>
              <a:gd name="connsiteX7" fmla="*/ 4442465 w 6459061"/>
              <a:gd name="connsiteY7" fmla="*/ 78614 h 739017"/>
              <a:gd name="connsiteX0" fmla="*/ 4442465 w 6459061"/>
              <a:gd name="connsiteY0" fmla="*/ 78614 h 739017"/>
              <a:gd name="connsiteX1" fmla="*/ 6459061 w 6459061"/>
              <a:gd name="connsiteY1" fmla="*/ 78614 h 739017"/>
              <a:gd name="connsiteX2" fmla="*/ 6459061 w 6459061"/>
              <a:gd name="connsiteY2" fmla="*/ 724730 h 739017"/>
              <a:gd name="connsiteX3" fmla="*/ 1434 w 6459061"/>
              <a:gd name="connsiteY3" fmla="*/ 739017 h 739017"/>
              <a:gd name="connsiteX4" fmla="*/ 1087 w 6459061"/>
              <a:gd name="connsiteY4" fmla="*/ 532607 h 739017"/>
              <a:gd name="connsiteX5" fmla="*/ 2276769 w 6459061"/>
              <a:gd name="connsiteY5" fmla="*/ 531019 h 739017"/>
              <a:gd name="connsiteX6" fmla="*/ 2274388 w 6459061"/>
              <a:gd name="connsiteY6" fmla="*/ 0 h 739017"/>
              <a:gd name="connsiteX7" fmla="*/ 4442465 w 6459061"/>
              <a:gd name="connsiteY7" fmla="*/ 78614 h 739017"/>
              <a:gd name="connsiteX0" fmla="*/ 2274388 w 6459061"/>
              <a:gd name="connsiteY0" fmla="*/ 0 h 739017"/>
              <a:gd name="connsiteX1" fmla="*/ 6459061 w 6459061"/>
              <a:gd name="connsiteY1" fmla="*/ 78614 h 739017"/>
              <a:gd name="connsiteX2" fmla="*/ 6459061 w 6459061"/>
              <a:gd name="connsiteY2" fmla="*/ 724730 h 739017"/>
              <a:gd name="connsiteX3" fmla="*/ 1434 w 6459061"/>
              <a:gd name="connsiteY3" fmla="*/ 739017 h 739017"/>
              <a:gd name="connsiteX4" fmla="*/ 1087 w 6459061"/>
              <a:gd name="connsiteY4" fmla="*/ 532607 h 739017"/>
              <a:gd name="connsiteX5" fmla="*/ 2276769 w 6459061"/>
              <a:gd name="connsiteY5" fmla="*/ 531019 h 739017"/>
              <a:gd name="connsiteX6" fmla="*/ 2274388 w 6459061"/>
              <a:gd name="connsiteY6" fmla="*/ 0 h 739017"/>
              <a:gd name="connsiteX0" fmla="*/ 2274388 w 6459061"/>
              <a:gd name="connsiteY0" fmla="*/ 0 h 739017"/>
              <a:gd name="connsiteX1" fmla="*/ 6459061 w 6459061"/>
              <a:gd name="connsiteY1" fmla="*/ 7176 h 739017"/>
              <a:gd name="connsiteX2" fmla="*/ 6459061 w 6459061"/>
              <a:gd name="connsiteY2" fmla="*/ 724730 h 739017"/>
              <a:gd name="connsiteX3" fmla="*/ 1434 w 6459061"/>
              <a:gd name="connsiteY3" fmla="*/ 739017 h 739017"/>
              <a:gd name="connsiteX4" fmla="*/ 1087 w 6459061"/>
              <a:gd name="connsiteY4" fmla="*/ 532607 h 739017"/>
              <a:gd name="connsiteX5" fmla="*/ 2276769 w 6459061"/>
              <a:gd name="connsiteY5" fmla="*/ 531019 h 739017"/>
              <a:gd name="connsiteX6" fmla="*/ 2274388 w 6459061"/>
              <a:gd name="connsiteY6" fmla="*/ 0 h 739017"/>
              <a:gd name="connsiteX0" fmla="*/ 2274388 w 6463824"/>
              <a:gd name="connsiteY0" fmla="*/ 7112 h 746129"/>
              <a:gd name="connsiteX1" fmla="*/ 6463824 w 6463824"/>
              <a:gd name="connsiteY1" fmla="*/ 0 h 746129"/>
              <a:gd name="connsiteX2" fmla="*/ 6459061 w 6463824"/>
              <a:gd name="connsiteY2" fmla="*/ 731842 h 746129"/>
              <a:gd name="connsiteX3" fmla="*/ 1434 w 6463824"/>
              <a:gd name="connsiteY3" fmla="*/ 746129 h 746129"/>
              <a:gd name="connsiteX4" fmla="*/ 1087 w 6463824"/>
              <a:gd name="connsiteY4" fmla="*/ 539719 h 746129"/>
              <a:gd name="connsiteX5" fmla="*/ 2276769 w 6463824"/>
              <a:gd name="connsiteY5" fmla="*/ 538131 h 746129"/>
              <a:gd name="connsiteX6" fmla="*/ 2274388 w 6463824"/>
              <a:gd name="connsiteY6" fmla="*/ 7112 h 746129"/>
              <a:gd name="connsiteX0" fmla="*/ 2274388 w 6463824"/>
              <a:gd name="connsiteY0" fmla="*/ 0 h 754892"/>
              <a:gd name="connsiteX1" fmla="*/ 6463824 w 6463824"/>
              <a:gd name="connsiteY1" fmla="*/ 8763 h 754892"/>
              <a:gd name="connsiteX2" fmla="*/ 6459061 w 6463824"/>
              <a:gd name="connsiteY2" fmla="*/ 740605 h 754892"/>
              <a:gd name="connsiteX3" fmla="*/ 1434 w 6463824"/>
              <a:gd name="connsiteY3" fmla="*/ 754892 h 754892"/>
              <a:gd name="connsiteX4" fmla="*/ 1087 w 6463824"/>
              <a:gd name="connsiteY4" fmla="*/ 548482 h 754892"/>
              <a:gd name="connsiteX5" fmla="*/ 2276769 w 6463824"/>
              <a:gd name="connsiteY5" fmla="*/ 546894 h 754892"/>
              <a:gd name="connsiteX6" fmla="*/ 2274388 w 6463824"/>
              <a:gd name="connsiteY6" fmla="*/ 0 h 754892"/>
              <a:gd name="connsiteX0" fmla="*/ 2274388 w 6459389"/>
              <a:gd name="connsiteY0" fmla="*/ 762 h 755654"/>
              <a:gd name="connsiteX1" fmla="*/ 6457474 w 6459389"/>
              <a:gd name="connsiteY1" fmla="*/ 0 h 755654"/>
              <a:gd name="connsiteX2" fmla="*/ 6459061 w 6459389"/>
              <a:gd name="connsiteY2" fmla="*/ 741367 h 755654"/>
              <a:gd name="connsiteX3" fmla="*/ 1434 w 6459389"/>
              <a:gd name="connsiteY3" fmla="*/ 755654 h 755654"/>
              <a:gd name="connsiteX4" fmla="*/ 1087 w 6459389"/>
              <a:gd name="connsiteY4" fmla="*/ 549244 h 755654"/>
              <a:gd name="connsiteX5" fmla="*/ 2276769 w 6459389"/>
              <a:gd name="connsiteY5" fmla="*/ 547656 h 755654"/>
              <a:gd name="connsiteX6" fmla="*/ 2274388 w 6459389"/>
              <a:gd name="connsiteY6" fmla="*/ 762 h 755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59389" h="755654">
                <a:moveTo>
                  <a:pt x="2274388" y="762"/>
                </a:moveTo>
                <a:lnTo>
                  <a:pt x="6457474" y="0"/>
                </a:lnTo>
                <a:cubicBezTo>
                  <a:pt x="6455886" y="243947"/>
                  <a:pt x="6460649" y="497420"/>
                  <a:pt x="6459061" y="741367"/>
                </a:cubicBezTo>
                <a:lnTo>
                  <a:pt x="1434" y="755654"/>
                </a:lnTo>
                <a:cubicBezTo>
                  <a:pt x="-1327" y="655365"/>
                  <a:pt x="673" y="647946"/>
                  <a:pt x="1087" y="549244"/>
                </a:cubicBezTo>
                <a:lnTo>
                  <a:pt x="2276769" y="547656"/>
                </a:lnTo>
                <a:cubicBezTo>
                  <a:pt x="2275182" y="379382"/>
                  <a:pt x="2273594" y="116649"/>
                  <a:pt x="2274388" y="762"/>
                </a:cubicBezTo>
                <a:close/>
              </a:path>
            </a:pathLst>
          </a:custGeom>
          <a:noFill/>
          <a:ln w="31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r>
              <a:rPr lang="ru-RU" sz="2200" dirty="0" smtClean="0">
                <a:solidFill>
                  <a:schemeClr val="tx1"/>
                </a:solidFill>
              </a:rPr>
              <a:t>    </a:t>
            </a: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000" y="1363162"/>
            <a:ext cx="149720" cy="149720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000" y="1280268"/>
            <a:ext cx="149720" cy="149720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000" y="1183219"/>
            <a:ext cx="149720" cy="14972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87338" y="2050184"/>
            <a:ext cx="2326791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Ключевые элементы технологи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233928" y="3562113"/>
            <a:ext cx="148258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Исследования керна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98162" y="4480904"/>
            <a:ext cx="1541832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Региональная оценка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3417975" y="4466916"/>
            <a:ext cx="829522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Бурение ГС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994915" y="3161851"/>
            <a:ext cx="424796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МГРП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494605" y="3067013"/>
            <a:ext cx="1673769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200" dirty="0" smtClean="0"/>
              <a:t>Тепловые методы воздействия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3561812" y="4038441"/>
            <a:ext cx="759632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Навигация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777137" y="3556728"/>
            <a:ext cx="125816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Симулятор МГРП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394860" y="2247453"/>
            <a:ext cx="986232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3</a:t>
            </a:r>
            <a:r>
              <a:rPr lang="en-US" sz="1200" dirty="0" smtClean="0"/>
              <a:t>D</a:t>
            </a:r>
            <a:r>
              <a:rPr lang="ru-RU" sz="1200" dirty="0" smtClean="0"/>
              <a:t> ГД модель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18129" y="4054598"/>
            <a:ext cx="304571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ГИС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339834" y="3495294"/>
            <a:ext cx="1650324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1200" dirty="0" smtClean="0"/>
              <a:t>Скважина для </a:t>
            </a:r>
          </a:p>
          <a:p>
            <a:r>
              <a:rPr lang="ru-RU" sz="1200" dirty="0" smtClean="0"/>
              <a:t>теплового воздействия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183115" y="4003706"/>
            <a:ext cx="1451488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Бурение ГС </a:t>
            </a:r>
            <a:r>
              <a:rPr lang="en-US" sz="1200" dirty="0" smtClean="0"/>
              <a:t>&gt;1500 </a:t>
            </a:r>
            <a:r>
              <a:rPr lang="ru-RU" sz="1200" dirty="0" smtClean="0"/>
              <a:t>м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167254" y="2584887"/>
            <a:ext cx="14956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ru-RU" sz="1200" dirty="0" smtClean="0"/>
              <a:t>Микросейсмический </a:t>
            </a:r>
          </a:p>
          <a:p>
            <a:r>
              <a:rPr lang="ru-RU" sz="1200" dirty="0" smtClean="0"/>
              <a:t>мониторинг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754562" y="2613418"/>
            <a:ext cx="127730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200" dirty="0" smtClean="0"/>
              <a:t>Автономное обустройство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885506" y="2151753"/>
            <a:ext cx="1530257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200" dirty="0" smtClean="0"/>
              <a:t>Подбор оптимальной технологии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204" b="-4206"/>
          <a:stretch/>
        </p:blipFill>
        <p:spPr>
          <a:xfrm>
            <a:off x="3284915" y="3508279"/>
            <a:ext cx="360000" cy="360000"/>
          </a:xfrm>
          <a:prstGeom prst="ellipse">
            <a:avLst/>
          </a:prstGeom>
          <a:ln w="38100">
            <a:solidFill>
              <a:srgbClr val="10764F"/>
            </a:solidFill>
          </a:ln>
          <a:effectLst/>
        </p:spPr>
      </p:pic>
      <p:pic>
        <p:nvPicPr>
          <p:cNvPr id="40" name="Picture 2" descr="Image result for lithology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1880" y="3966931"/>
            <a:ext cx="360000" cy="360000"/>
          </a:xfrm>
          <a:prstGeom prst="ellipse">
            <a:avLst/>
          </a:prstGeom>
          <a:ln w="38100">
            <a:solidFill>
              <a:srgbClr val="FFC0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" descr="D:\#PROFILES#\Butorina.MA\Desktop\2.PNG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9" b="-109"/>
          <a:stretch/>
        </p:blipFill>
        <p:spPr bwMode="auto">
          <a:xfrm>
            <a:off x="355384" y="4425227"/>
            <a:ext cx="360000" cy="360000"/>
          </a:xfrm>
          <a:prstGeom prst="ellipse">
            <a:avLst/>
          </a:prstGeom>
          <a:ln w="38100">
            <a:solidFill>
              <a:srgbClr val="10764F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D:\#PROFILES#\Vysotskiy.SA\Desktop\39.png"/>
          <p:cNvPicPr>
            <a:picLocks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2" t="7070"/>
          <a:stretch/>
        </p:blipFill>
        <p:spPr bwMode="auto">
          <a:xfrm>
            <a:off x="3493647" y="3082543"/>
            <a:ext cx="360000" cy="360000"/>
          </a:xfrm>
          <a:prstGeom prst="ellipse">
            <a:avLst/>
          </a:prstGeom>
          <a:ln w="38100">
            <a:solidFill>
              <a:srgbClr val="C40D3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5" descr="D:\Work\#Illustrations\3d\3d-drilling-illustration-150909.jpg"/>
          <p:cNvPicPr>
            <a:picLocks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86" t="59735" r="26240" b="17789"/>
          <a:stretch/>
        </p:blipFill>
        <p:spPr bwMode="auto">
          <a:xfrm>
            <a:off x="3089783" y="3974485"/>
            <a:ext cx="360000" cy="360000"/>
          </a:xfrm>
          <a:prstGeom prst="ellipse">
            <a:avLst/>
          </a:prstGeom>
          <a:ln w="38100">
            <a:solidFill>
              <a:srgbClr val="C40D3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" descr="Картинки по запросу digital core labs oil"/>
          <p:cNvPicPr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84698" y="3508635"/>
            <a:ext cx="360000" cy="360000"/>
          </a:xfrm>
          <a:prstGeom prst="ellipse">
            <a:avLst/>
          </a:prstGeom>
          <a:ln w="38100">
            <a:solidFill>
              <a:srgbClr val="FFC000"/>
            </a:solidFill>
          </a:ln>
          <a:effectLst/>
        </p:spPr>
      </p:pic>
      <p:pic>
        <p:nvPicPr>
          <p:cNvPr id="48" name="Picture 8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8724" y="2205953"/>
            <a:ext cx="360000" cy="360000"/>
          </a:xfrm>
          <a:prstGeom prst="ellipse">
            <a:avLst/>
          </a:prstGeom>
          <a:ln w="38100">
            <a:solidFill>
              <a:srgbClr val="10764F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9" name="Рисунок 48"/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2879476" y="4425227"/>
            <a:ext cx="360000" cy="360000"/>
          </a:xfrm>
          <a:prstGeom prst="ellipse">
            <a:avLst/>
          </a:prstGeom>
          <a:ln w="38100">
            <a:solidFill>
              <a:srgbClr val="C40D39"/>
            </a:solidFill>
          </a:ln>
          <a:effectLst/>
        </p:spPr>
      </p:pic>
      <p:pic>
        <p:nvPicPr>
          <p:cNvPr id="50" name="Рисунок 49"/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5668344" y="3974485"/>
            <a:ext cx="360000" cy="360000"/>
          </a:xfrm>
          <a:prstGeom prst="ellipse">
            <a:avLst/>
          </a:prstGeom>
          <a:ln w="38100">
            <a:solidFill>
              <a:srgbClr val="C40D39"/>
            </a:solidFill>
          </a:ln>
          <a:effectLst/>
        </p:spPr>
      </p:pic>
      <p:pic>
        <p:nvPicPr>
          <p:cNvPr id="51" name="Рисунок 50"/>
          <p:cNvPicPr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6219424" y="2633406"/>
            <a:ext cx="360000" cy="360000"/>
          </a:xfrm>
          <a:prstGeom prst="ellipse">
            <a:avLst/>
          </a:prstGeom>
          <a:ln w="38100">
            <a:solidFill>
              <a:srgbClr val="C40D39"/>
            </a:solidFill>
          </a:ln>
          <a:effectLst/>
        </p:spPr>
      </p:pic>
      <p:pic>
        <p:nvPicPr>
          <p:cNvPr id="52" name="Рисунок 51"/>
          <p:cNvPicPr>
            <a:picLocks/>
          </p:cNvPicPr>
          <p:nvPr/>
        </p:nvPicPr>
        <p:blipFill>
          <a:blip r:embed="rId19"/>
          <a:stretch>
            <a:fillRect/>
          </a:stretch>
        </p:blipFill>
        <p:spPr>
          <a:xfrm>
            <a:off x="6003115" y="3078113"/>
            <a:ext cx="360000" cy="360000"/>
          </a:xfrm>
          <a:prstGeom prst="ellipse">
            <a:avLst/>
          </a:prstGeom>
          <a:ln w="38100">
            <a:solidFill>
              <a:srgbClr val="C40D39"/>
            </a:solidFill>
          </a:ln>
          <a:effectLst/>
        </p:spPr>
      </p:pic>
      <p:pic>
        <p:nvPicPr>
          <p:cNvPr id="53" name="Рисунок 52"/>
          <p:cNvPicPr>
            <a:picLocks/>
          </p:cNvPicPr>
          <p:nvPr/>
        </p:nvPicPr>
        <p:blipFill>
          <a:blip r:embed="rId20"/>
          <a:stretch>
            <a:fillRect/>
          </a:stretch>
        </p:blipFill>
        <p:spPr>
          <a:xfrm>
            <a:off x="6423409" y="2205952"/>
            <a:ext cx="360000" cy="360000"/>
          </a:xfrm>
          <a:prstGeom prst="ellipse">
            <a:avLst/>
          </a:prstGeom>
          <a:ln w="38100">
            <a:solidFill>
              <a:srgbClr val="10764F"/>
            </a:solidFill>
          </a:ln>
          <a:effectLst/>
        </p:spPr>
      </p:pic>
      <p:pic>
        <p:nvPicPr>
          <p:cNvPr id="54" name="Рисунок 1" descr="image001"/>
          <p:cNvPicPr>
            <a:picLocks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00239" y="2633406"/>
            <a:ext cx="360000" cy="360000"/>
          </a:xfrm>
          <a:prstGeom prst="ellipse">
            <a:avLst/>
          </a:prstGeom>
          <a:ln w="38100">
            <a:solidFill>
              <a:srgbClr val="FFC000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Рисунок 2" descr="image002"/>
          <p:cNvPicPr>
            <a:picLocks noChangeArrowheads="1"/>
          </p:cNvPicPr>
          <p:nvPr/>
        </p:nvPicPr>
        <p:blipFill rotWithShape="1"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48344" y="3522820"/>
            <a:ext cx="360000" cy="360000"/>
          </a:xfrm>
          <a:prstGeom prst="ellipse">
            <a:avLst/>
          </a:prstGeom>
          <a:ln w="38100">
            <a:solidFill>
              <a:srgbClr val="C40D39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628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41481"/>
            <a:ext cx="8560318" cy="457874"/>
          </a:xfrm>
        </p:spPr>
        <p:txBody>
          <a:bodyPr/>
          <a:lstStyle/>
          <a:p>
            <a:r>
              <a:rPr lang="ru-RU" sz="2000" dirty="0" smtClean="0"/>
              <a:t>Замещение импорта по ключевым направлениям технологии 1/2</a:t>
            </a:r>
            <a:endParaRPr lang="ru-RU" sz="20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287340" y="772608"/>
          <a:ext cx="8560317" cy="40676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3651">
                  <a:extLst>
                    <a:ext uri="{9D8B030D-6E8A-4147-A177-3AD203B41FA5}">
                      <a16:colId xmlns:a16="http://schemas.microsoft.com/office/drawing/2014/main" val="2458220546"/>
                    </a:ext>
                  </a:extLst>
                </a:gridCol>
                <a:gridCol w="772170">
                  <a:extLst>
                    <a:ext uri="{9D8B030D-6E8A-4147-A177-3AD203B41FA5}">
                      <a16:colId xmlns:a16="http://schemas.microsoft.com/office/drawing/2014/main" val="1900230209"/>
                    </a:ext>
                  </a:extLst>
                </a:gridCol>
                <a:gridCol w="659065">
                  <a:extLst>
                    <a:ext uri="{9D8B030D-6E8A-4147-A177-3AD203B41FA5}">
                      <a16:colId xmlns:a16="http://schemas.microsoft.com/office/drawing/2014/main" val="1079347805"/>
                    </a:ext>
                  </a:extLst>
                </a:gridCol>
                <a:gridCol w="982554">
                  <a:extLst>
                    <a:ext uri="{9D8B030D-6E8A-4147-A177-3AD203B41FA5}">
                      <a16:colId xmlns:a16="http://schemas.microsoft.com/office/drawing/2014/main" val="3602601273"/>
                    </a:ext>
                  </a:extLst>
                </a:gridCol>
                <a:gridCol w="2703444">
                  <a:extLst>
                    <a:ext uri="{9D8B030D-6E8A-4147-A177-3AD203B41FA5}">
                      <a16:colId xmlns:a16="http://schemas.microsoft.com/office/drawing/2014/main" val="1743844704"/>
                    </a:ext>
                  </a:extLst>
                </a:gridCol>
                <a:gridCol w="761053">
                  <a:extLst>
                    <a:ext uri="{9D8B030D-6E8A-4147-A177-3AD203B41FA5}">
                      <a16:colId xmlns:a16="http://schemas.microsoft.com/office/drawing/2014/main" val="2961148749"/>
                    </a:ext>
                  </a:extLst>
                </a:gridCol>
                <a:gridCol w="812169">
                  <a:extLst>
                    <a:ext uri="{9D8B030D-6E8A-4147-A177-3AD203B41FA5}">
                      <a16:colId xmlns:a16="http://schemas.microsoft.com/office/drawing/2014/main" val="2304523454"/>
                    </a:ext>
                  </a:extLst>
                </a:gridCol>
                <a:gridCol w="686211">
                  <a:extLst>
                    <a:ext uri="{9D8B030D-6E8A-4147-A177-3AD203B41FA5}">
                      <a16:colId xmlns:a16="http://schemas.microsoft.com/office/drawing/2014/main" val="1907711158"/>
                    </a:ext>
                  </a:extLst>
                </a:gridCol>
              </a:tblGrid>
              <a:tr h="257365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Направление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Технология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14 %ИЗ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Поставщик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ОПИ 2015-2017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17 %ИЗ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Партнер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25 %ИЗ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328518266"/>
                  </a:ext>
                </a:extLst>
              </a:tr>
              <a:tr h="5666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Региональная оценка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 smtClean="0"/>
                        <a:t>PBE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 smtClean="0"/>
                        <a:t>Shell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Создан</a:t>
                      </a:r>
                      <a:r>
                        <a:rPr lang="ru-RU" sz="900" b="0" baseline="0" dirty="0" smtClean="0"/>
                        <a:t> </a:t>
                      </a:r>
                      <a:r>
                        <a:rPr lang="ru-RU" sz="900" b="0" dirty="0" smtClean="0"/>
                        <a:t>прототип модуля ранжирования территории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Экспертиза и создание интерфейса.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5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900" dirty="0" smtClean="0"/>
                        <a:t>ГПН-НТЦ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44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Симулятор МГРП нетрадиционных коллекторов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HFER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>
                        <a:spcBef>
                          <a:spcPts val="0"/>
                        </a:spcBef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grove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>
                        <a:spcBef>
                          <a:spcPts val="0"/>
                        </a:spcBef>
                      </a:pPr>
                      <a:r>
                        <a:rPr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mPlan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rree</a:t>
                      </a: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&amp; Associates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>
                        <a:spcBef>
                          <a:spcPts val="0"/>
                        </a:spcBef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lumberger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SI Technologies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Прототип симулятора </a:t>
                      </a:r>
                      <a:r>
                        <a:rPr lang="ru-RU" sz="900" dirty="0" smtClean="0"/>
                        <a:t>РОСТ</a:t>
                      </a:r>
                      <a:r>
                        <a:rPr lang="ru-RU" sz="900" baseline="0" dirty="0" smtClean="0"/>
                        <a:t> МГРП </a:t>
                      </a:r>
                      <a:r>
                        <a:rPr lang="ru-RU" sz="900" b="0" dirty="0" smtClean="0"/>
                        <a:t>используется при инженерно-техническом сопровождении МГРП.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5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ИЦ МФТИ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44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Гидродинамический</a:t>
                      </a:r>
                      <a:r>
                        <a:rPr lang="ru-RU" sz="900" baseline="0" dirty="0" smtClean="0"/>
                        <a:t> симулятор </a:t>
                      </a:r>
                      <a:r>
                        <a:rPr lang="ru-RU" sz="900" dirty="0" smtClean="0"/>
                        <a:t>нетрадиционных коллекторов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Eclipse</a:t>
                      </a:r>
                      <a:r>
                        <a:rPr lang="ru-RU" sz="900" dirty="0" smtClean="0"/>
                        <a:t>,</a:t>
                      </a:r>
                    </a:p>
                    <a:p>
                      <a:r>
                        <a:rPr lang="en-US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erSe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,</a:t>
                      </a:r>
                    </a:p>
                    <a:p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URC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lumberger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PA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Прототип гидродинамического симулятора</a:t>
                      </a:r>
                      <a:r>
                        <a:rPr lang="en-US" sz="900" b="0" dirty="0" smtClean="0"/>
                        <a:t> </a:t>
                      </a:r>
                      <a:r>
                        <a:rPr lang="ru-RU" sz="900" b="0" dirty="0" smtClean="0"/>
                        <a:t>ГДМ</a:t>
                      </a:r>
                      <a:r>
                        <a:rPr lang="ru-RU" sz="900" b="0" baseline="0" dirty="0" smtClean="0"/>
                        <a:t> </a:t>
                      </a:r>
                      <a:r>
                        <a:rPr lang="en-US" sz="900" b="0" dirty="0" smtClean="0"/>
                        <a:t>PEBI </a:t>
                      </a:r>
                      <a:r>
                        <a:rPr lang="ru-RU" sz="900" b="0" dirty="0" smtClean="0"/>
                        <a:t>используется для оптимизации МГРП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3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ИЦ МФТИ</a:t>
                      </a:r>
                      <a:endParaRPr lang="ru-RU" sz="9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ГПН-НТЦ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88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вигация, ГИС</a:t>
                      </a:r>
                      <a:r>
                        <a:rPr lang="ru-RU" sz="9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ри бурении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WD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</a:rPr>
                        <a:t>APS Technology</a:t>
                      </a:r>
                      <a:endParaRPr lang="ru-RU" sz="9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</a:rPr>
                        <a:t>Намечены ОПИ 2017 – 2018 (ГК, </a:t>
                      </a:r>
                      <a:r>
                        <a:rPr lang="en-US" sz="900" dirty="0" smtClean="0">
                          <a:effectLst/>
                        </a:rPr>
                        <a:t>RS</a:t>
                      </a:r>
                      <a:r>
                        <a:rPr lang="ru-RU" sz="900" dirty="0" smtClean="0">
                          <a:effectLst/>
                        </a:rPr>
                        <a:t>,</a:t>
                      </a:r>
                      <a:r>
                        <a:rPr lang="ru-RU" sz="900" baseline="0" dirty="0" smtClean="0">
                          <a:effectLst/>
                        </a:rPr>
                        <a:t> ННК)</a:t>
                      </a:r>
                      <a:endParaRPr lang="ru-RU" sz="9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900" dirty="0" smtClean="0">
                          <a:effectLst/>
                        </a:rPr>
                        <a:t>ГЕРС Технолоджи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516024864"/>
                  </a:ext>
                </a:extLst>
              </a:tr>
              <a:tr h="8191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Элементный</a:t>
                      </a:r>
                      <a:r>
                        <a:rPr lang="ru-RU" sz="900" baseline="0" dirty="0" smtClean="0"/>
                        <a:t> каротаж</a:t>
                      </a:r>
                      <a:endParaRPr lang="ru-RU" sz="900" dirty="0" smtClean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eXTM</a:t>
                      </a:r>
                      <a:endParaRPr lang="en-US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MTM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STM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err="1" smtClean="0"/>
                        <a:t>LithoScanner</a:t>
                      </a:r>
                      <a:endParaRPr lang="en-US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ker Hugh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lliburton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lumberger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/>
                        <a:t>Проведен тестовый замер АИНК-ПЛ</a:t>
                      </a:r>
                      <a:r>
                        <a:rPr lang="ru-RU" sz="900" b="0" baseline="0" dirty="0" smtClean="0"/>
                        <a:t> (</a:t>
                      </a:r>
                      <a:r>
                        <a:rPr lang="ru-RU" sz="900" b="0" dirty="0" smtClean="0"/>
                        <a:t>ИНГК</a:t>
                      </a:r>
                      <a:r>
                        <a:rPr lang="en-US" sz="900" b="0" dirty="0" smtClean="0"/>
                        <a:t>-C</a:t>
                      </a:r>
                      <a:r>
                        <a:rPr lang="ru-RU" sz="900" b="0" dirty="0" smtClean="0"/>
                        <a:t>)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25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900" b="0" dirty="0" smtClean="0"/>
                        <a:t>ГК «</a:t>
                      </a:r>
                      <a:r>
                        <a:rPr lang="ru-RU" sz="900" b="0" dirty="0" err="1" smtClean="0"/>
                        <a:t>Росатом</a:t>
                      </a:r>
                      <a:r>
                        <a:rPr lang="ru-RU" sz="900" b="0" dirty="0" smtClean="0"/>
                        <a:t>»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43143537"/>
                  </a:ext>
                </a:extLst>
              </a:tr>
              <a:tr h="5666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err="1" smtClean="0"/>
                        <a:t>Микроимиджеры</a:t>
                      </a:r>
                      <a:endParaRPr lang="ru-RU" sz="900" dirty="0" smtClean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FMI</a:t>
                      </a:r>
                    </a:p>
                    <a:p>
                      <a:r>
                        <a:rPr lang="en-US" sz="900" dirty="0" smtClean="0"/>
                        <a:t>XRMI</a:t>
                      </a:r>
                    </a:p>
                    <a:p>
                      <a:r>
                        <a:rPr lang="en-US" sz="900" dirty="0" err="1" smtClean="0"/>
                        <a:t>StarII</a:t>
                      </a:r>
                      <a:endParaRPr lang="ru-RU" sz="900" dirty="0" smtClean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lumberger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lliburt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ker Hughes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</a:rPr>
                        <a:t>Проведены ОПИ </a:t>
                      </a:r>
                      <a:r>
                        <a:rPr lang="ru-RU" sz="900" dirty="0" err="1" smtClean="0">
                          <a:effectLst/>
                        </a:rPr>
                        <a:t>Микроимиджера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dirty="0" err="1" smtClean="0"/>
                        <a:t>Карсар</a:t>
                      </a:r>
                      <a:r>
                        <a:rPr lang="ru-RU" sz="900" dirty="0" smtClean="0"/>
                        <a:t> МС-130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Продолжение ОПИ.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ООО «</a:t>
                      </a:r>
                      <a:r>
                        <a:rPr lang="ru-RU" sz="900" dirty="0" err="1" smtClean="0"/>
                        <a:t>Карсар</a:t>
                      </a:r>
                      <a:r>
                        <a:rPr lang="ru-RU" sz="900" dirty="0" smtClean="0"/>
                        <a:t>»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331660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767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41481"/>
            <a:ext cx="8560318" cy="457874"/>
          </a:xfrm>
        </p:spPr>
        <p:txBody>
          <a:bodyPr/>
          <a:lstStyle/>
          <a:p>
            <a:r>
              <a:rPr lang="ru-RU" sz="2000" dirty="0"/>
              <a:t>Замещение импорта по ключевым направлениям технологии </a:t>
            </a:r>
            <a:r>
              <a:rPr lang="en-US" sz="2000" dirty="0" smtClean="0"/>
              <a:t>2</a:t>
            </a:r>
            <a:r>
              <a:rPr lang="ru-RU" sz="2000" dirty="0" smtClean="0"/>
              <a:t>/2</a:t>
            </a:r>
            <a:endParaRPr lang="ru-RU" sz="20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287338" y="778289"/>
          <a:ext cx="8560317" cy="4061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4729">
                  <a:extLst>
                    <a:ext uri="{9D8B030D-6E8A-4147-A177-3AD203B41FA5}">
                      <a16:colId xmlns:a16="http://schemas.microsoft.com/office/drawing/2014/main" val="2458220546"/>
                    </a:ext>
                  </a:extLst>
                </a:gridCol>
                <a:gridCol w="1198373">
                  <a:extLst>
                    <a:ext uri="{9D8B030D-6E8A-4147-A177-3AD203B41FA5}">
                      <a16:colId xmlns:a16="http://schemas.microsoft.com/office/drawing/2014/main" val="1900230209"/>
                    </a:ext>
                  </a:extLst>
                </a:gridCol>
                <a:gridCol w="630425">
                  <a:extLst>
                    <a:ext uri="{9D8B030D-6E8A-4147-A177-3AD203B41FA5}">
                      <a16:colId xmlns:a16="http://schemas.microsoft.com/office/drawing/2014/main" val="1079347805"/>
                    </a:ext>
                  </a:extLst>
                </a:gridCol>
                <a:gridCol w="999595">
                  <a:extLst>
                    <a:ext uri="{9D8B030D-6E8A-4147-A177-3AD203B41FA5}">
                      <a16:colId xmlns:a16="http://schemas.microsoft.com/office/drawing/2014/main" val="3602601273"/>
                    </a:ext>
                  </a:extLst>
                </a:gridCol>
                <a:gridCol w="2459222">
                  <a:extLst>
                    <a:ext uri="{9D8B030D-6E8A-4147-A177-3AD203B41FA5}">
                      <a16:colId xmlns:a16="http://schemas.microsoft.com/office/drawing/2014/main" val="1743844704"/>
                    </a:ext>
                  </a:extLst>
                </a:gridCol>
                <a:gridCol w="732656">
                  <a:extLst>
                    <a:ext uri="{9D8B030D-6E8A-4147-A177-3AD203B41FA5}">
                      <a16:colId xmlns:a16="http://schemas.microsoft.com/office/drawing/2014/main" val="2961148749"/>
                    </a:ext>
                  </a:extLst>
                </a:gridCol>
                <a:gridCol w="1050708">
                  <a:extLst>
                    <a:ext uri="{9D8B030D-6E8A-4147-A177-3AD203B41FA5}">
                      <a16:colId xmlns:a16="http://schemas.microsoft.com/office/drawing/2014/main" val="2304523454"/>
                    </a:ext>
                  </a:extLst>
                </a:gridCol>
                <a:gridCol w="714609">
                  <a:extLst>
                    <a:ext uri="{9D8B030D-6E8A-4147-A177-3AD203B41FA5}">
                      <a16:colId xmlns:a16="http://schemas.microsoft.com/office/drawing/2014/main" val="1907711158"/>
                    </a:ext>
                  </a:extLst>
                </a:gridCol>
              </a:tblGrid>
              <a:tr h="226406"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Направление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Технология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14 %ИЗ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Поставщик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ОПИ 2015-2017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17 %ИЗ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Партнер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2025 %ИЗ</a:t>
                      </a:r>
                      <a:endParaRPr lang="ru-RU" sz="8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328518266"/>
                  </a:ext>
                </a:extLst>
              </a:tr>
              <a:tr h="389381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Бурение ГС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С</a:t>
                      </a:r>
                      <a:endParaRPr lang="ru-RU" sz="9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Big 4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>
                          <a:latin typeface="+mn-lt"/>
                        </a:rPr>
                        <a:t>Разработка</a:t>
                      </a:r>
                      <a:r>
                        <a:rPr lang="ru-RU" sz="900" b="0" baseline="0" dirty="0" smtClean="0">
                          <a:latin typeface="+mn-lt"/>
                        </a:rPr>
                        <a:t> российского комплекса РУС 140мм</a:t>
                      </a:r>
                      <a:endParaRPr lang="ru-RU" sz="900" b="0" dirty="0" smtClean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1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ГЕРС, Р-систем, БНГФ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10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843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+mn-lt"/>
                        </a:rPr>
                        <a:t>Эластичные цемен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err="1" smtClean="0">
                          <a:effectLst/>
                          <a:latin typeface="+mn-lt"/>
                        </a:rPr>
                        <a:t>Flexcem</a:t>
                      </a:r>
                      <a:endParaRPr lang="ru-RU" sz="9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  <a:latin typeface="+mn-lt"/>
                        </a:rPr>
                        <a:t>Schlumberger</a:t>
                      </a:r>
                      <a:endParaRPr lang="ru-RU" sz="900" dirty="0" smtClean="0">
                        <a:effectLst/>
                        <a:latin typeface="+mn-lt"/>
                      </a:endParaRPr>
                    </a:p>
                    <a:p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err="1" smtClean="0">
                          <a:effectLst/>
                          <a:latin typeface="+mn-lt"/>
                        </a:rPr>
                        <a:t>Эластоцем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dirty="0" smtClean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7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effectLst/>
                          <a:latin typeface="+mn-lt"/>
                        </a:rPr>
                        <a:t>СК-Хантос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122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БР </a:t>
                      </a:r>
                      <a:r>
                        <a:rPr lang="ru-RU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гадрилл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9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latin typeface="+mn-lt"/>
                        </a:rPr>
                        <a:t>0%</a:t>
                      </a:r>
                      <a:endParaRPr lang="ru-RU" sz="900" dirty="0" smtClean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effectLst/>
                          <a:latin typeface="+mn-lt"/>
                        </a:rPr>
                        <a:t>Schlumberger</a:t>
                      </a:r>
                      <a:endParaRPr lang="ru-RU" sz="900" dirty="0" smtClean="0">
                        <a:effectLst/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effectLst/>
                          <a:latin typeface="+mn-lt"/>
                        </a:rPr>
                        <a:t>Проведены ОПР </a:t>
                      </a:r>
                      <a:r>
                        <a:rPr lang="ru-RU" sz="900" dirty="0" err="1" smtClean="0">
                          <a:effectLst/>
                          <a:latin typeface="+mn-lt"/>
                        </a:rPr>
                        <a:t>Юнидрилл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 плюс</a:t>
                      </a:r>
                      <a:endParaRPr lang="ru-RU" sz="900" dirty="0" smtClean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7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effectLst/>
                          <a:latin typeface="+mn-lt"/>
                        </a:rPr>
                        <a:t>ООО «</a:t>
                      </a:r>
                      <a:r>
                        <a:rPr lang="ru-RU" sz="900" dirty="0" err="1" smtClean="0">
                          <a:effectLst/>
                          <a:latin typeface="+mn-lt"/>
                        </a:rPr>
                        <a:t>Акрос</a:t>
                      </a:r>
                      <a:r>
                        <a:rPr lang="ru-RU" sz="900" dirty="0" smtClean="0">
                          <a:effectLst/>
                          <a:latin typeface="+mn-lt"/>
                        </a:rPr>
                        <a:t>»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63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Обсадные колонны</a:t>
                      </a:r>
                      <a:endParaRPr lang="ru-RU" sz="9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ippon steel &amp; Sumitomo metals</a:t>
                      </a:r>
                      <a:endParaRPr lang="ru-RU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ОПР Премиум-соединения</a:t>
                      </a:r>
                      <a:r>
                        <a:rPr lang="ru-RU" sz="900" baseline="0" dirty="0" smtClean="0">
                          <a:latin typeface="+mn-lt"/>
                        </a:rPr>
                        <a:t> </a:t>
                      </a:r>
                      <a:r>
                        <a:rPr lang="en-US" sz="900" baseline="0" dirty="0" smtClean="0">
                          <a:latin typeface="+mn-lt"/>
                        </a:rPr>
                        <a:t>metal-to-metal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10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ОО «ТМК»</a:t>
                      </a:r>
                    </a:p>
                    <a:p>
                      <a:pPr marL="0" algn="l" defTabSz="914400" rtl="0" eaLnBrk="1" latinLnBrk="0" hangingPunct="1"/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363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Подвеска хвостовика</a:t>
                      </a:r>
                      <a:endParaRPr lang="ru-RU" sz="9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CS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Подвеска с возможностью вращения при спуске и цементировании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2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ИС, Зенит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363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</a:rPr>
                        <a:t>Компоновки </a:t>
                      </a:r>
                      <a:r>
                        <a:rPr lang="ru-RU" sz="900" dirty="0" err="1">
                          <a:effectLst/>
                          <a:latin typeface="+mn-lt"/>
                        </a:rPr>
                        <a:t>заканчивания</a:t>
                      </a:r>
                      <a:endParaRPr lang="ru-RU" sz="9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+mn-lt"/>
                        </a:rPr>
                        <a:t>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CS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Шаровые </a:t>
                      </a:r>
                      <a:r>
                        <a:rPr lang="ru-RU" sz="900" dirty="0" err="1" smtClean="0">
                          <a:latin typeface="+mn-lt"/>
                        </a:rPr>
                        <a:t>равнопроходные</a:t>
                      </a:r>
                      <a:r>
                        <a:rPr lang="ru-RU" sz="900" dirty="0" smtClean="0">
                          <a:latin typeface="+mn-lt"/>
                        </a:rPr>
                        <a:t> компоновки с возможностью</a:t>
                      </a:r>
                      <a:r>
                        <a:rPr lang="ru-RU" sz="900" baseline="0" dirty="0" smtClean="0">
                          <a:latin typeface="+mn-lt"/>
                        </a:rPr>
                        <a:t> проведения\ кластерных ГРП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</a:rPr>
                        <a:t>20%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ИС, Зенит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9381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ГРП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бки для разделения стадий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ВС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бки на ГНКТ, целевая технология </a:t>
                      </a: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DP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ьютех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С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710679440"/>
                  </a:ext>
                </a:extLst>
              </a:tr>
              <a:tr h="50765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форация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p tools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ход от ГПП к интеллектуальной кумулятивной перфорации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ВТ, 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ИПИ </a:t>
                      </a:r>
                      <a:r>
                        <a:rPr lang="ru-RU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зрывгеофизика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мпефоратор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275391688"/>
                  </a:ext>
                </a:extLst>
              </a:tr>
              <a:tr h="21961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лот ГРП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lumberger</a:t>
                      </a: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лот ГРП Российской сборки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ьютех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3657720223"/>
                  </a:ext>
                </a:extLst>
              </a:tr>
              <a:tr h="21961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имия</a:t>
                      </a: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П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F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имия для ГРП Российского производства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орес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379617734"/>
                  </a:ext>
                </a:extLst>
              </a:tr>
              <a:tr h="38938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НКТ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s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obal tubing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ановки</a:t>
                      </a:r>
                      <a:r>
                        <a:rPr lang="ru-RU" sz="9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ГНКТ и Труба ГНКТ отечественного производства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ВС, 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НГФ, СЗАО ФИДМАШ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8636089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9533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41481"/>
            <a:ext cx="8560318" cy="457874"/>
          </a:xfrm>
        </p:spPr>
        <p:txBody>
          <a:bodyPr/>
          <a:lstStyle/>
          <a:p>
            <a:r>
              <a:rPr lang="ru-RU" sz="2000" dirty="0" smtClean="0"/>
              <a:t>Опережение импортных технологий по </a:t>
            </a:r>
            <a:r>
              <a:rPr lang="ru-RU" sz="2000" dirty="0"/>
              <a:t>ключевым </a:t>
            </a:r>
            <a:r>
              <a:rPr lang="ru-RU" sz="2000" dirty="0" smtClean="0"/>
              <a:t>направлениям</a:t>
            </a:r>
            <a:endParaRPr lang="ru-RU" sz="20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288408" y="840565"/>
          <a:ext cx="8560316" cy="30308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4703">
                  <a:extLst>
                    <a:ext uri="{9D8B030D-6E8A-4147-A177-3AD203B41FA5}">
                      <a16:colId xmlns:a16="http://schemas.microsoft.com/office/drawing/2014/main" val="2458220546"/>
                    </a:ext>
                  </a:extLst>
                </a:gridCol>
                <a:gridCol w="1344767">
                  <a:extLst>
                    <a:ext uri="{9D8B030D-6E8A-4147-A177-3AD203B41FA5}">
                      <a16:colId xmlns:a16="http://schemas.microsoft.com/office/drawing/2014/main" val="1900230209"/>
                    </a:ext>
                  </a:extLst>
                </a:gridCol>
                <a:gridCol w="3486716">
                  <a:extLst>
                    <a:ext uri="{9D8B030D-6E8A-4147-A177-3AD203B41FA5}">
                      <a16:colId xmlns:a16="http://schemas.microsoft.com/office/drawing/2014/main" val="1743844704"/>
                    </a:ext>
                  </a:extLst>
                </a:gridCol>
                <a:gridCol w="670181">
                  <a:extLst>
                    <a:ext uri="{9D8B030D-6E8A-4147-A177-3AD203B41FA5}">
                      <a16:colId xmlns:a16="http://schemas.microsoft.com/office/drawing/2014/main" val="2961148749"/>
                    </a:ext>
                  </a:extLst>
                </a:gridCol>
                <a:gridCol w="1516427">
                  <a:extLst>
                    <a:ext uri="{9D8B030D-6E8A-4147-A177-3AD203B41FA5}">
                      <a16:colId xmlns:a16="http://schemas.microsoft.com/office/drawing/2014/main" val="2304523454"/>
                    </a:ext>
                  </a:extLst>
                </a:gridCol>
                <a:gridCol w="647522">
                  <a:extLst>
                    <a:ext uri="{9D8B030D-6E8A-4147-A177-3AD203B41FA5}">
                      <a16:colId xmlns:a16="http://schemas.microsoft.com/office/drawing/2014/main" val="1907711158"/>
                    </a:ext>
                  </a:extLst>
                </a:gridCol>
              </a:tblGrid>
              <a:tr h="318561"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Направление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Технология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ОПИ 2017-2018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2017 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Партнер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2025 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2328518266"/>
                  </a:ext>
                </a:extLst>
              </a:tr>
              <a:tr h="289786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Тепловые методы воздействия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Генератор СКВ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Разработка</a:t>
                      </a:r>
                      <a:r>
                        <a:rPr lang="ru-RU" sz="900" baseline="0" dirty="0" smtClean="0"/>
                        <a:t> российского г</a:t>
                      </a:r>
                      <a:r>
                        <a:rPr lang="ru-RU" sz="900" dirty="0" smtClean="0"/>
                        <a:t>енератора сверхкритической воды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1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ЗАО «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Компомаш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-ТЭ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</a:rPr>
                        <a:t>K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»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ru-RU" sz="900" dirty="0" smtClean="0"/>
                        <a:t>ООО «Новые Технологии»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56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Термостойкий </a:t>
                      </a:r>
                      <a:r>
                        <a:rPr lang="ru-RU" sz="900" dirty="0" err="1" smtClean="0"/>
                        <a:t>пакер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Термостойкий скважинный и 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заколонный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пакеры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 высокого давления 700-70 для термохимического воздействия на 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нефтекерогеносодержащие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 пласты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5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РГУ </a:t>
                      </a:r>
                      <a:r>
                        <a:rPr lang="ru-RU" sz="900" dirty="0" err="1" smtClean="0"/>
                        <a:t>им.И.М.Губкина</a:t>
                      </a:r>
                      <a:endParaRPr lang="ru-RU" sz="900" dirty="0" smtClean="0"/>
                    </a:p>
                    <a:p>
                      <a:r>
                        <a:rPr lang="ru-RU" sz="900" dirty="0" smtClean="0"/>
                        <a:t>ООО «Новые Технологии»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2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err="1" smtClean="0"/>
                        <a:t>Термоизолированные</a:t>
                      </a:r>
                      <a:r>
                        <a:rPr lang="ru-RU" sz="900" dirty="0" smtClean="0"/>
                        <a:t> НКТ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Термоизолированные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 насосно-компрессорные трубы для доставки сверхкритического флюида на забой скважины при термохимическом  воздействия на 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нефекерогеносодержащие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 пласты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5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ЗАО «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Компомаш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-ТЭ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</a:rPr>
                        <a:t>K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»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endParaRPr lang="ru-RU" sz="9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МГТУ им. Н.Э. Баумана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8561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Мобильное обустройство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Комплекс мобильного обустройства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Мобильный комплекс освоения скважин и проведения ОПР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5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ОО «НПП ОЗНА-Инжиниринг»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02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Мобильный жилой модуль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Мобильный жилой</a:t>
                      </a:r>
                      <a:r>
                        <a:rPr lang="ru-RU" sz="900" baseline="0" dirty="0" smtClean="0"/>
                        <a:t> модуль для автономного освоения месторождений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5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ООО СНК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856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Временный трубопровод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Проведены ОПИ на </a:t>
                      </a:r>
                      <a:r>
                        <a:rPr lang="ru-RU" sz="900" dirty="0" err="1" smtClean="0">
                          <a:solidFill>
                            <a:schemeClr val="tx1"/>
                          </a:solidFill>
                        </a:rPr>
                        <a:t>Новопортовском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 месторождении временного трубопровода для перекачки продукции скважин в период их освоения и проведения ОПР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2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ОО «ГСТ»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100%</a:t>
                      </a:r>
                      <a:endParaRPr lang="ru-RU" sz="900" dirty="0"/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124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plazma"/>
  <p:tag name="LANG" val="ru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xw4jpvAE6dKfvmSFx5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G3icvUuUa5JtDQX.VC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VnHy1_1UGNvFiUPxdc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li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nterpri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Uni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utho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vaWuTVEES61xTijBgB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xw4jpvAE6dKfvmSFx5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k0nvaNCkyGL7V0AUpkFQ"/>
</p:tagLst>
</file>

<file path=ppt/theme/theme1.xml><?xml version="1.0" encoding="utf-8"?>
<a:theme xmlns:a="http://schemas.openxmlformats.org/drawingml/2006/main" name="gpn_plazma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 algn="ctr"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spcBef>
            <a:spcPts val="800"/>
          </a:spcBef>
          <a:defRPr sz="2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plazma</Template>
  <TotalTime>3818</TotalTime>
  <Words>1820</Words>
  <Application>Microsoft Office PowerPoint</Application>
  <PresentationFormat>Экран (16:9)</PresentationFormat>
  <Paragraphs>653</Paragraphs>
  <Slides>14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Arial (Основной текст)</vt:lpstr>
      <vt:lpstr>Calibri</vt:lpstr>
      <vt:lpstr>HeliosCond</vt:lpstr>
      <vt:lpstr>Impact</vt:lpstr>
      <vt:lpstr>Times New Roman</vt:lpstr>
      <vt:lpstr>Wingdings</vt:lpstr>
      <vt:lpstr>gpn_plazma</vt:lpstr>
      <vt:lpstr>Презентация PowerPoint</vt:lpstr>
      <vt:lpstr>Масштаб проекта «Бажен» и текущий статус</vt:lpstr>
      <vt:lpstr>Результаты бурения и освоения ГС подтверждают промышленный потенциал баженовской свиты</vt:lpstr>
      <vt:lpstr>Преодоление технологических вызовов – создание технологии освоения Баженовской свиты</vt:lpstr>
      <vt:lpstr>Цель: создание стимулированного объема коллектора (SRV)  позволяющего экономически эффективно извлекать УВ из Бажена</vt:lpstr>
      <vt:lpstr>Технология освоения БС обеспечивает достижение КПЭ проекта Бажен</vt:lpstr>
      <vt:lpstr>Замещение импорта по ключевым направлениям технологии 1/2</vt:lpstr>
      <vt:lpstr>Замещение импорта по ключевым направлениям технологии 2/2</vt:lpstr>
      <vt:lpstr>Опережение импортных технологий по ключевым направлениям</vt:lpstr>
      <vt:lpstr>План замещения импорта по ключевым направлениям</vt:lpstr>
      <vt:lpstr>«Технологический центр «Бажен» – отраслевая площадка взаимодействия ВИНК, производителей, сервисных компаний и инвесторов по созданию новых технологий </vt:lpstr>
      <vt:lpstr>Пример уникальной инициативы в российской нефтегазовой индустрии</vt:lpstr>
      <vt:lpstr>Пальяновская площадь Красноленинского месторождения –  идеальный лицензионный участок для «Технологического центра «Бажен»</vt:lpstr>
      <vt:lpstr>Контакты</vt:lpstr>
    </vt:vector>
  </TitlesOfParts>
  <Company>Hobbiton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range L. Blossom</dc:creator>
  <cp:lastModifiedBy>Олюнин Алексей Владимирович</cp:lastModifiedBy>
  <cp:revision>421</cp:revision>
  <dcterms:created xsi:type="dcterms:W3CDTF">2013-05-14T10:31:14Z</dcterms:created>
  <dcterms:modified xsi:type="dcterms:W3CDTF">2017-10-24T15:05:57Z</dcterms:modified>
</cp:coreProperties>
</file>